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98" r:id="rId1"/>
  </p:sldMasterIdLst>
  <p:notesMasterIdLst>
    <p:notesMasterId r:id="rId16"/>
  </p:notesMasterIdLst>
  <p:sldIdLst>
    <p:sldId id="256" r:id="rId2"/>
    <p:sldId id="280" r:id="rId3"/>
    <p:sldId id="258" r:id="rId4"/>
    <p:sldId id="277" r:id="rId5"/>
    <p:sldId id="276" r:id="rId6"/>
    <p:sldId id="300" r:id="rId7"/>
    <p:sldId id="301" r:id="rId8"/>
    <p:sldId id="293" r:id="rId9"/>
    <p:sldId id="263" r:id="rId10"/>
    <p:sldId id="264" r:id="rId11"/>
    <p:sldId id="268" r:id="rId12"/>
    <p:sldId id="302" r:id="rId13"/>
    <p:sldId id="290" r:id="rId14"/>
    <p:sldId id="298" r:id="rId15"/>
  </p:sldIdLst>
  <p:sldSz cx="9144000" cy="6858000" type="screen4x3"/>
  <p:notesSz cx="6797675" cy="9926638"/>
  <p:defaultTextStyle>
    <a:defPPr>
      <a:defRPr lang="fr-FR"/>
    </a:defPPr>
    <a:lvl1pPr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autoAdjust="0"/>
    <p:restoredTop sz="80251" autoAdjust="0"/>
  </p:normalViewPr>
  <p:slideViewPr>
    <p:cSldViewPr>
      <p:cViewPr varScale="1">
        <p:scale>
          <a:sx n="60" d="100"/>
          <a:sy n="60" d="100"/>
        </p:scale>
        <p:origin x="1686" y="60"/>
      </p:cViewPr>
      <p:guideLst>
        <p:guide orient="horz" pos="2160"/>
        <p:guide pos="2880"/>
      </p:guideLst>
    </p:cSldViewPr>
  </p:slideViewPr>
  <p:outlineViewPr>
    <p:cViewPr>
      <p:scale>
        <a:sx n="33" d="100"/>
        <a:sy n="33" d="100"/>
      </p:scale>
      <p:origin x="0" y="2334"/>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érangére THIERRY" userId="68da5109e3724629" providerId="LiveId" clId="{E6B14BDB-97DC-CA40-AE27-321084CB2FA1}"/>
    <pc:docChg chg="undo custSel addSld delSld modSld sldOrd addMainMaster delMainMaster">
      <pc:chgData name="Bérangére THIERRY" userId="68da5109e3724629" providerId="LiveId" clId="{E6B14BDB-97DC-CA40-AE27-321084CB2FA1}" dt="2019-05-22T11:38:31.476" v="433" actId="5864"/>
      <pc:docMkLst>
        <pc:docMk/>
      </pc:docMkLst>
      <pc:sldChg chg="addSp delSp mod setBg">
        <pc:chgData name="Bérangére THIERRY" userId="68da5109e3724629" providerId="LiveId" clId="{E6B14BDB-97DC-CA40-AE27-321084CB2FA1}" dt="2019-05-22T11:37:48.506" v="428"/>
        <pc:sldMkLst>
          <pc:docMk/>
          <pc:sldMk cId="0" sldId="256"/>
        </pc:sldMkLst>
        <pc:spChg chg="add del">
          <ac:chgData name="Bérangére THIERRY" userId="68da5109e3724629" providerId="LiveId" clId="{E6B14BDB-97DC-CA40-AE27-321084CB2FA1}" dt="2019-05-22T11:36:25.290" v="424" actId="22"/>
          <ac:spMkLst>
            <pc:docMk/>
            <pc:sldMk cId="0" sldId="256"/>
            <ac:spMk id="7" creationId="{B4F570C3-B563-294C-9439-6DC1614A7924}"/>
          </ac:spMkLst>
        </pc:spChg>
        <pc:picChg chg="add del">
          <ac:chgData name="Bérangére THIERRY" userId="68da5109e3724629" providerId="LiveId" clId="{E6B14BDB-97DC-CA40-AE27-321084CB2FA1}" dt="2019-05-22T11:36:27.856" v="425" actId="478"/>
          <ac:picMkLst>
            <pc:docMk/>
            <pc:sldMk cId="0" sldId="256"/>
            <ac:picMk id="8197" creationId="{A9BF172A-793C-4AC0-91E1-D32A22E7BC80}"/>
          </ac:picMkLst>
        </pc:picChg>
      </pc:sldChg>
      <pc:sldChg chg="modSp">
        <pc:chgData name="Bérangére THIERRY" userId="68da5109e3724629" providerId="LiveId" clId="{E6B14BDB-97DC-CA40-AE27-321084CB2FA1}" dt="2019-05-22T07:58:41.800" v="331" actId="20577"/>
        <pc:sldMkLst>
          <pc:docMk/>
          <pc:sldMk cId="0" sldId="264"/>
        </pc:sldMkLst>
        <pc:spChg chg="mod">
          <ac:chgData name="Bérangére THIERRY" userId="68da5109e3724629" providerId="LiveId" clId="{E6B14BDB-97DC-CA40-AE27-321084CB2FA1}" dt="2019-05-22T07:58:41.800" v="331" actId="20577"/>
          <ac:spMkLst>
            <pc:docMk/>
            <pc:sldMk cId="0" sldId="264"/>
            <ac:spMk id="21518" creationId="{D41185A1-98B9-4A33-AAAB-1C1CE33740DF}"/>
          </ac:spMkLst>
        </pc:spChg>
      </pc:sldChg>
      <pc:sldChg chg="modSp">
        <pc:chgData name="Bérangére THIERRY" userId="68da5109e3724629" providerId="LiveId" clId="{E6B14BDB-97DC-CA40-AE27-321084CB2FA1}" dt="2019-05-22T07:14:42.353" v="118" actId="14100"/>
        <pc:sldMkLst>
          <pc:docMk/>
          <pc:sldMk cId="0" sldId="276"/>
        </pc:sldMkLst>
        <pc:spChg chg="mod">
          <ac:chgData name="Bérangére THIERRY" userId="68da5109e3724629" providerId="LiveId" clId="{E6B14BDB-97DC-CA40-AE27-321084CB2FA1}" dt="2019-05-22T07:14:42.353" v="118" actId="14100"/>
          <ac:spMkLst>
            <pc:docMk/>
            <pc:sldMk cId="0" sldId="276"/>
            <ac:spMk id="2" creationId="{CD021B17-E0FC-4061-98A1-5036F736B076}"/>
          </ac:spMkLst>
        </pc:spChg>
      </pc:sldChg>
      <pc:sldChg chg="del">
        <pc:chgData name="Bérangére THIERRY" userId="68da5109e3724629" providerId="LiveId" clId="{E6B14BDB-97DC-CA40-AE27-321084CB2FA1}" dt="2019-05-22T07:04:43.566" v="0" actId="2696"/>
        <pc:sldMkLst>
          <pc:docMk/>
          <pc:sldMk cId="0" sldId="284"/>
        </pc:sldMkLst>
      </pc:sldChg>
      <pc:sldChg chg="delSp modSp del">
        <pc:chgData name="Bérangére THIERRY" userId="68da5109e3724629" providerId="LiveId" clId="{E6B14BDB-97DC-CA40-AE27-321084CB2FA1}" dt="2019-05-22T07:58:11.371" v="301" actId="2696"/>
        <pc:sldMkLst>
          <pc:docMk/>
          <pc:sldMk cId="0" sldId="286"/>
        </pc:sldMkLst>
        <pc:spChg chg="del mod">
          <ac:chgData name="Bérangére THIERRY" userId="68da5109e3724629" providerId="LiveId" clId="{E6B14BDB-97DC-CA40-AE27-321084CB2FA1}" dt="2019-05-22T07:58:00.683" v="300" actId="478"/>
          <ac:spMkLst>
            <pc:docMk/>
            <pc:sldMk cId="0" sldId="286"/>
            <ac:spMk id="20492" creationId="{B782FA34-A617-4C66-9B02-F314D43A4FE7}"/>
          </ac:spMkLst>
        </pc:spChg>
      </pc:sldChg>
      <pc:sldChg chg="modSp">
        <pc:chgData name="Bérangére THIERRY" userId="68da5109e3724629" providerId="LiveId" clId="{E6B14BDB-97DC-CA40-AE27-321084CB2FA1}" dt="2019-05-22T07:59:32.420" v="339" actId="20577"/>
        <pc:sldMkLst>
          <pc:docMk/>
          <pc:sldMk cId="0" sldId="290"/>
        </pc:sldMkLst>
        <pc:spChg chg="mod">
          <ac:chgData name="Bérangére THIERRY" userId="68da5109e3724629" providerId="LiveId" clId="{E6B14BDB-97DC-CA40-AE27-321084CB2FA1}" dt="2019-05-22T07:59:32.420" v="339" actId="20577"/>
          <ac:spMkLst>
            <pc:docMk/>
            <pc:sldMk cId="0" sldId="290"/>
            <ac:spMk id="24600" creationId="{5C499E45-4814-49F5-BBA2-0C62B6C386A3}"/>
          </ac:spMkLst>
        </pc:spChg>
      </pc:sldChg>
      <pc:sldChg chg="del">
        <pc:chgData name="Bérangére THIERRY" userId="68da5109e3724629" providerId="LiveId" clId="{E6B14BDB-97DC-CA40-AE27-321084CB2FA1}" dt="2019-05-22T08:01:52.459" v="341" actId="2696"/>
        <pc:sldMkLst>
          <pc:docMk/>
          <pc:sldMk cId="0" sldId="291"/>
        </pc:sldMkLst>
      </pc:sldChg>
      <pc:sldChg chg="del">
        <pc:chgData name="Bérangére THIERRY" userId="68da5109e3724629" providerId="LiveId" clId="{E6B14BDB-97DC-CA40-AE27-321084CB2FA1}" dt="2019-05-22T07:16:12.566" v="119" actId="2696"/>
        <pc:sldMkLst>
          <pc:docMk/>
          <pc:sldMk cId="0" sldId="292"/>
        </pc:sldMkLst>
      </pc:sldChg>
      <pc:sldChg chg="addSp delSp modSp del">
        <pc:chgData name="Bérangére THIERRY" userId="68da5109e3724629" providerId="LiveId" clId="{E6B14BDB-97DC-CA40-AE27-321084CB2FA1}" dt="2019-05-22T07:57:41.542" v="284" actId="2696"/>
        <pc:sldMkLst>
          <pc:docMk/>
          <pc:sldMk cId="0" sldId="294"/>
        </pc:sldMkLst>
        <pc:spChg chg="mod">
          <ac:chgData name="Bérangére THIERRY" userId="68da5109e3724629" providerId="LiveId" clId="{E6B14BDB-97DC-CA40-AE27-321084CB2FA1}" dt="2019-05-22T07:28:08.576" v="255" actId="14100"/>
          <ac:spMkLst>
            <pc:docMk/>
            <pc:sldMk cId="0" sldId="294"/>
            <ac:spMk id="19462" creationId="{CEE9C213-278F-44F5-AFDD-92741E0C4B3C}"/>
          </ac:spMkLst>
        </pc:spChg>
        <pc:spChg chg="mod">
          <ac:chgData name="Bérangére THIERRY" userId="68da5109e3724629" providerId="LiveId" clId="{E6B14BDB-97DC-CA40-AE27-321084CB2FA1}" dt="2019-05-22T07:21:41.378" v="211" actId="20577"/>
          <ac:spMkLst>
            <pc:docMk/>
            <pc:sldMk cId="0" sldId="294"/>
            <ac:spMk id="19465" creationId="{66B42D18-8FBA-4535-8E3F-4D593F724D3E}"/>
          </ac:spMkLst>
        </pc:spChg>
        <pc:spChg chg="mod">
          <ac:chgData name="Bérangére THIERRY" userId="68da5109e3724629" providerId="LiveId" clId="{E6B14BDB-97DC-CA40-AE27-321084CB2FA1}" dt="2019-05-22T07:26:58.352" v="250" actId="14100"/>
          <ac:spMkLst>
            <pc:docMk/>
            <pc:sldMk cId="0" sldId="294"/>
            <ac:spMk id="19470" creationId="{B6BACCC7-3A20-48F8-B84A-44D0769F6C9A}"/>
          </ac:spMkLst>
        </pc:spChg>
        <pc:graphicFrameChg chg="add del mod">
          <ac:chgData name="Bérangére THIERRY" userId="68da5109e3724629" providerId="LiveId" clId="{E6B14BDB-97DC-CA40-AE27-321084CB2FA1}" dt="2019-05-22T07:46:46.409" v="264" actId="14100"/>
          <ac:graphicFrameMkLst>
            <pc:docMk/>
            <pc:sldMk cId="0" sldId="294"/>
            <ac:graphicFrameMk id="10" creationId="{C44357C0-9DF3-4648-9799-5B47CD8CC06B}"/>
          </ac:graphicFrameMkLst>
        </pc:graphicFrameChg>
      </pc:sldChg>
      <pc:sldChg chg="del">
        <pc:chgData name="Bérangére THIERRY" userId="68da5109e3724629" providerId="LiveId" clId="{E6B14BDB-97DC-CA40-AE27-321084CB2FA1}" dt="2019-05-22T07:59:43.087" v="340" actId="2696"/>
        <pc:sldMkLst>
          <pc:docMk/>
          <pc:sldMk cId="0" sldId="296"/>
        </pc:sldMkLst>
      </pc:sldChg>
      <pc:sldChg chg="del">
        <pc:chgData name="Bérangére THIERRY" userId="68da5109e3724629" providerId="LiveId" clId="{E6B14BDB-97DC-CA40-AE27-321084CB2FA1}" dt="2019-05-22T07:04:46.069" v="1" actId="2696"/>
        <pc:sldMkLst>
          <pc:docMk/>
          <pc:sldMk cId="0" sldId="297"/>
        </pc:sldMkLst>
      </pc:sldChg>
      <pc:sldChg chg="new del">
        <pc:chgData name="Bérangére THIERRY" userId="68da5109e3724629" providerId="LiveId" clId="{E6B14BDB-97DC-CA40-AE27-321084CB2FA1}" dt="2019-05-22T07:09:29.630" v="5" actId="2696"/>
        <pc:sldMkLst>
          <pc:docMk/>
          <pc:sldMk cId="1556883220" sldId="299"/>
        </pc:sldMkLst>
      </pc:sldChg>
      <pc:sldChg chg="addSp delSp modSp add">
        <pc:chgData name="Bérangére THIERRY" userId="68da5109e3724629" providerId="LiveId" clId="{E6B14BDB-97DC-CA40-AE27-321084CB2FA1}" dt="2019-05-22T07:12:58.716" v="61" actId="20577"/>
        <pc:sldMkLst>
          <pc:docMk/>
          <pc:sldMk cId="2351722952" sldId="300"/>
        </pc:sldMkLst>
        <pc:spChg chg="del">
          <ac:chgData name="Bérangére THIERRY" userId="68da5109e3724629" providerId="LiveId" clId="{E6B14BDB-97DC-CA40-AE27-321084CB2FA1}" dt="2019-05-22T07:09:19.483" v="4" actId="21"/>
          <ac:spMkLst>
            <pc:docMk/>
            <pc:sldMk cId="2351722952" sldId="300"/>
            <ac:spMk id="2" creationId="{95D6A1A5-5FCD-421B-9754-39C37C41F519}"/>
          </ac:spMkLst>
        </pc:spChg>
        <pc:spChg chg="add mod">
          <ac:chgData name="Bérangére THIERRY" userId="68da5109e3724629" providerId="LiveId" clId="{E6B14BDB-97DC-CA40-AE27-321084CB2FA1}" dt="2019-05-22T07:12:58.716" v="61" actId="20577"/>
          <ac:spMkLst>
            <pc:docMk/>
            <pc:sldMk cId="2351722952" sldId="300"/>
            <ac:spMk id="5" creationId="{BEFEC8BE-7407-B54E-BE78-FE5D0E89CDBF}"/>
          </ac:spMkLst>
        </pc:spChg>
      </pc:sldChg>
      <pc:sldChg chg="addSp delSp modSp new del">
        <pc:chgData name="Bérangére THIERRY" userId="68da5109e3724629" providerId="LiveId" clId="{E6B14BDB-97DC-CA40-AE27-321084CB2FA1}" dt="2019-05-22T07:56:06.929" v="283" actId="2696"/>
        <pc:sldMkLst>
          <pc:docMk/>
          <pc:sldMk cId="2319279945" sldId="301"/>
        </pc:sldMkLst>
        <pc:spChg chg="add del mod">
          <ac:chgData name="Bérangére THIERRY" userId="68da5109e3724629" providerId="LiveId" clId="{E6B14BDB-97DC-CA40-AE27-321084CB2FA1}" dt="2019-05-22T07:49:07.780" v="276" actId="1111"/>
          <ac:spMkLst>
            <pc:docMk/>
            <pc:sldMk cId="2319279945" sldId="301"/>
            <ac:spMk id="4" creationId="{82CC20AB-709D-BA4B-A553-6CDB790D69B6}"/>
          </ac:spMkLst>
        </pc:spChg>
        <pc:graphicFrameChg chg="add mod">
          <ac:chgData name="Bérangére THIERRY" userId="68da5109e3724629" providerId="LiveId" clId="{E6B14BDB-97DC-CA40-AE27-321084CB2FA1}" dt="2019-05-22T07:56:01.855" v="282" actId="1076"/>
          <ac:graphicFrameMkLst>
            <pc:docMk/>
            <pc:sldMk cId="2319279945" sldId="301"/>
            <ac:graphicFrameMk id="3" creationId="{F037118D-8449-9E4D-8E89-D531FE3B0457}"/>
          </ac:graphicFrameMkLst>
        </pc:graphicFrameChg>
      </pc:sldChg>
      <pc:sldChg chg="addSp delSp modSp new mod ord modClrScheme chgLayout">
        <pc:chgData name="Bérangére THIERRY" userId="68da5109e3724629" providerId="LiveId" clId="{E6B14BDB-97DC-CA40-AE27-321084CB2FA1}" dt="2019-05-22T11:34:09.237" v="421" actId="22"/>
        <pc:sldMkLst>
          <pc:docMk/>
          <pc:sldMk cId="3079743487" sldId="301"/>
        </pc:sldMkLst>
        <pc:spChg chg="del mod ord">
          <ac:chgData name="Bérangére THIERRY" userId="68da5109e3724629" providerId="LiveId" clId="{E6B14BDB-97DC-CA40-AE27-321084CB2FA1}" dt="2019-05-22T08:24:02.544" v="353" actId="700"/>
          <ac:spMkLst>
            <pc:docMk/>
            <pc:sldMk cId="3079743487" sldId="301"/>
            <ac:spMk id="2" creationId="{781B2D4A-F29A-BF46-8D6B-12F6161EB2C4}"/>
          </ac:spMkLst>
        </pc:spChg>
        <pc:spChg chg="add del">
          <ac:chgData name="Bérangére THIERRY" userId="68da5109e3724629" providerId="LiveId" clId="{E6B14BDB-97DC-CA40-AE27-321084CB2FA1}" dt="2019-05-22T11:34:09.237" v="421" actId="22"/>
          <ac:spMkLst>
            <pc:docMk/>
            <pc:sldMk cId="3079743487" sldId="301"/>
            <ac:spMk id="4" creationId="{9767C30F-1E92-5842-AA29-132FF6B9C17C}"/>
          </ac:spMkLst>
        </pc:spChg>
        <pc:spChg chg="add del mod ord">
          <ac:chgData name="Bérangére THIERRY" userId="68da5109e3724629" providerId="LiveId" clId="{E6B14BDB-97DC-CA40-AE27-321084CB2FA1}" dt="2019-05-22T08:10:27.276" v="352" actId="700"/>
          <ac:spMkLst>
            <pc:docMk/>
            <pc:sldMk cId="3079743487" sldId="301"/>
            <ac:spMk id="7" creationId="{73B95AA0-05A6-6848-8C90-169556FB13EF}"/>
          </ac:spMkLst>
        </pc:spChg>
        <pc:spChg chg="add del">
          <ac:chgData name="Bérangére THIERRY" userId="68da5109e3724629" providerId="LiveId" clId="{E6B14BDB-97DC-CA40-AE27-321084CB2FA1}" dt="2019-05-22T08:24:22.042" v="355" actId="139"/>
          <ac:spMkLst>
            <pc:docMk/>
            <pc:sldMk cId="3079743487" sldId="301"/>
            <ac:spMk id="10" creationId="{817445D5-0E3F-F645-A128-11CBC8F85C6C}"/>
          </ac:spMkLst>
        </pc:spChg>
        <pc:spChg chg="add del mod">
          <ac:chgData name="Bérangére THIERRY" userId="68da5109e3724629" providerId="LiveId" clId="{E6B14BDB-97DC-CA40-AE27-321084CB2FA1}" dt="2019-05-22T08:28:00.221" v="359" actId="700"/>
          <ac:spMkLst>
            <pc:docMk/>
            <pc:sldMk cId="3079743487" sldId="301"/>
            <ac:spMk id="13" creationId="{AB806171-5B28-1E40-890B-99EDA1884E35}"/>
          </ac:spMkLst>
        </pc:spChg>
        <pc:spChg chg="add del mod">
          <ac:chgData name="Bérangére THIERRY" userId="68da5109e3724629" providerId="LiveId" clId="{E6B14BDB-97DC-CA40-AE27-321084CB2FA1}" dt="2019-05-22T08:28:00.221" v="359" actId="700"/>
          <ac:spMkLst>
            <pc:docMk/>
            <pc:sldMk cId="3079743487" sldId="301"/>
            <ac:spMk id="14" creationId="{0DB5DAE6-F4BB-C444-AC9A-7F2522EB7C58}"/>
          </ac:spMkLst>
        </pc:spChg>
        <pc:spChg chg="add del mod">
          <ac:chgData name="Bérangére THIERRY" userId="68da5109e3724629" providerId="LiveId" clId="{E6B14BDB-97DC-CA40-AE27-321084CB2FA1}" dt="2019-05-22T11:34:00.550" v="419" actId="700"/>
          <ac:spMkLst>
            <pc:docMk/>
            <pc:sldMk cId="3079743487" sldId="301"/>
            <ac:spMk id="15" creationId="{53D6FF48-3B31-8C4B-92F7-4752A9C5EEF4}"/>
          </ac:spMkLst>
        </pc:spChg>
        <pc:graphicFrameChg chg="add del">
          <ac:chgData name="Bérangére THIERRY" userId="68da5109e3724629" providerId="LiveId" clId="{E6B14BDB-97DC-CA40-AE27-321084CB2FA1}" dt="2019-05-22T08:06:05.292" v="345" actId="22"/>
          <ac:graphicFrameMkLst>
            <pc:docMk/>
            <pc:sldMk cId="3079743487" sldId="301"/>
            <ac:graphicFrameMk id="4" creationId="{D9EC23C9-ADE8-5C43-9211-9332A1BA5AF4}"/>
          </ac:graphicFrameMkLst>
        </pc:graphicFrameChg>
        <pc:graphicFrameChg chg="add del">
          <ac:chgData name="Bérangére THIERRY" userId="68da5109e3724629" providerId="LiveId" clId="{E6B14BDB-97DC-CA40-AE27-321084CB2FA1}" dt="2019-05-22T08:06:24.119" v="348" actId="22"/>
          <ac:graphicFrameMkLst>
            <pc:docMk/>
            <pc:sldMk cId="3079743487" sldId="301"/>
            <ac:graphicFrameMk id="6" creationId="{63FFE336-F6E1-5040-8141-67058BEB6601}"/>
          </ac:graphicFrameMkLst>
        </pc:graphicFrameChg>
        <pc:graphicFrameChg chg="add del mod">
          <ac:chgData name="Bérangére THIERRY" userId="68da5109e3724629" providerId="LiveId" clId="{E6B14BDB-97DC-CA40-AE27-321084CB2FA1}" dt="2019-05-22T08:06:42.728" v="351" actId="22"/>
          <ac:graphicFrameMkLst>
            <pc:docMk/>
            <pc:sldMk cId="3079743487" sldId="301"/>
            <ac:graphicFrameMk id="9" creationId="{7C13134C-2182-B642-8B82-0DBD25CE78FE}"/>
          </ac:graphicFrameMkLst>
        </pc:graphicFrameChg>
        <pc:graphicFrameChg chg="add del">
          <ac:chgData name="Bérangére THIERRY" userId="68da5109e3724629" providerId="LiveId" clId="{E6B14BDB-97DC-CA40-AE27-321084CB2FA1}" dt="2019-05-22T08:24:35.543" v="357" actId="3680"/>
          <ac:graphicFrameMkLst>
            <pc:docMk/>
            <pc:sldMk cId="3079743487" sldId="301"/>
            <ac:graphicFrameMk id="11" creationId="{B288060C-85AF-6F45-B9EA-BD4A1C47EB5F}"/>
          </ac:graphicFrameMkLst>
        </pc:graphicFrameChg>
      </pc:sldChg>
      <pc:sldMasterChg chg="addSldLayout">
        <pc:chgData name="Bérangére THIERRY" userId="68da5109e3724629" providerId="LiveId" clId="{E6B14BDB-97DC-CA40-AE27-321084CB2FA1}" dt="2019-05-22T07:09:12.253" v="3" actId="22"/>
        <pc:sldMasterMkLst>
          <pc:docMk/>
          <pc:sldMasterMk cId="0" sldId="2147483940"/>
        </pc:sldMasterMkLst>
        <pc:sldLayoutChg chg="add">
          <pc:chgData name="Bérangére THIERRY" userId="68da5109e3724629" providerId="LiveId" clId="{E6B14BDB-97DC-CA40-AE27-321084CB2FA1}" dt="2019-05-22T07:09:12.253" v="3" actId="22"/>
          <pc:sldLayoutMkLst>
            <pc:docMk/>
            <pc:sldMasterMk cId="0" sldId="2147483940"/>
            <pc:sldLayoutMk cId="3607569307" sldId="2147484179"/>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a:extLst>
              <a:ext uri="{FF2B5EF4-FFF2-40B4-BE49-F238E27FC236}">
                <a16:creationId xmlns="" xmlns:a16="http://schemas.microsoft.com/office/drawing/2014/main" id="{FF260B89-BA70-4AF0-A1B2-1EAA3B85B26A}"/>
              </a:ext>
            </a:extLst>
          </p:cNvPr>
          <p:cNvSpPr>
            <a:spLocks noGrp="1"/>
          </p:cNvSpPr>
          <p:nvPr>
            <p:ph type="hdr" sz="quarter"/>
          </p:nvPr>
        </p:nvSpPr>
        <p:spPr>
          <a:xfrm>
            <a:off x="0" y="0"/>
            <a:ext cx="2945659" cy="496332"/>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fr-FR"/>
          </a:p>
        </p:txBody>
      </p:sp>
      <p:sp>
        <p:nvSpPr>
          <p:cNvPr id="3" name="Espace réservé de la date 2">
            <a:extLst>
              <a:ext uri="{FF2B5EF4-FFF2-40B4-BE49-F238E27FC236}">
                <a16:creationId xmlns="" xmlns:a16="http://schemas.microsoft.com/office/drawing/2014/main" id="{3F248457-F264-40D4-9996-866ADD3BCA74}"/>
              </a:ext>
            </a:extLst>
          </p:cNvPr>
          <p:cNvSpPr>
            <a:spLocks noGrp="1"/>
          </p:cNvSpPr>
          <p:nvPr>
            <p:ph type="dt" idx="1"/>
          </p:nvPr>
        </p:nvSpPr>
        <p:spPr>
          <a:xfrm>
            <a:off x="3850443" y="0"/>
            <a:ext cx="2945659" cy="496332"/>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76D8A4BA-2E48-4B50-89C1-003E2CF0B8DD}" type="datetimeFigureOut">
              <a:rPr lang="fr-FR"/>
              <a:pPr>
                <a:defRPr/>
              </a:pPr>
              <a:t>13/06/2019</a:t>
            </a:fld>
            <a:endParaRPr lang="fr-FR"/>
          </a:p>
        </p:txBody>
      </p:sp>
      <p:sp>
        <p:nvSpPr>
          <p:cNvPr id="4" name="Espace réservé de l'image des diapositives 3">
            <a:extLst>
              <a:ext uri="{FF2B5EF4-FFF2-40B4-BE49-F238E27FC236}">
                <a16:creationId xmlns="" xmlns:a16="http://schemas.microsoft.com/office/drawing/2014/main" id="{CF5ED091-4835-4C47-A82C-9F390955B9BC}"/>
              </a:ext>
            </a:extLst>
          </p:cNvPr>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fr-FR" noProof="0"/>
          </a:p>
        </p:txBody>
      </p:sp>
      <p:sp>
        <p:nvSpPr>
          <p:cNvPr id="5" name="Espace réservé des commentaires 4">
            <a:extLst>
              <a:ext uri="{FF2B5EF4-FFF2-40B4-BE49-F238E27FC236}">
                <a16:creationId xmlns="" xmlns:a16="http://schemas.microsoft.com/office/drawing/2014/main" id="{BAEB305B-8D74-4914-BBDC-A978FCDD85F1}"/>
              </a:ext>
            </a:extLst>
          </p:cNvPr>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6" name="Espace réservé du pied de page 5">
            <a:extLst>
              <a:ext uri="{FF2B5EF4-FFF2-40B4-BE49-F238E27FC236}">
                <a16:creationId xmlns="" xmlns:a16="http://schemas.microsoft.com/office/drawing/2014/main" id="{DC55A3A5-C440-4043-A1CD-172D019EB55E}"/>
              </a:ext>
            </a:extLst>
          </p:cNvPr>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fr-FR"/>
          </a:p>
        </p:txBody>
      </p:sp>
      <p:sp>
        <p:nvSpPr>
          <p:cNvPr id="7" name="Espace réservé du numéro de diapositive 6">
            <a:extLst>
              <a:ext uri="{FF2B5EF4-FFF2-40B4-BE49-F238E27FC236}">
                <a16:creationId xmlns="" xmlns:a16="http://schemas.microsoft.com/office/drawing/2014/main" id="{1273A455-D4D2-4EBC-BBC6-CDC9DE70533B}"/>
              </a:ext>
            </a:extLst>
          </p:cNvPr>
          <p:cNvSpPr>
            <a:spLocks noGrp="1"/>
          </p:cNvSpPr>
          <p:nvPr>
            <p:ph type="sldNum" sz="quarter" idx="5"/>
          </p:nvPr>
        </p:nvSpPr>
        <p:spPr>
          <a:xfrm>
            <a:off x="3850443" y="9428583"/>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15175D6B-979E-426E-9EB8-ADB049B2C88F}" type="slidenum">
              <a:rPr lang="fr-FR" altLang="en-US"/>
              <a:pPr/>
              <a:t>‹N°›</a:t>
            </a:fld>
            <a:endParaRPr lang="fr-FR" altLang="en-US"/>
          </a:p>
        </p:txBody>
      </p:sp>
    </p:spTree>
    <p:extLst>
      <p:ext uri="{BB962C8B-B14F-4D97-AF65-F5344CB8AC3E}">
        <p14:creationId xmlns:p14="http://schemas.microsoft.com/office/powerpoint/2010/main" val="178157618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smtClean="0"/>
          </a:p>
        </p:txBody>
      </p:sp>
      <p:sp>
        <p:nvSpPr>
          <p:cNvPr id="4" name="Espace réservé du numéro de diapositive 3"/>
          <p:cNvSpPr>
            <a:spLocks noGrp="1"/>
          </p:cNvSpPr>
          <p:nvPr>
            <p:ph type="sldNum" sz="quarter" idx="10"/>
          </p:nvPr>
        </p:nvSpPr>
        <p:spPr/>
        <p:txBody>
          <a:bodyPr/>
          <a:lstStyle/>
          <a:p>
            <a:fld id="{15175D6B-979E-426E-9EB8-ADB049B2C88F}" type="slidenum">
              <a:rPr lang="fr-FR" altLang="en-US" smtClean="0"/>
              <a:pPr/>
              <a:t>1</a:t>
            </a:fld>
            <a:endParaRPr lang="fr-FR" altLang="en-US"/>
          </a:p>
        </p:txBody>
      </p:sp>
    </p:spTree>
    <p:extLst>
      <p:ext uri="{BB962C8B-B14F-4D97-AF65-F5344CB8AC3E}">
        <p14:creationId xmlns:p14="http://schemas.microsoft.com/office/powerpoint/2010/main" val="3017488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a:extLst>
              <a:ext uri="{FF2B5EF4-FFF2-40B4-BE49-F238E27FC236}">
                <a16:creationId xmlns="" xmlns:a16="http://schemas.microsoft.com/office/drawing/2014/main" id="{AFF42AAD-2EDA-495A-B30F-40CAFA14565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a:extLst>
              <a:ext uri="{FF2B5EF4-FFF2-40B4-BE49-F238E27FC236}">
                <a16:creationId xmlns="" xmlns:a16="http://schemas.microsoft.com/office/drawing/2014/main" id="{018CE08B-2C45-4BC7-8F6E-48172ACC384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fr-FR" b="0"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fr-FR" b="0"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fr-FR" b="0" baseline="0" dirty="0" smtClean="0"/>
              <a:t>Les besoins sont identifiés : la MDPH convoque en GOS 1 (sans financeurs) ; si blocage, la MDPH convoque en GOS 2 (avec financeurs).</a:t>
            </a:r>
          </a:p>
          <a:p>
            <a:pPr eaLnBrk="1" hangingPunct="1">
              <a:spcBef>
                <a:spcPct val="0"/>
              </a:spcBef>
            </a:pPr>
            <a:endParaRPr lang="fr-FR" altLang="fr-FR" dirty="0"/>
          </a:p>
        </p:txBody>
      </p:sp>
      <p:sp>
        <p:nvSpPr>
          <p:cNvPr id="30724" name="Slide Number Placeholder 3">
            <a:extLst>
              <a:ext uri="{FF2B5EF4-FFF2-40B4-BE49-F238E27FC236}">
                <a16:creationId xmlns="" xmlns:a16="http://schemas.microsoft.com/office/drawing/2014/main" id="{BED973E2-75A8-4E27-A0AE-80F1C0C58193}"/>
              </a:ext>
            </a:extLst>
          </p:cNvPr>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CA96DAA0-3737-43C1-A35C-50DDEE09B428}" type="slidenum">
              <a:rPr lang="fr-FR" altLang="en-US"/>
              <a:pPr eaLnBrk="1" hangingPunct="1"/>
              <a:t>10</a:t>
            </a:fld>
            <a:endParaRPr lang="fr-FR" altLang="en-US"/>
          </a:p>
        </p:txBody>
      </p:sp>
    </p:spTree>
    <p:extLst>
      <p:ext uri="{BB962C8B-B14F-4D97-AF65-F5344CB8AC3E}">
        <p14:creationId xmlns:p14="http://schemas.microsoft.com/office/powerpoint/2010/main" val="30378292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a:extLst>
              <a:ext uri="{FF2B5EF4-FFF2-40B4-BE49-F238E27FC236}">
                <a16:creationId xmlns="" xmlns:a16="http://schemas.microsoft.com/office/drawing/2014/main" id="{FA26CF2E-245C-45B6-A535-5F9C7775F66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a:extLst>
              <a:ext uri="{FF2B5EF4-FFF2-40B4-BE49-F238E27FC236}">
                <a16:creationId xmlns="" xmlns:a16="http://schemas.microsoft.com/office/drawing/2014/main" id="{8A5EB042-A071-4392-B1FD-0468B263DF1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fr-FR" altLang="fr-FR" b="1" dirty="0" smtClean="0"/>
              <a:t>Développement des liens avec l’ASE </a:t>
            </a:r>
            <a:r>
              <a:rPr lang="fr-FR" altLang="fr-FR" dirty="0" smtClean="0"/>
              <a:t>: la MDPH</a:t>
            </a:r>
            <a:r>
              <a:rPr lang="fr-FR" altLang="fr-FR" baseline="0" dirty="0" smtClean="0"/>
              <a:t> a initié 6 rencontres depuis Avril.</a:t>
            </a:r>
          </a:p>
          <a:p>
            <a:pPr eaLnBrk="1" hangingPunct="1">
              <a:spcBef>
                <a:spcPct val="0"/>
              </a:spcBef>
            </a:pPr>
            <a:r>
              <a:rPr lang="fr-FR" altLang="fr-FR" dirty="0" smtClean="0"/>
              <a:t>Bientôt une</a:t>
            </a:r>
            <a:r>
              <a:rPr lang="fr-FR" altLang="fr-FR" baseline="0" dirty="0" smtClean="0"/>
              <a:t> liste d’établissements belges conventionnés : plus de nouvelles entrées.</a:t>
            </a:r>
            <a:endParaRPr lang="fr-FR" altLang="fr-FR" dirty="0"/>
          </a:p>
        </p:txBody>
      </p:sp>
      <p:sp>
        <p:nvSpPr>
          <p:cNvPr id="34820" name="Slide Number Placeholder 3">
            <a:extLst>
              <a:ext uri="{FF2B5EF4-FFF2-40B4-BE49-F238E27FC236}">
                <a16:creationId xmlns="" xmlns:a16="http://schemas.microsoft.com/office/drawing/2014/main" id="{E387682E-99AC-48AB-975E-102C2BC92CBA}"/>
              </a:ext>
            </a:extLst>
          </p:cNvPr>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C7F1C41F-0B27-464E-9330-8C36CFC708E4}" type="slidenum">
              <a:rPr lang="fr-FR" altLang="en-US"/>
              <a:pPr eaLnBrk="1" hangingPunct="1"/>
              <a:t>11</a:t>
            </a:fld>
            <a:endParaRPr lang="fr-FR" altLang="en-US"/>
          </a:p>
        </p:txBody>
      </p:sp>
    </p:spTree>
    <p:extLst>
      <p:ext uri="{BB962C8B-B14F-4D97-AF65-F5344CB8AC3E}">
        <p14:creationId xmlns:p14="http://schemas.microsoft.com/office/powerpoint/2010/main" val="7342055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Espace réservé de l'image des diapositives 1">
            <a:extLst>
              <a:ext uri="{FF2B5EF4-FFF2-40B4-BE49-F238E27FC236}">
                <a16:creationId xmlns="" xmlns:a16="http://schemas.microsoft.com/office/drawing/2014/main" id="{485DB89D-67D9-46CF-A1C0-6E28C942420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Espace réservé des commentaires 2">
            <a:extLst>
              <a:ext uri="{FF2B5EF4-FFF2-40B4-BE49-F238E27FC236}">
                <a16:creationId xmlns="" xmlns:a16="http://schemas.microsoft.com/office/drawing/2014/main" id="{6EA936FB-649A-48A1-B5F1-2961490B55E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fr-FR" altLang="fr-FR" baseline="0" dirty="0" smtClean="0"/>
          </a:p>
        </p:txBody>
      </p:sp>
      <p:sp>
        <p:nvSpPr>
          <p:cNvPr id="4" name="Espace réservé du numéro de diapositive 3">
            <a:extLst>
              <a:ext uri="{FF2B5EF4-FFF2-40B4-BE49-F238E27FC236}">
                <a16:creationId xmlns="" xmlns:a16="http://schemas.microsoft.com/office/drawing/2014/main" id="{51847E67-C4FD-41E6-855D-825C8B61DFB6}"/>
              </a:ext>
            </a:extLst>
          </p:cNvPr>
          <p:cNvSpPr>
            <a:spLocks noGrp="1"/>
          </p:cNvSpPr>
          <p:nvPr>
            <p:ph type="sldNum" sz="quarter" idx="5"/>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43358F20-CE7C-4644-8B2B-B2F7727CB43C}" type="slidenum">
              <a:rPr lang="fr-FR" altLang="en-US"/>
              <a:pPr eaLnBrk="1" hangingPunct="1"/>
              <a:t>12</a:t>
            </a:fld>
            <a:endParaRPr lang="fr-FR" altLang="en-US"/>
          </a:p>
        </p:txBody>
      </p:sp>
    </p:spTree>
    <p:extLst>
      <p:ext uri="{BB962C8B-B14F-4D97-AF65-F5344CB8AC3E}">
        <p14:creationId xmlns:p14="http://schemas.microsoft.com/office/powerpoint/2010/main" val="33829865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u="none" dirty="0" smtClean="0"/>
              <a:t>Démarche partenariale avec la </a:t>
            </a:r>
            <a:r>
              <a:rPr lang="fr-FR" u="none" dirty="0" smtClean="0"/>
              <a:t>MDPH.</a:t>
            </a:r>
            <a:r>
              <a:rPr lang="fr-FR" u="none" baseline="0" dirty="0" smtClean="0"/>
              <a:t> La MDPH a un rôle d’</a:t>
            </a:r>
            <a:r>
              <a:rPr lang="fr-FR" u="none" baseline="0" dirty="0" err="1" smtClean="0"/>
              <a:t>assemblier</a:t>
            </a:r>
            <a:r>
              <a:rPr lang="fr-FR" u="none" baseline="0" dirty="0" smtClean="0"/>
              <a:t>, intervient en dernière intention.</a:t>
            </a:r>
            <a:endParaRPr lang="fr-FR" u="none" dirty="0"/>
          </a:p>
        </p:txBody>
      </p:sp>
      <p:sp>
        <p:nvSpPr>
          <p:cNvPr id="4" name="Espace réservé du numéro de diapositive 3"/>
          <p:cNvSpPr>
            <a:spLocks noGrp="1"/>
          </p:cNvSpPr>
          <p:nvPr>
            <p:ph type="sldNum" sz="quarter" idx="10"/>
          </p:nvPr>
        </p:nvSpPr>
        <p:spPr/>
        <p:txBody>
          <a:bodyPr/>
          <a:lstStyle/>
          <a:p>
            <a:fld id="{15175D6B-979E-426E-9EB8-ADB049B2C88F}" type="slidenum">
              <a:rPr lang="fr-FR" altLang="en-US" smtClean="0"/>
              <a:pPr/>
              <a:t>13</a:t>
            </a:fld>
            <a:endParaRPr lang="fr-FR" altLang="en-US"/>
          </a:p>
        </p:txBody>
      </p:sp>
    </p:spTree>
    <p:extLst>
      <p:ext uri="{BB962C8B-B14F-4D97-AF65-F5344CB8AC3E}">
        <p14:creationId xmlns:p14="http://schemas.microsoft.com/office/powerpoint/2010/main" val="41691953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15175D6B-979E-426E-9EB8-ADB049B2C88F}" type="slidenum">
              <a:rPr lang="fr-FR" altLang="en-US" smtClean="0"/>
              <a:pPr/>
              <a:t>14</a:t>
            </a:fld>
            <a:endParaRPr lang="fr-FR" altLang="en-US"/>
          </a:p>
        </p:txBody>
      </p:sp>
    </p:spTree>
    <p:extLst>
      <p:ext uri="{BB962C8B-B14F-4D97-AF65-F5344CB8AC3E}">
        <p14:creationId xmlns:p14="http://schemas.microsoft.com/office/powerpoint/2010/main" val="16999115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indent="0">
              <a:buFontTx/>
              <a:buNone/>
            </a:pPr>
            <a:r>
              <a:rPr lang="fr-FR" baseline="0" dirty="0" smtClean="0"/>
              <a:t>Lancée en 2014, « une réponse accompagnée pour tous » vise une </a:t>
            </a:r>
            <a:r>
              <a:rPr lang="fr-FR" b="1" baseline="0" dirty="0" smtClean="0"/>
              <a:t>réponse individualisée </a:t>
            </a:r>
            <a:r>
              <a:rPr lang="fr-FR" baseline="0" dirty="0" smtClean="0"/>
              <a:t>à chaque personne exposée à un risque de rupture d’accompagnement, pour lui permettre de s’inscrire ainsi dans un parcours de santé conforme à son projet de vie.</a:t>
            </a:r>
          </a:p>
          <a:p>
            <a:pPr marL="0" indent="0">
              <a:buFontTx/>
              <a:buNone/>
            </a:pPr>
            <a:endParaRPr lang="fr-FR" baseline="0" dirty="0" smtClean="0"/>
          </a:p>
          <a:p>
            <a:pPr marL="0" indent="0">
              <a:buFontTx/>
              <a:buNone/>
            </a:pPr>
            <a:r>
              <a:rPr lang="fr-FR" b="1" baseline="0" dirty="0" smtClean="0"/>
              <a:t>Le rapport </a:t>
            </a:r>
            <a:r>
              <a:rPr lang="fr-FR" b="1" baseline="0" dirty="0" err="1" smtClean="0"/>
              <a:t>Piveteau</a:t>
            </a:r>
            <a:r>
              <a:rPr lang="fr-FR" baseline="0" dirty="0" smtClean="0"/>
              <a:t>, « zéro sans solution » pose les fondements de la démarche et définit le cap à atteindre pour améliorer l’accompagnement des personnes en situation de handicap avec quatre objectifs :</a:t>
            </a:r>
          </a:p>
          <a:p>
            <a:pPr marL="171450" indent="-171450">
              <a:buFontTx/>
              <a:buChar char="-"/>
            </a:pPr>
            <a:r>
              <a:rPr lang="fr-FR" sz="1050" baseline="0" dirty="0" smtClean="0"/>
              <a:t>Modularité</a:t>
            </a:r>
            <a:r>
              <a:rPr lang="fr-FR" baseline="0" dirty="0" smtClean="0"/>
              <a:t> : passer d’une logique de place à une logique de réponse coordonnée</a:t>
            </a:r>
          </a:p>
          <a:p>
            <a:pPr marL="171450" indent="-171450">
              <a:buFontTx/>
              <a:buChar char="-"/>
            </a:pPr>
            <a:r>
              <a:rPr lang="fr-FR" baseline="0" dirty="0" smtClean="0"/>
              <a:t>Zéro sans solution : apporter une réponse à toutes les situations, même les plus complexes</a:t>
            </a:r>
          </a:p>
          <a:p>
            <a:pPr marL="171450" indent="-171450">
              <a:buFontTx/>
              <a:buChar char="-"/>
            </a:pPr>
            <a:r>
              <a:rPr lang="fr-FR" baseline="0" dirty="0" smtClean="0"/>
              <a:t>Coordination : renforcer le rôle des MDPH : construire avec les partenaires des réponses individuelles sur le territoire</a:t>
            </a:r>
          </a:p>
          <a:p>
            <a:pPr marL="171450" indent="-171450">
              <a:buFontTx/>
              <a:buChar char="-"/>
            </a:pPr>
            <a:r>
              <a:rPr lang="fr-FR" baseline="0" dirty="0" smtClean="0"/>
              <a:t>Souplesse de l’offre : assurer l’existence de l’offre et son adéquation aux besoins.</a:t>
            </a:r>
          </a:p>
          <a:p>
            <a:pPr marL="0" indent="0">
              <a:buFontTx/>
              <a:buNone/>
            </a:pPr>
            <a:endParaRPr lang="fr-FR" baseline="0" dirty="0" smtClean="0"/>
          </a:p>
          <a:p>
            <a:pPr marL="0" indent="0">
              <a:buFontTx/>
              <a:buNone/>
            </a:pPr>
            <a:r>
              <a:rPr lang="fr-FR" b="1" baseline="0" dirty="0" smtClean="0"/>
              <a:t>Dès 2015, le département de l’Aisne est département pionnier</a:t>
            </a:r>
            <a:r>
              <a:rPr lang="fr-FR" baseline="0" dirty="0" smtClean="0"/>
              <a:t>. Il lancera la démarche dès le 10 novembre 2015.</a:t>
            </a:r>
          </a:p>
          <a:p>
            <a:pPr marL="0" indent="0">
              <a:buFontTx/>
              <a:buNone/>
            </a:pPr>
            <a:endParaRPr lang="fr-FR" baseline="0" dirty="0" smtClean="0"/>
          </a:p>
          <a:p>
            <a:pPr marL="0" indent="0">
              <a:buFontTx/>
              <a:buNone/>
            </a:pPr>
            <a:r>
              <a:rPr lang="fr-FR" baseline="0" dirty="0" smtClean="0"/>
              <a:t>Inscrite dans la loi de modernisation de notre système de santé, </a:t>
            </a:r>
            <a:r>
              <a:rPr lang="fr-FR" b="1" baseline="0" dirty="0" smtClean="0"/>
              <a:t>la RAPT est généralisée le 1</a:t>
            </a:r>
            <a:r>
              <a:rPr lang="fr-FR" b="1" baseline="30000" dirty="0" smtClean="0"/>
              <a:t>er</a:t>
            </a:r>
            <a:r>
              <a:rPr lang="fr-FR" b="1" baseline="0" dirty="0" smtClean="0"/>
              <a:t> janvier 2018.</a:t>
            </a:r>
          </a:p>
          <a:p>
            <a:pPr marL="0" indent="0">
              <a:buFontTx/>
              <a:buNone/>
            </a:pPr>
            <a:endParaRPr lang="fr-FR" baseline="0" dirty="0" smtClean="0"/>
          </a:p>
          <a:p>
            <a:pPr marL="0" indent="0">
              <a:buFontTx/>
              <a:buNone/>
            </a:pPr>
            <a:endParaRPr lang="fr-FR" baseline="0" dirty="0" smtClean="0"/>
          </a:p>
          <a:p>
            <a:pPr marL="0" indent="0">
              <a:buFontTx/>
              <a:buNone/>
            </a:pPr>
            <a:endParaRPr lang="fr-FR" dirty="0"/>
          </a:p>
        </p:txBody>
      </p:sp>
      <p:sp>
        <p:nvSpPr>
          <p:cNvPr id="4" name="Espace réservé du numéro de diapositive 3"/>
          <p:cNvSpPr>
            <a:spLocks noGrp="1"/>
          </p:cNvSpPr>
          <p:nvPr>
            <p:ph type="sldNum" sz="quarter" idx="10"/>
          </p:nvPr>
        </p:nvSpPr>
        <p:spPr/>
        <p:txBody>
          <a:bodyPr/>
          <a:lstStyle/>
          <a:p>
            <a:fld id="{15175D6B-979E-426E-9EB8-ADB049B2C88F}" type="slidenum">
              <a:rPr lang="fr-FR" altLang="en-US" smtClean="0"/>
              <a:pPr/>
              <a:t>2</a:t>
            </a:fld>
            <a:endParaRPr lang="fr-FR" altLang="en-US"/>
          </a:p>
        </p:txBody>
      </p:sp>
    </p:spTree>
    <p:extLst>
      <p:ext uri="{BB962C8B-B14F-4D97-AF65-F5344CB8AC3E}">
        <p14:creationId xmlns:p14="http://schemas.microsoft.com/office/powerpoint/2010/main" val="2772726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a:extLst>
              <a:ext uri="{FF2B5EF4-FFF2-40B4-BE49-F238E27FC236}">
                <a16:creationId xmlns="" xmlns:a16="http://schemas.microsoft.com/office/drawing/2014/main" id="{E98AF9C8-A14A-42F0-8FF4-1F96DD15F41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Notes Placeholder 2">
            <a:extLst>
              <a:ext uri="{FF2B5EF4-FFF2-40B4-BE49-F238E27FC236}">
                <a16:creationId xmlns="" xmlns:a16="http://schemas.microsoft.com/office/drawing/2014/main" id="{95431867-31CF-4BE4-9E0E-FC0306EC90F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altLang="fr-FR" dirty="0"/>
          </a:p>
        </p:txBody>
      </p:sp>
      <p:sp>
        <p:nvSpPr>
          <p:cNvPr id="24580" name="Slide Number Placeholder 3">
            <a:extLst>
              <a:ext uri="{FF2B5EF4-FFF2-40B4-BE49-F238E27FC236}">
                <a16:creationId xmlns="" xmlns:a16="http://schemas.microsoft.com/office/drawing/2014/main" id="{47B8C76B-7172-4C77-9296-54003EE1C5F9}"/>
              </a:ext>
            </a:extLst>
          </p:cNvPr>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F0AD01F1-C539-4210-B225-A50B26EEC221}" type="slidenum">
              <a:rPr lang="fr-FR" altLang="en-US">
                <a:solidFill>
                  <a:srgbClr val="000000"/>
                </a:solidFill>
              </a:rPr>
              <a:pPr eaLnBrk="1" hangingPunct="1"/>
              <a:t>3</a:t>
            </a:fld>
            <a:endParaRPr lang="fr-FR" altLang="en-US">
              <a:solidFill>
                <a:srgbClr val="000000"/>
              </a:solidFill>
            </a:endParaRPr>
          </a:p>
        </p:txBody>
      </p:sp>
    </p:spTree>
    <p:extLst>
      <p:ext uri="{BB962C8B-B14F-4D97-AF65-F5344CB8AC3E}">
        <p14:creationId xmlns:p14="http://schemas.microsoft.com/office/powerpoint/2010/main" val="6476058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5175D6B-979E-426E-9EB8-ADB049B2C88F}" type="slidenum">
              <a:rPr lang="fr-FR" altLang="en-US" smtClean="0"/>
              <a:pPr/>
              <a:t>4</a:t>
            </a:fld>
            <a:endParaRPr lang="fr-FR" altLang="en-US"/>
          </a:p>
        </p:txBody>
      </p:sp>
    </p:spTree>
    <p:extLst>
      <p:ext uri="{BB962C8B-B14F-4D97-AF65-F5344CB8AC3E}">
        <p14:creationId xmlns:p14="http://schemas.microsoft.com/office/powerpoint/2010/main" val="31478181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Espace réservé de l'image des diapositives 1">
            <a:extLst>
              <a:ext uri="{FF2B5EF4-FFF2-40B4-BE49-F238E27FC236}">
                <a16:creationId xmlns="" xmlns:a16="http://schemas.microsoft.com/office/drawing/2014/main" id="{7629846E-E4B2-4445-8D55-245D6A936F6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Espace réservé des commentaires 2">
            <a:extLst>
              <a:ext uri="{FF2B5EF4-FFF2-40B4-BE49-F238E27FC236}">
                <a16:creationId xmlns="" xmlns:a16="http://schemas.microsoft.com/office/drawing/2014/main" id="{9FC23BED-B484-4B66-B37D-94E89B5F75B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fr-FR" altLang="fr-FR" b="1" dirty="0" smtClean="0"/>
              <a:t>Auparavant</a:t>
            </a:r>
            <a:r>
              <a:rPr lang="fr-FR" altLang="fr-FR" dirty="0" smtClean="0"/>
              <a:t> : pôle dédié réponse</a:t>
            </a:r>
            <a:r>
              <a:rPr lang="fr-FR" altLang="fr-FR" baseline="0" dirty="0" smtClean="0"/>
              <a:t> accompagnée composé d’un référent PAG et d’un coordinateur de parcours</a:t>
            </a:r>
            <a:endParaRPr lang="fr-FR" altLang="fr-FR" dirty="0" smtClean="0"/>
          </a:p>
        </p:txBody>
      </p:sp>
      <p:sp>
        <p:nvSpPr>
          <p:cNvPr id="4" name="Espace réservé du numéro de diapositive 3">
            <a:extLst>
              <a:ext uri="{FF2B5EF4-FFF2-40B4-BE49-F238E27FC236}">
                <a16:creationId xmlns="" xmlns:a16="http://schemas.microsoft.com/office/drawing/2014/main" id="{5E55F080-9970-444C-97C2-97BB8811B971}"/>
              </a:ext>
            </a:extLst>
          </p:cNvPr>
          <p:cNvSpPr>
            <a:spLocks noGrp="1"/>
          </p:cNvSpPr>
          <p:nvPr>
            <p:ph type="sldNum" sz="quarter" idx="5"/>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C3CBED0E-3B43-48D2-9F8C-5BCB24300091}" type="slidenum">
              <a:rPr lang="fr-FR" altLang="en-US"/>
              <a:pPr eaLnBrk="1" hangingPunct="1"/>
              <a:t>5</a:t>
            </a:fld>
            <a:endParaRPr lang="fr-FR" altLang="en-US"/>
          </a:p>
        </p:txBody>
      </p:sp>
    </p:spTree>
    <p:extLst>
      <p:ext uri="{BB962C8B-B14F-4D97-AF65-F5344CB8AC3E}">
        <p14:creationId xmlns:p14="http://schemas.microsoft.com/office/powerpoint/2010/main" val="3304194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31863" y="1339850"/>
            <a:ext cx="4819650" cy="3616325"/>
          </a:xfrm>
        </p:spPr>
      </p:sp>
      <p:sp>
        <p:nvSpPr>
          <p:cNvPr id="3" name="Espace réservé des commentaires 2"/>
          <p:cNvSpPr>
            <a:spLocks noGrp="1"/>
          </p:cNvSpPr>
          <p:nvPr>
            <p:ph type="body" idx="1"/>
          </p:nvPr>
        </p:nvSpPr>
        <p:spPr/>
        <p:txBody>
          <a:bodyPr/>
          <a:lstStyle/>
          <a:p>
            <a:pPr marL="0" indent="0">
              <a:buFont typeface="Symbol" panose="05050102010706020507" pitchFamily="18" charset="2"/>
              <a:buNone/>
            </a:pPr>
            <a:endParaRPr lang="fr-FR" b="1" dirty="0" smtClean="0"/>
          </a:p>
          <a:p>
            <a:pPr marL="0" indent="0">
              <a:buFont typeface="Symbol" panose="05050102010706020507" pitchFamily="18" charset="2"/>
              <a:buNone/>
            </a:pPr>
            <a:endParaRPr lang="fr-FR" b="1" dirty="0" smtClean="0"/>
          </a:p>
          <a:p>
            <a:pPr marL="0" indent="0">
              <a:buFont typeface="Symbol" panose="05050102010706020507" pitchFamily="18" charset="2"/>
              <a:buNone/>
            </a:pPr>
            <a:r>
              <a:rPr lang="fr-FR" b="1" dirty="0" smtClean="0"/>
              <a:t>Aujourd’hui</a:t>
            </a:r>
            <a:r>
              <a:rPr lang="fr-FR" dirty="0" smtClean="0"/>
              <a:t> « c’est l’affaire de tous » : un pôle analyse et évaluation </a:t>
            </a:r>
            <a:r>
              <a:rPr lang="fr-FR" b="1" dirty="0" smtClean="0"/>
              <a:t>mixe</a:t>
            </a:r>
            <a:r>
              <a:rPr lang="fr-FR" b="1" baseline="0" dirty="0" smtClean="0"/>
              <a:t> les gestionnaires et les évaluateurs</a:t>
            </a:r>
            <a:r>
              <a:rPr lang="fr-FR" b="0" baseline="0" dirty="0" smtClean="0"/>
              <a:t>.</a:t>
            </a:r>
            <a:endParaRPr lang="fr-FR" b="0" dirty="0"/>
          </a:p>
        </p:txBody>
      </p:sp>
      <p:sp>
        <p:nvSpPr>
          <p:cNvPr id="4" name="Espace réservé du numéro de diapositive 3"/>
          <p:cNvSpPr>
            <a:spLocks noGrp="1"/>
          </p:cNvSpPr>
          <p:nvPr>
            <p:ph type="sldNum" sz="quarter" idx="10"/>
          </p:nvPr>
        </p:nvSpPr>
        <p:spPr/>
        <p:txBody>
          <a:bodyPr/>
          <a:lstStyle/>
          <a:p>
            <a:fld id="{4CBC4CFB-3EFC-4585-A9F2-8F7009D24CB9}" type="slidenum">
              <a:rPr lang="fr-FR" smtClean="0"/>
              <a:t>6</a:t>
            </a:fld>
            <a:endParaRPr lang="fr-FR"/>
          </a:p>
        </p:txBody>
      </p:sp>
    </p:spTree>
    <p:extLst>
      <p:ext uri="{BB962C8B-B14F-4D97-AF65-F5344CB8AC3E}">
        <p14:creationId xmlns:p14="http://schemas.microsoft.com/office/powerpoint/2010/main" val="33925855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b="1" dirty="0" smtClean="0"/>
              <a:t>Circuit d’analyse des situations</a:t>
            </a:r>
            <a:r>
              <a:rPr lang="fr-FR" b="1" baseline="0" dirty="0" smtClean="0"/>
              <a:t> individuelles :</a:t>
            </a:r>
          </a:p>
          <a:p>
            <a:r>
              <a:rPr lang="fr-FR" baseline="0" dirty="0" smtClean="0"/>
              <a:t>La saisine est faite auprès de la MDPH par la personne elle-même ou par les partenaires via la boîte dédiée ou l’outil de saisie.</a:t>
            </a:r>
          </a:p>
          <a:p>
            <a:endParaRPr lang="fr-FR" baseline="0" dirty="0" smtClean="0"/>
          </a:p>
          <a:p>
            <a:r>
              <a:rPr lang="fr-FR" baseline="0" dirty="0" smtClean="0"/>
              <a:t>1- </a:t>
            </a:r>
            <a:r>
              <a:rPr lang="fr-FR" b="1" baseline="0" dirty="0" smtClean="0"/>
              <a:t>Etude par l’EP de la situation </a:t>
            </a:r>
            <a:r>
              <a:rPr lang="fr-FR" baseline="0" dirty="0" smtClean="0"/>
              <a:t>: traitée si simple, si complexe alors EP DOP (dispositif orientation permanent</a:t>
            </a:r>
            <a:r>
              <a:rPr lang="fr-FR" baseline="0" dirty="0" smtClean="0"/>
              <a:t>)</a:t>
            </a:r>
          </a:p>
          <a:p>
            <a:endParaRPr lang="fr-FR"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fr-FR" baseline="0" dirty="0" smtClean="0"/>
              <a:t>2- </a:t>
            </a:r>
            <a:r>
              <a:rPr lang="fr-FR" b="1" baseline="0" dirty="0" smtClean="0"/>
              <a:t>EP DOP </a:t>
            </a:r>
            <a:r>
              <a:rPr lang="fr-FR" baseline="0" dirty="0" smtClean="0"/>
              <a:t>: </a:t>
            </a:r>
            <a:r>
              <a:rPr lang="fr-FR" sz="1200" kern="1200" dirty="0" smtClean="0">
                <a:solidFill>
                  <a:schemeClr val="tx1"/>
                </a:solidFill>
                <a:effectLst/>
                <a:latin typeface="+mn-lt"/>
                <a:ea typeface="+mn-ea"/>
                <a:cs typeface="+mn-cs"/>
              </a:rPr>
              <a:t>la MDPH met en place un Dispositif d’Orientation Permanent (DOP) proposant notamment un accompagnement personnalisé et renforcé aux personnes qui, bien qu’ayant une orientation de la Commission des droits et de l’autonomie (CDAPH), sont sans accompagnement d’un établissement ou d’un service médico-social (ESMS) ou en risque de rupture de parcours et dont la situation devient critique </a:t>
            </a:r>
            <a:r>
              <a:rPr lang="fr-FR" sz="1200" b="1" kern="1200" dirty="0" smtClean="0">
                <a:solidFill>
                  <a:schemeClr val="tx1"/>
                </a:solidFill>
                <a:effectLst/>
                <a:latin typeface="+mn-lt"/>
                <a:ea typeface="+mn-ea"/>
                <a:cs typeface="+mn-cs"/>
              </a:rPr>
              <a:t>(</a:t>
            </a:r>
            <a:r>
              <a:rPr lang="fr-FR" b="1" baseline="0" dirty="0" smtClean="0"/>
              <a:t>en cours de développement : une phase d’expérimentation est à venir)</a:t>
            </a:r>
            <a:r>
              <a:rPr lang="fr-FR" b="0" baseline="0" dirty="0" smtClean="0"/>
              <a: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fr-FR"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fr-FR" baseline="0" dirty="0" smtClean="0"/>
              <a:t>3- </a:t>
            </a:r>
            <a:r>
              <a:rPr lang="fr-FR" b="1" baseline="0" dirty="0" smtClean="0"/>
              <a:t>GOS</a:t>
            </a:r>
            <a:r>
              <a:rPr lang="fr-FR" baseline="0" dirty="0" smtClean="0"/>
              <a:t> : (groupe opérationnel de synthèse), </a:t>
            </a:r>
            <a:r>
              <a:rPr lang="fr-FR" sz="1200" kern="1200" dirty="0" smtClean="0">
                <a:solidFill>
                  <a:schemeClr val="tx1"/>
                </a:solidFill>
                <a:effectLst/>
                <a:latin typeface="+mn-lt"/>
                <a:ea typeface="+mn-ea"/>
                <a:cs typeface="+mn-cs"/>
              </a:rPr>
              <a:t>réuni par la MDPH,</a:t>
            </a:r>
            <a:r>
              <a:rPr lang="fr-FR" sz="1200" kern="1200" baseline="0" dirty="0" smtClean="0">
                <a:solidFill>
                  <a:schemeClr val="tx1"/>
                </a:solidFill>
                <a:effectLst/>
                <a:latin typeface="+mn-lt"/>
                <a:ea typeface="+mn-ea"/>
                <a:cs typeface="+mn-cs"/>
              </a:rPr>
              <a:t> participe à l’élaboration du Plan d’Accompagnement Global (PAG).</a:t>
            </a:r>
            <a:r>
              <a:rPr lang="fr-FR" sz="1200" kern="1200" dirty="0" smtClean="0">
                <a:solidFill>
                  <a:schemeClr val="tx1"/>
                </a:solidFill>
                <a:effectLst/>
                <a:latin typeface="+mn-lt"/>
                <a:ea typeface="+mn-ea"/>
                <a:cs typeface="+mn-cs"/>
              </a:rPr>
              <a:t> Les autorités de régulation, telles que l’ARS, le CD et la CPAM, peuvent être présentes en cas de difficultés particulières. Le GOS est validé par l’ensemble des partenaires. Le GOS est intégré dans le DOP.</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fr-FR"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fr-FR" baseline="0" dirty="0" smtClean="0"/>
              <a:t>Développement du suivi des orientations via </a:t>
            </a:r>
            <a:r>
              <a:rPr lang="fr-FR" baseline="0" dirty="0" smtClean="0"/>
              <a:t>trajectoire </a:t>
            </a:r>
            <a:r>
              <a:rPr lang="fr-FR" baseline="0" dirty="0" smtClean="0"/>
              <a:t>(juin 2019).</a:t>
            </a:r>
          </a:p>
          <a:p>
            <a:endParaRPr lang="fr-FR" dirty="0"/>
          </a:p>
        </p:txBody>
      </p:sp>
      <p:sp>
        <p:nvSpPr>
          <p:cNvPr id="4" name="Espace réservé du numéro de diapositive 3"/>
          <p:cNvSpPr>
            <a:spLocks noGrp="1"/>
          </p:cNvSpPr>
          <p:nvPr>
            <p:ph type="sldNum" sz="quarter" idx="10"/>
          </p:nvPr>
        </p:nvSpPr>
        <p:spPr/>
        <p:txBody>
          <a:bodyPr/>
          <a:lstStyle/>
          <a:p>
            <a:fld id="{15175D6B-979E-426E-9EB8-ADB049B2C88F}" type="slidenum">
              <a:rPr lang="fr-FR" altLang="en-US" smtClean="0"/>
              <a:pPr/>
              <a:t>7</a:t>
            </a:fld>
            <a:endParaRPr lang="fr-FR" altLang="en-US"/>
          </a:p>
        </p:txBody>
      </p:sp>
    </p:spTree>
    <p:extLst>
      <p:ext uri="{BB962C8B-B14F-4D97-AF65-F5344CB8AC3E}">
        <p14:creationId xmlns:p14="http://schemas.microsoft.com/office/powerpoint/2010/main" val="21168572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FR" b="0" baseline="0" dirty="0" smtClean="0"/>
              <a:t>Le </a:t>
            </a:r>
            <a:r>
              <a:rPr lang="fr-FR" b="1" baseline="0" dirty="0" smtClean="0"/>
              <a:t>Plan d’Accompagnement Global (PAG</a:t>
            </a:r>
            <a:r>
              <a:rPr lang="fr-FR" b="0" baseline="0" dirty="0" smtClean="0"/>
              <a:t>), en attente de la concrétisation de l’orientation cible, peut être proposé par la MDPH. </a:t>
            </a:r>
          </a:p>
          <a:p>
            <a:pPr marL="0" marR="0" lvl="0" indent="0" algn="l" defTabSz="914400" rtl="0" eaLnBrk="0" fontAlgn="base" latinLnBrk="0" hangingPunct="0">
              <a:lnSpc>
                <a:spcPct val="100000"/>
              </a:lnSpc>
              <a:spcBef>
                <a:spcPct val="30000"/>
              </a:spcBef>
              <a:spcAft>
                <a:spcPct val="0"/>
              </a:spcAft>
              <a:buClrTx/>
              <a:buSzTx/>
              <a:buFontTx/>
              <a:buNone/>
              <a:tabLst/>
              <a:defRPr/>
            </a:pPr>
            <a:r>
              <a:rPr lang="fr-FR" b="0" baseline="0" dirty="0" smtClean="0"/>
              <a:t>Cette élaboration du PAG est l’aboutissement d’une démarche collective, associant la personne en situation de handicap (et/ou son représentant légal) et l’ensemble des professionnels, des représentants d’usagers et des institutions susceptibles de contribuer à la recherche d’une situation alternative.</a:t>
            </a:r>
          </a:p>
          <a:p>
            <a:endParaRPr lang="fr-FR" dirty="0" smtClean="0"/>
          </a:p>
        </p:txBody>
      </p:sp>
      <p:sp>
        <p:nvSpPr>
          <p:cNvPr id="4" name="Espace réservé du numéro de diapositive 3"/>
          <p:cNvSpPr>
            <a:spLocks noGrp="1"/>
          </p:cNvSpPr>
          <p:nvPr>
            <p:ph type="sldNum" sz="quarter" idx="10"/>
          </p:nvPr>
        </p:nvSpPr>
        <p:spPr/>
        <p:txBody>
          <a:bodyPr/>
          <a:lstStyle/>
          <a:p>
            <a:fld id="{15175D6B-979E-426E-9EB8-ADB049B2C88F}" type="slidenum">
              <a:rPr lang="fr-FR" altLang="en-US" smtClean="0"/>
              <a:pPr/>
              <a:t>8</a:t>
            </a:fld>
            <a:endParaRPr lang="fr-FR" altLang="en-US"/>
          </a:p>
        </p:txBody>
      </p:sp>
    </p:spTree>
    <p:extLst>
      <p:ext uri="{BB962C8B-B14F-4D97-AF65-F5344CB8AC3E}">
        <p14:creationId xmlns:p14="http://schemas.microsoft.com/office/powerpoint/2010/main" val="37114270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a:extLst>
              <a:ext uri="{FF2B5EF4-FFF2-40B4-BE49-F238E27FC236}">
                <a16:creationId xmlns="" xmlns:a16="http://schemas.microsoft.com/office/drawing/2014/main" id="{2A835258-0D84-4F00-9877-9B52506E2D9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a:extLst>
              <a:ext uri="{FF2B5EF4-FFF2-40B4-BE49-F238E27FC236}">
                <a16:creationId xmlns="" xmlns:a16="http://schemas.microsoft.com/office/drawing/2014/main" id="{223FE22B-C44E-4DDD-BB77-65063D32ECD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fr-FR" sz="1200" b="1" kern="1200" dirty="0" smtClean="0">
                <a:solidFill>
                  <a:schemeClr val="tx1"/>
                </a:solidFill>
                <a:effectLst/>
                <a:latin typeface="+mn-lt"/>
                <a:ea typeface="+mn-ea"/>
                <a:cs typeface="+mn-cs"/>
              </a:rPr>
              <a:t>Le PAG s’intègre dans le Plan Personnalisé de Compensation du handicap </a:t>
            </a:r>
            <a:r>
              <a:rPr lang="fr-FR" sz="1200" kern="1200" dirty="0" smtClean="0">
                <a:solidFill>
                  <a:schemeClr val="tx1"/>
                </a:solidFill>
                <a:effectLst/>
                <a:latin typeface="+mn-lt"/>
                <a:ea typeface="+mn-ea"/>
                <a:cs typeface="+mn-cs"/>
              </a:rPr>
              <a:t>et ses composantes donnent lieu à </a:t>
            </a:r>
            <a:r>
              <a:rPr lang="fr-FR" sz="1200" b="1" kern="1200" dirty="0" smtClean="0">
                <a:solidFill>
                  <a:schemeClr val="tx1"/>
                </a:solidFill>
                <a:effectLst/>
                <a:latin typeface="+mn-lt"/>
                <a:ea typeface="+mn-ea"/>
                <a:cs typeface="+mn-cs"/>
              </a:rPr>
              <a:t>une décision </a:t>
            </a:r>
            <a:r>
              <a:rPr lang="fr-FR" sz="1200" kern="1200" dirty="0" smtClean="0">
                <a:solidFill>
                  <a:schemeClr val="tx1"/>
                </a:solidFill>
                <a:effectLst/>
                <a:latin typeface="+mn-lt"/>
                <a:ea typeface="+mn-ea"/>
                <a:cs typeface="+mn-cs"/>
              </a:rPr>
              <a:t>de la Commission des droits et de l’autonomie des personnes handicapées </a:t>
            </a:r>
            <a:r>
              <a:rPr lang="fr-FR" sz="1200" b="1" kern="1200" dirty="0" smtClean="0">
                <a:solidFill>
                  <a:schemeClr val="tx1"/>
                </a:solidFill>
                <a:effectLst/>
                <a:latin typeface="+mn-lt"/>
                <a:ea typeface="+mn-ea"/>
                <a:cs typeface="+mn-cs"/>
              </a:rPr>
              <a:t>(CDAPH)</a:t>
            </a:r>
            <a:r>
              <a:rPr lang="fr-FR" sz="1200" b="0" kern="1200" dirty="0" smtClean="0">
                <a:solidFill>
                  <a:schemeClr val="tx1"/>
                </a:solidFill>
                <a:effectLst/>
                <a:latin typeface="+mn-lt"/>
                <a:ea typeface="+mn-ea"/>
                <a:cs typeface="+mn-cs"/>
              </a:rPr>
              <a:t>.</a:t>
            </a:r>
            <a:endParaRPr lang="fr-FR" sz="1200" b="1" kern="1200" dirty="0" smtClean="0">
              <a:solidFill>
                <a:schemeClr val="tx1"/>
              </a:solidFill>
              <a:effectLst/>
              <a:latin typeface="+mn-lt"/>
              <a:ea typeface="+mn-ea"/>
              <a:cs typeface="+mn-cs"/>
            </a:endParaRPr>
          </a:p>
          <a:p>
            <a:endParaRPr lang="fr-FR" sz="1200" kern="1200" dirty="0" smtClean="0">
              <a:solidFill>
                <a:schemeClr val="tx1"/>
              </a:solidFill>
              <a:effectLst/>
              <a:latin typeface="+mn-lt"/>
              <a:ea typeface="+mn-ea"/>
              <a:cs typeface="+mn-cs"/>
            </a:endParaRPr>
          </a:p>
          <a:p>
            <a:r>
              <a:rPr lang="fr-FR" sz="1200" kern="1200" dirty="0" smtClean="0">
                <a:solidFill>
                  <a:schemeClr val="tx1"/>
                </a:solidFill>
                <a:effectLst/>
                <a:latin typeface="+mn-lt"/>
                <a:ea typeface="+mn-ea"/>
                <a:cs typeface="+mn-cs"/>
              </a:rPr>
              <a:t>L’élaboration du PAG avec la personne et/ou sa famille est de la responsabilité de la MDPH. Dans sa mise en œuvre, la MDPH peut mobiliser ses partenaires et organiser un Groupe Opérationnel de Synthèse (GOS).</a:t>
            </a:r>
            <a:endParaRPr lang="fr-FR" dirty="0" smtClean="0"/>
          </a:p>
        </p:txBody>
      </p:sp>
      <p:sp>
        <p:nvSpPr>
          <p:cNvPr id="29700" name="Slide Number Placeholder 3">
            <a:extLst>
              <a:ext uri="{FF2B5EF4-FFF2-40B4-BE49-F238E27FC236}">
                <a16:creationId xmlns="" xmlns:a16="http://schemas.microsoft.com/office/drawing/2014/main" id="{1D36982A-B28F-4DF7-9C46-BFFAD8E0C6ED}"/>
              </a:ext>
            </a:extLst>
          </p:cNvPr>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752C034E-B3A6-4F38-BCE5-C6807211286E}" type="slidenum">
              <a:rPr lang="fr-FR" altLang="en-US"/>
              <a:pPr eaLnBrk="1" hangingPunct="1"/>
              <a:t>9</a:t>
            </a:fld>
            <a:endParaRPr lang="fr-FR" altLang="en-US"/>
          </a:p>
        </p:txBody>
      </p:sp>
    </p:spTree>
    <p:extLst>
      <p:ext uri="{BB962C8B-B14F-4D97-AF65-F5344CB8AC3E}">
        <p14:creationId xmlns:p14="http://schemas.microsoft.com/office/powerpoint/2010/main" val="41322542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grpSp>
        <p:nvGrpSpPr>
          <p:cNvPr id="7" name="Group 6"/>
          <p:cNvGrpSpPr/>
          <p:nvPr/>
        </p:nvGrpSpPr>
        <p:grpSpPr>
          <a:xfrm>
            <a:off x="-8466" y="-8468"/>
            <a:ext cx="9171316" cy="6874935"/>
            <a:chOff x="-8466" y="-8468"/>
            <a:chExt cx="9171316" cy="6874935"/>
          </a:xfrm>
        </p:grpSpPr>
        <p:cxnSp>
          <p:nvCxnSpPr>
            <p:cNvPr id="28" name="Straight Connector 27"/>
            <p:cNvCxnSpPr/>
            <p:nvPr/>
          </p:nvCxnSpPr>
          <p:spPr>
            <a:xfrm flipV="1">
              <a:off x="5130830" y="4175605"/>
              <a:ext cx="4022475" cy="2682396"/>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7042707"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30" name="Freeform 29"/>
            <p:cNvSpPr/>
            <p:nvPr/>
          </p:nvSpPr>
          <p:spPr>
            <a:xfrm>
              <a:off x="6891896" y="1"/>
              <a:ext cx="2269442" cy="6866466"/>
            </a:xfrm>
            <a:custGeom>
              <a:avLst/>
              <a:gdLst/>
              <a:ahLst/>
              <a:cxnLst/>
              <a:rect l="l" t="t" r="r" b="b"/>
              <a:pathLst>
                <a:path w="2269442" h="6866466">
                  <a:moveTo>
                    <a:pt x="2023534" y="0"/>
                  </a:moveTo>
                  <a:lnTo>
                    <a:pt x="0" y="6858000"/>
                  </a:lnTo>
                  <a:lnTo>
                    <a:pt x="2269067" y="6866466"/>
                  </a:lnTo>
                  <a:cubicBezTo>
                    <a:pt x="2271889" y="4580466"/>
                    <a:pt x="2257778" y="2294466"/>
                    <a:pt x="2260600" y="8466"/>
                  </a:cubicBezTo>
                  <a:lnTo>
                    <a:pt x="2023534"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Freeform 30"/>
            <p:cNvSpPr/>
            <p:nvPr/>
          </p:nvSpPr>
          <p:spPr>
            <a:xfrm>
              <a:off x="7205158" y="-8467"/>
              <a:ext cx="1948147" cy="6866467"/>
            </a:xfrm>
            <a:custGeom>
              <a:avLst/>
              <a:gdLst/>
              <a:ahLst/>
              <a:cxnLst/>
              <a:rect l="l" t="t" r="r" b="b"/>
              <a:pathLst>
                <a:path w="1948147" h="6866467">
                  <a:moveTo>
                    <a:pt x="0" y="0"/>
                  </a:moveTo>
                  <a:lnTo>
                    <a:pt x="1202267" y="6866467"/>
                  </a:lnTo>
                  <a:lnTo>
                    <a:pt x="1947333" y="6866467"/>
                  </a:lnTo>
                  <a:cubicBezTo>
                    <a:pt x="1944511" y="4577645"/>
                    <a:pt x="1950155" y="2288822"/>
                    <a:pt x="1947333" y="0"/>
                  </a:cubicBez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2" name="Freeform 31"/>
            <p:cNvSpPr/>
            <p:nvPr/>
          </p:nvSpPr>
          <p:spPr>
            <a:xfrm>
              <a:off x="6637896" y="3920066"/>
              <a:ext cx="2513565" cy="2937933"/>
            </a:xfrm>
            <a:custGeom>
              <a:avLst/>
              <a:gdLst/>
              <a:ahLst/>
              <a:cxnLst/>
              <a:rect l="l" t="t" r="r" b="b"/>
              <a:pathLst>
                <a:path w="3259667" h="3810000">
                  <a:moveTo>
                    <a:pt x="0" y="3810000"/>
                  </a:moveTo>
                  <a:lnTo>
                    <a:pt x="3251200" y="0"/>
                  </a:lnTo>
                  <a:cubicBezTo>
                    <a:pt x="3254022" y="1270000"/>
                    <a:pt x="3256845" y="2540000"/>
                    <a:pt x="3259667" y="3810000"/>
                  </a:cubicBezTo>
                  <a:lnTo>
                    <a:pt x="0" y="3810000"/>
                  </a:lnTo>
                  <a:close/>
                </a:path>
              </a:pathLst>
            </a:cu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33" name="Freeform 32"/>
            <p:cNvSpPr/>
            <p:nvPr/>
          </p:nvSpPr>
          <p:spPr>
            <a:xfrm>
              <a:off x="7010429" y="-8467"/>
              <a:ext cx="2142876" cy="6866467"/>
            </a:xfrm>
            <a:custGeom>
              <a:avLst/>
              <a:gdLst/>
              <a:ahLst/>
              <a:cxnLst/>
              <a:rect l="l" t="t" r="r" b="b"/>
              <a:pathLst>
                <a:path w="2853267" h="6866467">
                  <a:moveTo>
                    <a:pt x="0" y="0"/>
                  </a:moveTo>
                  <a:lnTo>
                    <a:pt x="2472267" y="6866467"/>
                  </a:lnTo>
                  <a:lnTo>
                    <a:pt x="2853267" y="6858000"/>
                  </a:lnTo>
                  <a:lnTo>
                    <a:pt x="2853267" y="0"/>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4" name="Freeform 33"/>
            <p:cNvSpPr/>
            <p:nvPr/>
          </p:nvSpPr>
          <p:spPr>
            <a:xfrm>
              <a:off x="8295776" y="-8467"/>
              <a:ext cx="857530" cy="6866467"/>
            </a:xfrm>
            <a:custGeom>
              <a:avLst/>
              <a:gdLst/>
              <a:ahLst/>
              <a:cxnLst/>
              <a:rect l="l" t="t" r="r" b="b"/>
              <a:pathLst>
                <a:path w="1286933" h="6866467">
                  <a:moveTo>
                    <a:pt x="1016000" y="0"/>
                  </a:moveTo>
                  <a:lnTo>
                    <a:pt x="0" y="6866467"/>
                  </a:lnTo>
                  <a:lnTo>
                    <a:pt x="1286933" y="6866467"/>
                  </a:lnTo>
                  <a:cubicBezTo>
                    <a:pt x="1284111" y="4577645"/>
                    <a:pt x="1281288" y="2288822"/>
                    <a:pt x="1278466" y="0"/>
                  </a:cubicBezTo>
                  <a:lnTo>
                    <a:pt x="1016000"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5" name="Freeform 34"/>
            <p:cNvSpPr/>
            <p:nvPr/>
          </p:nvSpPr>
          <p:spPr>
            <a:xfrm>
              <a:off x="8094165" y="-8468"/>
              <a:ext cx="1066770" cy="6866467"/>
            </a:xfrm>
            <a:custGeom>
              <a:avLst/>
              <a:gdLst/>
              <a:ahLst/>
              <a:cxnLst/>
              <a:rect l="l" t="t" r="r" b="b"/>
              <a:pathLst>
                <a:path w="1270244" h="6866467">
                  <a:moveTo>
                    <a:pt x="0" y="0"/>
                  </a:moveTo>
                  <a:lnTo>
                    <a:pt x="1117600" y="6866467"/>
                  </a:lnTo>
                  <a:lnTo>
                    <a:pt x="1270000" y="6866467"/>
                  </a:lnTo>
                  <a:cubicBezTo>
                    <a:pt x="1272822" y="4574822"/>
                    <a:pt x="1250245" y="2291645"/>
                    <a:pt x="1253067" y="0"/>
                  </a:cubicBezTo>
                  <a:lnTo>
                    <a:pt x="0" y="0"/>
                  </a:lnTo>
                  <a:close/>
                </a:path>
              </a:pathLst>
            </a:custGeom>
            <a:solidFill>
              <a:schemeClr val="accent2">
                <a:lumMod val="75000"/>
                <a:alpha val="82000"/>
              </a:schemeClr>
            </a:solidFill>
            <a:ln>
              <a:noFill/>
            </a:ln>
            <a:effectLst/>
          </p:spPr>
          <p:style>
            <a:lnRef idx="1">
              <a:schemeClr val="accent1"/>
            </a:lnRef>
            <a:fillRef idx="3">
              <a:schemeClr val="accent1"/>
            </a:fillRef>
            <a:effectRef idx="2">
              <a:schemeClr val="accent1"/>
            </a:effectRef>
            <a:fontRef idx="minor">
              <a:schemeClr val="lt1"/>
            </a:fontRef>
          </p:style>
        </p:sp>
        <p:sp>
          <p:nvSpPr>
            <p:cNvPr id="36" name="Freeform 35"/>
            <p:cNvSpPr/>
            <p:nvPr/>
          </p:nvSpPr>
          <p:spPr>
            <a:xfrm>
              <a:off x="8068764" y="4893733"/>
              <a:ext cx="1094086" cy="1964267"/>
            </a:xfrm>
            <a:custGeom>
              <a:avLst/>
              <a:gdLst/>
              <a:ahLst/>
              <a:cxnLst/>
              <a:rect l="l" t="t" r="r" b="b"/>
              <a:pathLst>
                <a:path w="1820333" h="3268133">
                  <a:moveTo>
                    <a:pt x="0" y="3268133"/>
                  </a:moveTo>
                  <a:lnTo>
                    <a:pt x="1811866" y="0"/>
                  </a:lnTo>
                  <a:cubicBezTo>
                    <a:pt x="1814688" y="1086555"/>
                    <a:pt x="1817511" y="2173111"/>
                    <a:pt x="1820333" y="3259666"/>
                  </a:cubicBezTo>
                  <a:lnTo>
                    <a:pt x="0" y="3268133"/>
                  </a:lnTo>
                  <a:close/>
                </a:path>
              </a:pathLst>
            </a:cu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18" name="Freeform 17"/>
            <p:cNvSpPr/>
            <p:nvPr/>
          </p:nvSpPr>
          <p:spPr>
            <a:xfrm>
              <a:off x="-8466" y="-8468"/>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130595" y="2404534"/>
            <a:ext cx="5826719" cy="1646302"/>
          </a:xfrm>
        </p:spPr>
        <p:txBody>
          <a:bodyPr anchor="b">
            <a:noAutofit/>
          </a:bodyPr>
          <a:lstStyle>
            <a:lvl1pPr algn="r">
              <a:defRPr sz="5400">
                <a:solidFill>
                  <a:schemeClr val="accent1"/>
                </a:solidFill>
              </a:defRPr>
            </a:lvl1pPr>
          </a:lstStyle>
          <a:p>
            <a:r>
              <a:rPr lang="fr-FR" smtClean="0"/>
              <a:t>Modifiez le style du titre</a:t>
            </a:r>
            <a:endParaRPr lang="en-US" dirty="0"/>
          </a:p>
        </p:txBody>
      </p:sp>
      <p:sp>
        <p:nvSpPr>
          <p:cNvPr id="3" name="Subtitle 2"/>
          <p:cNvSpPr>
            <a:spLocks noGrp="1"/>
          </p:cNvSpPr>
          <p:nvPr>
            <p:ph type="subTitle" idx="1"/>
          </p:nvPr>
        </p:nvSpPr>
        <p:spPr>
          <a:xfrm>
            <a:off x="1130595" y="4050834"/>
            <a:ext cx="5826719"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en-US" dirty="0"/>
          </a:p>
        </p:txBody>
      </p:sp>
      <p:sp>
        <p:nvSpPr>
          <p:cNvPr id="4" name="Date Placeholder 3"/>
          <p:cNvSpPr>
            <a:spLocks noGrp="1"/>
          </p:cNvSpPr>
          <p:nvPr>
            <p:ph type="dt" sz="half" idx="10"/>
          </p:nvPr>
        </p:nvSpPr>
        <p:spPr/>
        <p:txBody>
          <a:bodyPr/>
          <a:lstStyle/>
          <a:p>
            <a:pPr>
              <a:defRPr/>
            </a:pPr>
            <a:fld id="{10943C16-4DBB-439C-9092-47D2FF72E4C6}" type="datetimeFigureOut">
              <a:rPr lang="fr-FR" smtClean="0"/>
              <a:pPr>
                <a:defRPr/>
              </a:pPr>
              <a:t>13/06/2019</a:t>
            </a:fld>
            <a:endParaRPr lang="fr-FR"/>
          </a:p>
        </p:txBody>
      </p:sp>
      <p:sp>
        <p:nvSpPr>
          <p:cNvPr id="5" name="Footer Placeholder 4"/>
          <p:cNvSpPr>
            <a:spLocks noGrp="1"/>
          </p:cNvSpPr>
          <p:nvPr>
            <p:ph type="ftr" sz="quarter" idx="11"/>
          </p:nvPr>
        </p:nvSpPr>
        <p:spPr/>
        <p:txBody>
          <a:bodyPr/>
          <a:lstStyle/>
          <a:p>
            <a:pPr>
              <a:defRPr/>
            </a:pPr>
            <a:endParaRPr lang="fr-FR"/>
          </a:p>
        </p:txBody>
      </p:sp>
      <p:sp>
        <p:nvSpPr>
          <p:cNvPr id="6" name="Slide Number Placeholder 5"/>
          <p:cNvSpPr>
            <a:spLocks noGrp="1"/>
          </p:cNvSpPr>
          <p:nvPr>
            <p:ph type="sldNum" sz="quarter" idx="12"/>
          </p:nvPr>
        </p:nvSpPr>
        <p:spPr/>
        <p:txBody>
          <a:bodyPr/>
          <a:lstStyle/>
          <a:p>
            <a:fld id="{2E9CCDAC-AB8C-490A-ADA6-D3DB3297EA3B}" type="slidenum">
              <a:rPr lang="fr-FR" altLang="en-US" smtClean="0"/>
              <a:pPr/>
              <a:t>‹N°›</a:t>
            </a:fld>
            <a:endParaRPr lang="fr-FR" altLang="en-US"/>
          </a:p>
        </p:txBody>
      </p:sp>
    </p:spTree>
    <p:extLst>
      <p:ext uri="{BB962C8B-B14F-4D97-AF65-F5344CB8AC3E}">
        <p14:creationId xmlns:p14="http://schemas.microsoft.com/office/powerpoint/2010/main" val="26098076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et légende">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6347714" cy="3403600"/>
          </a:xfrm>
        </p:spPr>
        <p:txBody>
          <a:bodyPr anchor="ctr">
            <a:normAutofit/>
          </a:bodyPr>
          <a:lstStyle>
            <a:lvl1pPr algn="l">
              <a:defRPr sz="4400" b="0" cap="none"/>
            </a:lvl1pPr>
          </a:lstStyle>
          <a:p>
            <a:r>
              <a:rPr lang="fr-FR" smtClean="0"/>
              <a:t>Modifiez le style du titre</a:t>
            </a:r>
            <a:endParaRPr lang="en-US" dirty="0"/>
          </a:p>
        </p:txBody>
      </p:sp>
      <p:sp>
        <p:nvSpPr>
          <p:cNvPr id="3" name="Text Placeholder 2"/>
          <p:cNvSpPr>
            <a:spLocks noGrp="1"/>
          </p:cNvSpPr>
          <p:nvPr>
            <p:ph type="body" idx="1"/>
          </p:nvPr>
        </p:nvSpPr>
        <p:spPr>
          <a:xfrm>
            <a:off x="609600" y="4470400"/>
            <a:ext cx="6347714"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Date Placeholder 3"/>
          <p:cNvSpPr>
            <a:spLocks noGrp="1"/>
          </p:cNvSpPr>
          <p:nvPr>
            <p:ph type="dt" sz="half" idx="10"/>
          </p:nvPr>
        </p:nvSpPr>
        <p:spPr/>
        <p:txBody>
          <a:bodyPr/>
          <a:lstStyle/>
          <a:p>
            <a:pPr>
              <a:defRPr/>
            </a:pPr>
            <a:fld id="{8BE11E01-BBEA-4187-B39E-F161E05CF05C}" type="datetimeFigureOut">
              <a:rPr lang="fr-FR" smtClean="0"/>
              <a:pPr>
                <a:defRPr/>
              </a:pPr>
              <a:t>13/06/2019</a:t>
            </a:fld>
            <a:endParaRPr lang="fr-FR"/>
          </a:p>
        </p:txBody>
      </p:sp>
      <p:sp>
        <p:nvSpPr>
          <p:cNvPr id="5" name="Footer Placeholder 4"/>
          <p:cNvSpPr>
            <a:spLocks noGrp="1"/>
          </p:cNvSpPr>
          <p:nvPr>
            <p:ph type="ftr" sz="quarter" idx="11"/>
          </p:nvPr>
        </p:nvSpPr>
        <p:spPr/>
        <p:txBody>
          <a:bodyPr/>
          <a:lstStyle/>
          <a:p>
            <a:pPr>
              <a:defRPr/>
            </a:pPr>
            <a:endParaRPr lang="fr-FR"/>
          </a:p>
        </p:txBody>
      </p:sp>
      <p:sp>
        <p:nvSpPr>
          <p:cNvPr id="6" name="Slide Number Placeholder 5"/>
          <p:cNvSpPr>
            <a:spLocks noGrp="1"/>
          </p:cNvSpPr>
          <p:nvPr>
            <p:ph type="sldNum" sz="quarter" idx="12"/>
          </p:nvPr>
        </p:nvSpPr>
        <p:spPr/>
        <p:txBody>
          <a:bodyPr/>
          <a:lstStyle/>
          <a:p>
            <a:fld id="{1074661F-C4F5-40D6-B872-19A193798A57}" type="slidenum">
              <a:rPr lang="fr-FR" altLang="en-US" smtClean="0"/>
              <a:pPr/>
              <a:t>‹N°›</a:t>
            </a:fld>
            <a:endParaRPr lang="fr-FR" altLang="en-US"/>
          </a:p>
        </p:txBody>
      </p:sp>
    </p:spTree>
    <p:extLst>
      <p:ext uri="{BB962C8B-B14F-4D97-AF65-F5344CB8AC3E}">
        <p14:creationId xmlns:p14="http://schemas.microsoft.com/office/powerpoint/2010/main" val="16689651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itation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774885" y="609600"/>
            <a:ext cx="6072182" cy="3022600"/>
          </a:xfrm>
        </p:spPr>
        <p:txBody>
          <a:bodyPr anchor="ctr">
            <a:normAutofit/>
          </a:bodyPr>
          <a:lstStyle>
            <a:lvl1pPr algn="l">
              <a:defRPr sz="4400" b="0" cap="none"/>
            </a:lvl1pPr>
          </a:lstStyle>
          <a:p>
            <a:r>
              <a:rPr lang="fr-FR" smtClean="0"/>
              <a:t>Modifiez le style du titre</a:t>
            </a:r>
            <a:endParaRPr lang="en-US" dirty="0"/>
          </a:p>
        </p:txBody>
      </p:sp>
      <p:sp>
        <p:nvSpPr>
          <p:cNvPr id="23" name="Text Placeholder 9"/>
          <p:cNvSpPr>
            <a:spLocks noGrp="1"/>
          </p:cNvSpPr>
          <p:nvPr>
            <p:ph type="body" sz="quarter" idx="13"/>
          </p:nvPr>
        </p:nvSpPr>
        <p:spPr>
          <a:xfrm>
            <a:off x="1101074" y="3632200"/>
            <a:ext cx="541980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smtClean="0"/>
              <a:t>Modifiez les styles du texte du masque</a:t>
            </a:r>
          </a:p>
        </p:txBody>
      </p:sp>
      <p:sp>
        <p:nvSpPr>
          <p:cNvPr id="3" name="Text Placeholder 2"/>
          <p:cNvSpPr>
            <a:spLocks noGrp="1"/>
          </p:cNvSpPr>
          <p:nvPr>
            <p:ph type="body" idx="1"/>
          </p:nvPr>
        </p:nvSpPr>
        <p:spPr>
          <a:xfrm>
            <a:off x="609598" y="4470400"/>
            <a:ext cx="6347715"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Date Placeholder 3"/>
          <p:cNvSpPr>
            <a:spLocks noGrp="1"/>
          </p:cNvSpPr>
          <p:nvPr>
            <p:ph type="dt" sz="half" idx="10"/>
          </p:nvPr>
        </p:nvSpPr>
        <p:spPr/>
        <p:txBody>
          <a:bodyPr/>
          <a:lstStyle/>
          <a:p>
            <a:pPr>
              <a:defRPr/>
            </a:pPr>
            <a:fld id="{8BE11E01-BBEA-4187-B39E-F161E05CF05C}" type="datetimeFigureOut">
              <a:rPr lang="fr-FR" smtClean="0"/>
              <a:pPr>
                <a:defRPr/>
              </a:pPr>
              <a:t>13/06/2019</a:t>
            </a:fld>
            <a:endParaRPr lang="fr-FR"/>
          </a:p>
        </p:txBody>
      </p:sp>
      <p:sp>
        <p:nvSpPr>
          <p:cNvPr id="5" name="Footer Placeholder 4"/>
          <p:cNvSpPr>
            <a:spLocks noGrp="1"/>
          </p:cNvSpPr>
          <p:nvPr>
            <p:ph type="ftr" sz="quarter" idx="11"/>
          </p:nvPr>
        </p:nvSpPr>
        <p:spPr/>
        <p:txBody>
          <a:bodyPr/>
          <a:lstStyle/>
          <a:p>
            <a:pPr>
              <a:defRPr/>
            </a:pPr>
            <a:endParaRPr lang="fr-FR"/>
          </a:p>
        </p:txBody>
      </p:sp>
      <p:sp>
        <p:nvSpPr>
          <p:cNvPr id="6" name="Slide Number Placeholder 5"/>
          <p:cNvSpPr>
            <a:spLocks noGrp="1"/>
          </p:cNvSpPr>
          <p:nvPr>
            <p:ph type="sldNum" sz="quarter" idx="12"/>
          </p:nvPr>
        </p:nvSpPr>
        <p:spPr/>
        <p:txBody>
          <a:bodyPr/>
          <a:lstStyle/>
          <a:p>
            <a:fld id="{1074661F-C4F5-40D6-B872-19A193798A57}" type="slidenum">
              <a:rPr lang="fr-FR" altLang="en-US" smtClean="0"/>
              <a:pPr/>
              <a:t>‹N°›</a:t>
            </a:fld>
            <a:endParaRPr lang="fr-FR" altLang="en-US"/>
          </a:p>
        </p:txBody>
      </p:sp>
      <p:sp>
        <p:nvSpPr>
          <p:cNvPr id="24" name="TextBox 23"/>
          <p:cNvSpPr txBox="1"/>
          <p:nvPr/>
        </p:nvSpPr>
        <p:spPr>
          <a:xfrm>
            <a:off x="482711" y="790378"/>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6747699" y="288655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0255023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arte nom">
    <p:spTree>
      <p:nvGrpSpPr>
        <p:cNvPr id="1" name=""/>
        <p:cNvGrpSpPr/>
        <p:nvPr/>
      </p:nvGrpSpPr>
      <p:grpSpPr>
        <a:xfrm>
          <a:off x="0" y="0"/>
          <a:ext cx="0" cy="0"/>
          <a:chOff x="0" y="0"/>
          <a:chExt cx="0" cy="0"/>
        </a:xfrm>
      </p:grpSpPr>
      <p:sp>
        <p:nvSpPr>
          <p:cNvPr id="2" name="Title 1"/>
          <p:cNvSpPr>
            <a:spLocks noGrp="1"/>
          </p:cNvSpPr>
          <p:nvPr>
            <p:ph type="title"/>
          </p:nvPr>
        </p:nvSpPr>
        <p:spPr>
          <a:xfrm>
            <a:off x="609598" y="1931988"/>
            <a:ext cx="6347715" cy="2595460"/>
          </a:xfrm>
        </p:spPr>
        <p:txBody>
          <a:bodyPr anchor="b">
            <a:normAutofit/>
          </a:bodyPr>
          <a:lstStyle>
            <a:lvl1pPr algn="l">
              <a:defRPr sz="4400" b="0" cap="none"/>
            </a:lvl1pPr>
          </a:lstStyle>
          <a:p>
            <a:r>
              <a:rPr lang="fr-FR" smtClean="0"/>
              <a:t>Modifiez le style du titre</a:t>
            </a:r>
            <a:endParaRPr lang="en-US" dirty="0"/>
          </a:p>
        </p:txBody>
      </p:sp>
      <p:sp>
        <p:nvSpPr>
          <p:cNvPr id="3" name="Text Placeholder 2"/>
          <p:cNvSpPr>
            <a:spLocks noGrp="1"/>
          </p:cNvSpPr>
          <p:nvPr>
            <p:ph type="body" idx="1"/>
          </p:nvPr>
        </p:nvSpPr>
        <p:spPr>
          <a:xfrm>
            <a:off x="609598" y="4527448"/>
            <a:ext cx="6347715"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Date Placeholder 3"/>
          <p:cNvSpPr>
            <a:spLocks noGrp="1"/>
          </p:cNvSpPr>
          <p:nvPr>
            <p:ph type="dt" sz="half" idx="10"/>
          </p:nvPr>
        </p:nvSpPr>
        <p:spPr/>
        <p:txBody>
          <a:bodyPr/>
          <a:lstStyle/>
          <a:p>
            <a:pPr>
              <a:defRPr/>
            </a:pPr>
            <a:fld id="{8BE11E01-BBEA-4187-B39E-F161E05CF05C}" type="datetimeFigureOut">
              <a:rPr lang="fr-FR" smtClean="0"/>
              <a:pPr>
                <a:defRPr/>
              </a:pPr>
              <a:t>13/06/2019</a:t>
            </a:fld>
            <a:endParaRPr lang="fr-FR"/>
          </a:p>
        </p:txBody>
      </p:sp>
      <p:sp>
        <p:nvSpPr>
          <p:cNvPr id="5" name="Footer Placeholder 4"/>
          <p:cNvSpPr>
            <a:spLocks noGrp="1"/>
          </p:cNvSpPr>
          <p:nvPr>
            <p:ph type="ftr" sz="quarter" idx="11"/>
          </p:nvPr>
        </p:nvSpPr>
        <p:spPr/>
        <p:txBody>
          <a:bodyPr/>
          <a:lstStyle/>
          <a:p>
            <a:pPr>
              <a:defRPr/>
            </a:pPr>
            <a:endParaRPr lang="fr-FR"/>
          </a:p>
        </p:txBody>
      </p:sp>
      <p:sp>
        <p:nvSpPr>
          <p:cNvPr id="6" name="Slide Number Placeholder 5"/>
          <p:cNvSpPr>
            <a:spLocks noGrp="1"/>
          </p:cNvSpPr>
          <p:nvPr>
            <p:ph type="sldNum" sz="quarter" idx="12"/>
          </p:nvPr>
        </p:nvSpPr>
        <p:spPr/>
        <p:txBody>
          <a:bodyPr/>
          <a:lstStyle/>
          <a:p>
            <a:fld id="{1074661F-C4F5-40D6-B872-19A193798A57}" type="slidenum">
              <a:rPr lang="fr-FR" altLang="en-US" smtClean="0"/>
              <a:pPr/>
              <a:t>‹N°›</a:t>
            </a:fld>
            <a:endParaRPr lang="fr-FR" altLang="en-US"/>
          </a:p>
        </p:txBody>
      </p:sp>
    </p:spTree>
    <p:extLst>
      <p:ext uri="{BB962C8B-B14F-4D97-AF65-F5344CB8AC3E}">
        <p14:creationId xmlns:p14="http://schemas.microsoft.com/office/powerpoint/2010/main" val="38373114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arte nom citation">
    <p:spTree>
      <p:nvGrpSpPr>
        <p:cNvPr id="1" name=""/>
        <p:cNvGrpSpPr/>
        <p:nvPr/>
      </p:nvGrpSpPr>
      <p:grpSpPr>
        <a:xfrm>
          <a:off x="0" y="0"/>
          <a:ext cx="0" cy="0"/>
          <a:chOff x="0" y="0"/>
          <a:chExt cx="0" cy="0"/>
        </a:xfrm>
      </p:grpSpPr>
      <p:sp>
        <p:nvSpPr>
          <p:cNvPr id="2" name="Title 1"/>
          <p:cNvSpPr>
            <a:spLocks noGrp="1"/>
          </p:cNvSpPr>
          <p:nvPr>
            <p:ph type="title"/>
          </p:nvPr>
        </p:nvSpPr>
        <p:spPr>
          <a:xfrm>
            <a:off x="774885" y="609600"/>
            <a:ext cx="6072182" cy="3022600"/>
          </a:xfrm>
        </p:spPr>
        <p:txBody>
          <a:bodyPr anchor="ctr">
            <a:normAutofit/>
          </a:bodyPr>
          <a:lstStyle>
            <a:lvl1pPr algn="l">
              <a:defRPr sz="4400" b="0" cap="none"/>
            </a:lvl1pPr>
          </a:lstStyle>
          <a:p>
            <a:r>
              <a:rPr lang="fr-FR" smtClean="0"/>
              <a:t>Modifiez le style du titre</a:t>
            </a:r>
            <a:endParaRPr lang="en-US" dirty="0"/>
          </a:p>
        </p:txBody>
      </p:sp>
      <p:sp>
        <p:nvSpPr>
          <p:cNvPr id="23" name="Text Placeholder 9"/>
          <p:cNvSpPr>
            <a:spLocks noGrp="1"/>
          </p:cNvSpPr>
          <p:nvPr>
            <p:ph type="body" sz="quarter" idx="13"/>
          </p:nvPr>
        </p:nvSpPr>
        <p:spPr>
          <a:xfrm>
            <a:off x="609597" y="4013200"/>
            <a:ext cx="6347716"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smtClean="0"/>
              <a:t>Modifiez les styles du texte du masque</a:t>
            </a:r>
          </a:p>
        </p:txBody>
      </p:sp>
      <p:sp>
        <p:nvSpPr>
          <p:cNvPr id="3" name="Text Placeholder 2"/>
          <p:cNvSpPr>
            <a:spLocks noGrp="1"/>
          </p:cNvSpPr>
          <p:nvPr>
            <p:ph type="body" idx="1"/>
          </p:nvPr>
        </p:nvSpPr>
        <p:spPr>
          <a:xfrm>
            <a:off x="609598" y="4527448"/>
            <a:ext cx="6347715"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Date Placeholder 3"/>
          <p:cNvSpPr>
            <a:spLocks noGrp="1"/>
          </p:cNvSpPr>
          <p:nvPr>
            <p:ph type="dt" sz="half" idx="10"/>
          </p:nvPr>
        </p:nvSpPr>
        <p:spPr/>
        <p:txBody>
          <a:bodyPr/>
          <a:lstStyle/>
          <a:p>
            <a:pPr>
              <a:defRPr/>
            </a:pPr>
            <a:fld id="{8BE11E01-BBEA-4187-B39E-F161E05CF05C}" type="datetimeFigureOut">
              <a:rPr lang="fr-FR" smtClean="0"/>
              <a:pPr>
                <a:defRPr/>
              </a:pPr>
              <a:t>13/06/2019</a:t>
            </a:fld>
            <a:endParaRPr lang="fr-FR"/>
          </a:p>
        </p:txBody>
      </p:sp>
      <p:sp>
        <p:nvSpPr>
          <p:cNvPr id="5" name="Footer Placeholder 4"/>
          <p:cNvSpPr>
            <a:spLocks noGrp="1"/>
          </p:cNvSpPr>
          <p:nvPr>
            <p:ph type="ftr" sz="quarter" idx="11"/>
          </p:nvPr>
        </p:nvSpPr>
        <p:spPr/>
        <p:txBody>
          <a:bodyPr/>
          <a:lstStyle/>
          <a:p>
            <a:pPr>
              <a:defRPr/>
            </a:pPr>
            <a:endParaRPr lang="fr-FR"/>
          </a:p>
        </p:txBody>
      </p:sp>
      <p:sp>
        <p:nvSpPr>
          <p:cNvPr id="6" name="Slide Number Placeholder 5"/>
          <p:cNvSpPr>
            <a:spLocks noGrp="1"/>
          </p:cNvSpPr>
          <p:nvPr>
            <p:ph type="sldNum" sz="quarter" idx="12"/>
          </p:nvPr>
        </p:nvSpPr>
        <p:spPr/>
        <p:txBody>
          <a:bodyPr/>
          <a:lstStyle/>
          <a:p>
            <a:fld id="{1074661F-C4F5-40D6-B872-19A193798A57}" type="slidenum">
              <a:rPr lang="fr-FR" altLang="en-US" smtClean="0"/>
              <a:pPr/>
              <a:t>‹N°›</a:t>
            </a:fld>
            <a:endParaRPr lang="fr-FR" altLang="en-US"/>
          </a:p>
        </p:txBody>
      </p:sp>
      <p:sp>
        <p:nvSpPr>
          <p:cNvPr id="24" name="TextBox 23"/>
          <p:cNvSpPr txBox="1"/>
          <p:nvPr/>
        </p:nvSpPr>
        <p:spPr>
          <a:xfrm>
            <a:off x="482711" y="790378"/>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6747699" y="288655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6861700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rai ou faux">
    <p:spTree>
      <p:nvGrpSpPr>
        <p:cNvPr id="1" name=""/>
        <p:cNvGrpSpPr/>
        <p:nvPr/>
      </p:nvGrpSpPr>
      <p:grpSpPr>
        <a:xfrm>
          <a:off x="0" y="0"/>
          <a:ext cx="0" cy="0"/>
          <a:chOff x="0" y="0"/>
          <a:chExt cx="0" cy="0"/>
        </a:xfrm>
      </p:grpSpPr>
      <p:sp>
        <p:nvSpPr>
          <p:cNvPr id="2" name="Title 1"/>
          <p:cNvSpPr>
            <a:spLocks noGrp="1"/>
          </p:cNvSpPr>
          <p:nvPr>
            <p:ph type="title"/>
          </p:nvPr>
        </p:nvSpPr>
        <p:spPr>
          <a:xfrm>
            <a:off x="615848" y="609600"/>
            <a:ext cx="6341465" cy="3022600"/>
          </a:xfrm>
        </p:spPr>
        <p:txBody>
          <a:bodyPr anchor="ctr">
            <a:normAutofit/>
          </a:bodyPr>
          <a:lstStyle>
            <a:lvl1pPr algn="l">
              <a:defRPr sz="4400" b="0" cap="none"/>
            </a:lvl1pPr>
          </a:lstStyle>
          <a:p>
            <a:r>
              <a:rPr lang="fr-FR" smtClean="0"/>
              <a:t>Modifiez le style du titre</a:t>
            </a:r>
            <a:endParaRPr lang="en-US" dirty="0"/>
          </a:p>
        </p:txBody>
      </p:sp>
      <p:sp>
        <p:nvSpPr>
          <p:cNvPr id="23" name="Text Placeholder 9"/>
          <p:cNvSpPr>
            <a:spLocks noGrp="1"/>
          </p:cNvSpPr>
          <p:nvPr>
            <p:ph type="body" sz="quarter" idx="13"/>
          </p:nvPr>
        </p:nvSpPr>
        <p:spPr>
          <a:xfrm>
            <a:off x="609597" y="4013200"/>
            <a:ext cx="6347716"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smtClean="0"/>
              <a:t>Modifiez les styles du texte du masque</a:t>
            </a:r>
          </a:p>
        </p:txBody>
      </p:sp>
      <p:sp>
        <p:nvSpPr>
          <p:cNvPr id="3" name="Text Placeholder 2"/>
          <p:cNvSpPr>
            <a:spLocks noGrp="1"/>
          </p:cNvSpPr>
          <p:nvPr>
            <p:ph type="body" idx="1"/>
          </p:nvPr>
        </p:nvSpPr>
        <p:spPr>
          <a:xfrm>
            <a:off x="609598" y="4527448"/>
            <a:ext cx="6347715"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Date Placeholder 3"/>
          <p:cNvSpPr>
            <a:spLocks noGrp="1"/>
          </p:cNvSpPr>
          <p:nvPr>
            <p:ph type="dt" sz="half" idx="10"/>
          </p:nvPr>
        </p:nvSpPr>
        <p:spPr/>
        <p:txBody>
          <a:bodyPr/>
          <a:lstStyle/>
          <a:p>
            <a:pPr>
              <a:defRPr/>
            </a:pPr>
            <a:fld id="{8BE11E01-BBEA-4187-B39E-F161E05CF05C}" type="datetimeFigureOut">
              <a:rPr lang="fr-FR" smtClean="0"/>
              <a:pPr>
                <a:defRPr/>
              </a:pPr>
              <a:t>13/06/2019</a:t>
            </a:fld>
            <a:endParaRPr lang="fr-FR"/>
          </a:p>
        </p:txBody>
      </p:sp>
      <p:sp>
        <p:nvSpPr>
          <p:cNvPr id="5" name="Footer Placeholder 4"/>
          <p:cNvSpPr>
            <a:spLocks noGrp="1"/>
          </p:cNvSpPr>
          <p:nvPr>
            <p:ph type="ftr" sz="quarter" idx="11"/>
          </p:nvPr>
        </p:nvSpPr>
        <p:spPr/>
        <p:txBody>
          <a:bodyPr/>
          <a:lstStyle/>
          <a:p>
            <a:pPr>
              <a:defRPr/>
            </a:pPr>
            <a:endParaRPr lang="fr-FR"/>
          </a:p>
        </p:txBody>
      </p:sp>
      <p:sp>
        <p:nvSpPr>
          <p:cNvPr id="6" name="Slide Number Placeholder 5"/>
          <p:cNvSpPr>
            <a:spLocks noGrp="1"/>
          </p:cNvSpPr>
          <p:nvPr>
            <p:ph type="sldNum" sz="quarter" idx="12"/>
          </p:nvPr>
        </p:nvSpPr>
        <p:spPr/>
        <p:txBody>
          <a:bodyPr/>
          <a:lstStyle/>
          <a:p>
            <a:fld id="{1074661F-C4F5-40D6-B872-19A193798A57}" type="slidenum">
              <a:rPr lang="fr-FR" altLang="en-US" smtClean="0"/>
              <a:pPr/>
              <a:t>‹N°›</a:t>
            </a:fld>
            <a:endParaRPr lang="fr-FR" altLang="en-US"/>
          </a:p>
        </p:txBody>
      </p:sp>
    </p:spTree>
    <p:extLst>
      <p:ext uri="{BB962C8B-B14F-4D97-AF65-F5344CB8AC3E}">
        <p14:creationId xmlns:p14="http://schemas.microsoft.com/office/powerpoint/2010/main" val="11757857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Vertical Text Placeholder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Date Placeholder 3"/>
          <p:cNvSpPr>
            <a:spLocks noGrp="1"/>
          </p:cNvSpPr>
          <p:nvPr>
            <p:ph type="dt" sz="half" idx="10"/>
          </p:nvPr>
        </p:nvSpPr>
        <p:spPr/>
        <p:txBody>
          <a:bodyPr/>
          <a:lstStyle/>
          <a:p>
            <a:pPr>
              <a:defRPr/>
            </a:pPr>
            <a:fld id="{5DBA71A7-E602-481C-8308-F9EE8CD2EBDD}" type="datetimeFigureOut">
              <a:rPr lang="fr-FR" smtClean="0"/>
              <a:pPr>
                <a:defRPr/>
              </a:pPr>
              <a:t>13/06/2019</a:t>
            </a:fld>
            <a:endParaRPr lang="fr-FR"/>
          </a:p>
        </p:txBody>
      </p:sp>
      <p:sp>
        <p:nvSpPr>
          <p:cNvPr id="5" name="Footer Placeholder 4"/>
          <p:cNvSpPr>
            <a:spLocks noGrp="1"/>
          </p:cNvSpPr>
          <p:nvPr>
            <p:ph type="ftr" sz="quarter" idx="11"/>
          </p:nvPr>
        </p:nvSpPr>
        <p:spPr/>
        <p:txBody>
          <a:bodyPr/>
          <a:lstStyle/>
          <a:p>
            <a:pPr>
              <a:defRPr/>
            </a:pPr>
            <a:endParaRPr lang="fr-FR"/>
          </a:p>
        </p:txBody>
      </p:sp>
      <p:sp>
        <p:nvSpPr>
          <p:cNvPr id="6" name="Slide Number Placeholder 5"/>
          <p:cNvSpPr>
            <a:spLocks noGrp="1"/>
          </p:cNvSpPr>
          <p:nvPr>
            <p:ph type="sldNum" sz="quarter" idx="12"/>
          </p:nvPr>
        </p:nvSpPr>
        <p:spPr/>
        <p:txBody>
          <a:bodyPr/>
          <a:lstStyle/>
          <a:p>
            <a:fld id="{819CEDCA-0238-4B8C-9C44-3DA20F5F5C56}" type="slidenum">
              <a:rPr lang="fr-FR" altLang="en-US" smtClean="0"/>
              <a:pPr/>
              <a:t>‹N°›</a:t>
            </a:fld>
            <a:endParaRPr lang="fr-FR" altLang="en-US"/>
          </a:p>
        </p:txBody>
      </p:sp>
    </p:spTree>
    <p:extLst>
      <p:ext uri="{BB962C8B-B14F-4D97-AF65-F5344CB8AC3E}">
        <p14:creationId xmlns:p14="http://schemas.microsoft.com/office/powerpoint/2010/main" val="155654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977312" y="609600"/>
            <a:ext cx="978812" cy="5251451"/>
          </a:xfrm>
        </p:spPr>
        <p:txBody>
          <a:bodyPr vert="eaVert" anchor="ctr"/>
          <a:lstStyle/>
          <a:p>
            <a:r>
              <a:rPr lang="fr-FR" smtClean="0"/>
              <a:t>Modifiez le style du titre</a:t>
            </a:r>
            <a:endParaRPr lang="en-US" dirty="0"/>
          </a:p>
        </p:txBody>
      </p:sp>
      <p:sp>
        <p:nvSpPr>
          <p:cNvPr id="3" name="Vertical Text Placeholder 2"/>
          <p:cNvSpPr>
            <a:spLocks noGrp="1"/>
          </p:cNvSpPr>
          <p:nvPr>
            <p:ph type="body" orient="vert" idx="1"/>
          </p:nvPr>
        </p:nvSpPr>
        <p:spPr>
          <a:xfrm>
            <a:off x="609599" y="609600"/>
            <a:ext cx="5195026" cy="5251451"/>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Date Placeholder 3"/>
          <p:cNvSpPr>
            <a:spLocks noGrp="1"/>
          </p:cNvSpPr>
          <p:nvPr>
            <p:ph type="dt" sz="half" idx="10"/>
          </p:nvPr>
        </p:nvSpPr>
        <p:spPr/>
        <p:txBody>
          <a:bodyPr/>
          <a:lstStyle/>
          <a:p>
            <a:pPr>
              <a:defRPr/>
            </a:pPr>
            <a:fld id="{1E11CF47-0696-43C9-9EDF-C15D938472DA}" type="datetimeFigureOut">
              <a:rPr lang="fr-FR" smtClean="0"/>
              <a:pPr>
                <a:defRPr/>
              </a:pPr>
              <a:t>13/06/2019</a:t>
            </a:fld>
            <a:endParaRPr lang="fr-FR"/>
          </a:p>
        </p:txBody>
      </p:sp>
      <p:sp>
        <p:nvSpPr>
          <p:cNvPr id="5" name="Footer Placeholder 4"/>
          <p:cNvSpPr>
            <a:spLocks noGrp="1"/>
          </p:cNvSpPr>
          <p:nvPr>
            <p:ph type="ftr" sz="quarter" idx="11"/>
          </p:nvPr>
        </p:nvSpPr>
        <p:spPr/>
        <p:txBody>
          <a:bodyPr/>
          <a:lstStyle/>
          <a:p>
            <a:pPr>
              <a:defRPr/>
            </a:pPr>
            <a:endParaRPr lang="fr-FR"/>
          </a:p>
        </p:txBody>
      </p:sp>
      <p:sp>
        <p:nvSpPr>
          <p:cNvPr id="6" name="Slide Number Placeholder 5"/>
          <p:cNvSpPr>
            <a:spLocks noGrp="1"/>
          </p:cNvSpPr>
          <p:nvPr>
            <p:ph type="sldNum" sz="quarter" idx="12"/>
          </p:nvPr>
        </p:nvSpPr>
        <p:spPr/>
        <p:txBody>
          <a:bodyPr/>
          <a:lstStyle/>
          <a:p>
            <a:fld id="{3B550580-5A36-417A-B683-1784D5F8CE46}" type="slidenum">
              <a:rPr lang="fr-FR" altLang="en-US" smtClean="0"/>
              <a:pPr/>
              <a:t>‹N°›</a:t>
            </a:fld>
            <a:endParaRPr lang="fr-FR" altLang="en-US"/>
          </a:p>
        </p:txBody>
      </p:sp>
    </p:spTree>
    <p:extLst>
      <p:ext uri="{BB962C8B-B14F-4D97-AF65-F5344CB8AC3E}">
        <p14:creationId xmlns:p14="http://schemas.microsoft.com/office/powerpoint/2010/main" val="31685603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e 1 colonn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8" name="Espace réservé de la date 7">
            <a:extLst>
              <a:ext uri="{FF2B5EF4-FFF2-40B4-BE49-F238E27FC236}">
                <a16:creationId xmlns="" xmlns:a16="http://schemas.microsoft.com/office/drawing/2014/main" id="{F9738D10-B9B6-4601-87AC-FEEEAB249019}"/>
              </a:ext>
            </a:extLst>
          </p:cNvPr>
          <p:cNvSpPr>
            <a:spLocks noGrp="1"/>
          </p:cNvSpPr>
          <p:nvPr>
            <p:ph type="dt" sz="half" idx="10"/>
          </p:nvPr>
        </p:nvSpPr>
        <p:spPr/>
        <p:txBody>
          <a:bodyPr/>
          <a:lstStyle/>
          <a:p>
            <a:pPr algn="r"/>
            <a:fld id="{55C07E1E-E205-4D25-9276-68CD343711B1}" type="datetime1">
              <a:rPr lang="fr-FR" smtClean="0"/>
              <a:t>13/06/2019</a:t>
            </a:fld>
            <a:endParaRPr lang="fr-FR"/>
          </a:p>
        </p:txBody>
      </p:sp>
      <p:sp>
        <p:nvSpPr>
          <p:cNvPr id="9" name="Espace réservé du pied de page 8">
            <a:extLst>
              <a:ext uri="{FF2B5EF4-FFF2-40B4-BE49-F238E27FC236}">
                <a16:creationId xmlns="" xmlns:a16="http://schemas.microsoft.com/office/drawing/2014/main" id="{E80B15F1-6A00-4A4A-B1F9-1F4CE37C0FE9}"/>
              </a:ext>
            </a:extLst>
          </p:cNvPr>
          <p:cNvSpPr>
            <a:spLocks noGrp="1"/>
          </p:cNvSpPr>
          <p:nvPr>
            <p:ph type="ftr" sz="quarter" idx="11"/>
          </p:nvPr>
        </p:nvSpPr>
        <p:spPr/>
        <p:txBody>
          <a:bodyPr/>
          <a:lstStyle/>
          <a:p>
            <a:endParaRPr lang="fr-FR"/>
          </a:p>
        </p:txBody>
      </p:sp>
      <p:sp>
        <p:nvSpPr>
          <p:cNvPr id="10" name="Espace réservé du numéro de diapositive 9">
            <a:extLst>
              <a:ext uri="{FF2B5EF4-FFF2-40B4-BE49-F238E27FC236}">
                <a16:creationId xmlns="" xmlns:a16="http://schemas.microsoft.com/office/drawing/2014/main" id="{829AB5EF-C61B-4267-8F88-83EE3C9B2F54}"/>
              </a:ext>
            </a:extLst>
          </p:cNvPr>
          <p:cNvSpPr>
            <a:spLocks noGrp="1"/>
          </p:cNvSpPr>
          <p:nvPr>
            <p:ph type="sldNum" sz="quarter" idx="12"/>
          </p:nvPr>
        </p:nvSpPr>
        <p:spPr/>
        <p:txBody>
          <a:bodyPr/>
          <a:lstStyle/>
          <a:p>
            <a:fld id="{7E3B350E-657F-41D5-BCB6-877D8C3AF71C}" type="slidenum">
              <a:rPr lang="fr-FR" smtClean="0"/>
              <a:t>‹N°›</a:t>
            </a:fld>
            <a:endParaRPr lang="fr-FR"/>
          </a:p>
        </p:txBody>
      </p:sp>
      <p:sp>
        <p:nvSpPr>
          <p:cNvPr id="14" name="Espace réservé du texte 13">
            <a:extLst>
              <a:ext uri="{FF2B5EF4-FFF2-40B4-BE49-F238E27FC236}">
                <a16:creationId xmlns="" xmlns:a16="http://schemas.microsoft.com/office/drawing/2014/main" id="{0B9DAF2C-71B6-4682-87A7-8595CAAEC7FB}"/>
              </a:ext>
            </a:extLst>
          </p:cNvPr>
          <p:cNvSpPr>
            <a:spLocks noGrp="1"/>
          </p:cNvSpPr>
          <p:nvPr>
            <p:ph type="body" sz="quarter" idx="13"/>
          </p:nvPr>
        </p:nvSpPr>
        <p:spPr>
          <a:xfrm>
            <a:off x="431801" y="1511300"/>
            <a:ext cx="8280400" cy="4536000"/>
          </a:xfrm>
        </p:spPr>
        <p:txBody>
          <a:bodyPr/>
          <a:lstStyle>
            <a:lvl4pPr>
              <a:buSzPct val="65000"/>
              <a:defRPr/>
            </a:lvl4pPr>
            <a:lvl5pPr marL="404541">
              <a:buSzPct val="65000"/>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Tree>
    <p:extLst>
      <p:ext uri="{BB962C8B-B14F-4D97-AF65-F5344CB8AC3E}">
        <p14:creationId xmlns:p14="http://schemas.microsoft.com/office/powerpoint/2010/main" val="2515518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iapo si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just">
              <a:defRPr sz="1800">
                <a:latin typeface="EYInterstate Light" pitchFamily="2" charset="0"/>
              </a:defRPr>
            </a:lvl1pPr>
          </a:lstStyle>
          <a:p>
            <a:r>
              <a:rPr lang="en-US" dirty="0"/>
              <a:t>Click to edit Master title style</a:t>
            </a:r>
            <a:endParaRPr lang="fr-FR" dirty="0"/>
          </a:p>
        </p:txBody>
      </p:sp>
      <p:sp>
        <p:nvSpPr>
          <p:cNvPr id="3" name="Content Placeholder 2"/>
          <p:cNvSpPr>
            <a:spLocks noGrp="1"/>
          </p:cNvSpPr>
          <p:nvPr>
            <p:ph idx="1"/>
          </p:nvPr>
        </p:nvSpPr>
        <p:spPr/>
        <p:txBody>
          <a:bodyPr/>
          <a:lstStyle>
            <a:lvl1pPr algn="just">
              <a:defRPr sz="1600">
                <a:latin typeface="EYInterstate Light" pitchFamily="2" charset="0"/>
              </a:defRPr>
            </a:lvl1pPr>
            <a:lvl2pPr algn="just">
              <a:defRPr sz="1400">
                <a:latin typeface="EYInterstate Light" pitchFamily="2" charset="0"/>
              </a:defRPr>
            </a:lvl2pPr>
            <a:lvl3pPr algn="just">
              <a:defRPr sz="1200">
                <a:latin typeface="EYInterstate Light" pitchFamily="2" charset="0"/>
              </a:defRPr>
            </a:lvl3pPr>
            <a:lvl4pPr algn="just">
              <a:defRPr sz="1000">
                <a:latin typeface="EYInterstate Light" pitchFamily="2" charset="0"/>
              </a:defRPr>
            </a:lvl4pPr>
            <a:lvl5pPr algn="just">
              <a:defRPr sz="1000">
                <a:latin typeface="EYInterstate Light"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Tree>
    <p:extLst>
      <p:ext uri="{BB962C8B-B14F-4D97-AF65-F5344CB8AC3E}">
        <p14:creationId xmlns:p14="http://schemas.microsoft.com/office/powerpoint/2010/main" val="26953836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fr-FR" smtClean="0"/>
              <a:t>Modifiez le style du titre</a:t>
            </a:r>
            <a:endParaRPr lang="en-US"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Date Placeholder 3"/>
          <p:cNvSpPr>
            <a:spLocks noGrp="1"/>
          </p:cNvSpPr>
          <p:nvPr>
            <p:ph type="dt" sz="half" idx="10"/>
          </p:nvPr>
        </p:nvSpPr>
        <p:spPr/>
        <p:txBody>
          <a:bodyPr/>
          <a:lstStyle/>
          <a:p>
            <a:pPr>
              <a:defRPr/>
            </a:pPr>
            <a:fld id="{50611DF6-BA33-48F5-A4F8-3435E5A92261}" type="datetimeFigureOut">
              <a:rPr lang="fr-FR" smtClean="0"/>
              <a:pPr>
                <a:defRPr/>
              </a:pPr>
              <a:t>13/06/2019</a:t>
            </a:fld>
            <a:endParaRPr lang="fr-FR"/>
          </a:p>
        </p:txBody>
      </p:sp>
      <p:sp>
        <p:nvSpPr>
          <p:cNvPr id="5" name="Footer Placeholder 4"/>
          <p:cNvSpPr>
            <a:spLocks noGrp="1"/>
          </p:cNvSpPr>
          <p:nvPr>
            <p:ph type="ftr" sz="quarter" idx="11"/>
          </p:nvPr>
        </p:nvSpPr>
        <p:spPr/>
        <p:txBody>
          <a:bodyPr/>
          <a:lstStyle/>
          <a:p>
            <a:pPr>
              <a:defRPr/>
            </a:pPr>
            <a:endParaRPr lang="fr-FR"/>
          </a:p>
        </p:txBody>
      </p:sp>
      <p:sp>
        <p:nvSpPr>
          <p:cNvPr id="6" name="Slide Number Placeholder 5"/>
          <p:cNvSpPr>
            <a:spLocks noGrp="1"/>
          </p:cNvSpPr>
          <p:nvPr>
            <p:ph type="sldNum" sz="quarter" idx="12"/>
          </p:nvPr>
        </p:nvSpPr>
        <p:spPr/>
        <p:txBody>
          <a:bodyPr/>
          <a:lstStyle/>
          <a:p>
            <a:fld id="{05AC9E9A-81F0-4E50-A0A4-D4C079967F25}" type="slidenum">
              <a:rPr lang="fr-FR" altLang="en-US" smtClean="0"/>
              <a:pPr/>
              <a:t>‹N°›</a:t>
            </a:fld>
            <a:endParaRPr lang="fr-FR" altLang="en-US"/>
          </a:p>
        </p:txBody>
      </p:sp>
    </p:spTree>
    <p:extLst>
      <p:ext uri="{BB962C8B-B14F-4D97-AF65-F5344CB8AC3E}">
        <p14:creationId xmlns:p14="http://schemas.microsoft.com/office/powerpoint/2010/main" val="37383939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609598" y="2700868"/>
            <a:ext cx="6347715" cy="1826581"/>
          </a:xfrm>
        </p:spPr>
        <p:txBody>
          <a:bodyPr anchor="b"/>
          <a:lstStyle>
            <a:lvl1pPr algn="l">
              <a:defRPr sz="4000" b="0" cap="none"/>
            </a:lvl1pPr>
          </a:lstStyle>
          <a:p>
            <a:r>
              <a:rPr lang="fr-FR" smtClean="0"/>
              <a:t>Modifiez le style du titre</a:t>
            </a:r>
            <a:endParaRPr lang="en-US" dirty="0"/>
          </a:p>
        </p:txBody>
      </p:sp>
      <p:sp>
        <p:nvSpPr>
          <p:cNvPr id="3" name="Text Placeholder 2"/>
          <p:cNvSpPr>
            <a:spLocks noGrp="1"/>
          </p:cNvSpPr>
          <p:nvPr>
            <p:ph type="body" idx="1"/>
          </p:nvPr>
        </p:nvSpPr>
        <p:spPr>
          <a:xfrm>
            <a:off x="609598" y="4527448"/>
            <a:ext cx="6347715"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Date Placeholder 3"/>
          <p:cNvSpPr>
            <a:spLocks noGrp="1"/>
          </p:cNvSpPr>
          <p:nvPr>
            <p:ph type="dt" sz="half" idx="10"/>
          </p:nvPr>
        </p:nvSpPr>
        <p:spPr/>
        <p:txBody>
          <a:bodyPr/>
          <a:lstStyle/>
          <a:p>
            <a:pPr>
              <a:defRPr/>
            </a:pPr>
            <a:fld id="{84A32643-F0A0-4E09-8B2C-7AFD1E17D3B6}" type="datetimeFigureOut">
              <a:rPr lang="fr-FR" smtClean="0"/>
              <a:pPr>
                <a:defRPr/>
              </a:pPr>
              <a:t>13/06/2019</a:t>
            </a:fld>
            <a:endParaRPr lang="fr-FR"/>
          </a:p>
        </p:txBody>
      </p:sp>
      <p:sp>
        <p:nvSpPr>
          <p:cNvPr id="5" name="Footer Placeholder 4"/>
          <p:cNvSpPr>
            <a:spLocks noGrp="1"/>
          </p:cNvSpPr>
          <p:nvPr>
            <p:ph type="ftr" sz="quarter" idx="11"/>
          </p:nvPr>
        </p:nvSpPr>
        <p:spPr/>
        <p:txBody>
          <a:bodyPr/>
          <a:lstStyle/>
          <a:p>
            <a:pPr>
              <a:defRPr/>
            </a:pPr>
            <a:endParaRPr lang="fr-FR"/>
          </a:p>
        </p:txBody>
      </p:sp>
      <p:sp>
        <p:nvSpPr>
          <p:cNvPr id="6" name="Slide Number Placeholder 5"/>
          <p:cNvSpPr>
            <a:spLocks noGrp="1"/>
          </p:cNvSpPr>
          <p:nvPr>
            <p:ph type="sldNum" sz="quarter" idx="12"/>
          </p:nvPr>
        </p:nvSpPr>
        <p:spPr/>
        <p:txBody>
          <a:bodyPr/>
          <a:lstStyle/>
          <a:p>
            <a:fld id="{239344EE-27E7-4997-8F78-C3A7BCFAC4CB}" type="slidenum">
              <a:rPr lang="fr-FR" altLang="en-US" smtClean="0"/>
              <a:pPr/>
              <a:t>‹N°›</a:t>
            </a:fld>
            <a:endParaRPr lang="fr-FR" altLang="en-US"/>
          </a:p>
        </p:txBody>
      </p:sp>
    </p:spTree>
    <p:extLst>
      <p:ext uri="{BB962C8B-B14F-4D97-AF65-F5344CB8AC3E}">
        <p14:creationId xmlns:p14="http://schemas.microsoft.com/office/powerpoint/2010/main" val="10301930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6347714" cy="1320800"/>
          </a:xfrm>
        </p:spPr>
        <p:txBody>
          <a:bodyPr/>
          <a:lstStyle/>
          <a:p>
            <a:r>
              <a:rPr lang="fr-FR" smtClean="0"/>
              <a:t>Modifiez le style du titre</a:t>
            </a:r>
            <a:endParaRPr lang="en-US" dirty="0"/>
          </a:p>
        </p:txBody>
      </p:sp>
      <p:sp>
        <p:nvSpPr>
          <p:cNvPr id="3" name="Content Placeholder 2"/>
          <p:cNvSpPr>
            <a:spLocks noGrp="1"/>
          </p:cNvSpPr>
          <p:nvPr>
            <p:ph sz="half" idx="1"/>
          </p:nvPr>
        </p:nvSpPr>
        <p:spPr>
          <a:xfrm>
            <a:off x="609600" y="2160589"/>
            <a:ext cx="3088109" cy="3880772"/>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3869204" y="2160590"/>
            <a:ext cx="3088110" cy="388077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Date Placeholder 4"/>
          <p:cNvSpPr>
            <a:spLocks noGrp="1"/>
          </p:cNvSpPr>
          <p:nvPr>
            <p:ph type="dt" sz="half" idx="10"/>
          </p:nvPr>
        </p:nvSpPr>
        <p:spPr/>
        <p:txBody>
          <a:bodyPr/>
          <a:lstStyle/>
          <a:p>
            <a:pPr>
              <a:defRPr/>
            </a:pPr>
            <a:fld id="{BC919015-8487-4AD4-9A8C-79F8488F1E05}" type="datetimeFigureOut">
              <a:rPr lang="fr-FR" smtClean="0"/>
              <a:pPr>
                <a:defRPr/>
              </a:pPr>
              <a:t>13/06/2019</a:t>
            </a:fld>
            <a:endParaRPr lang="fr-FR"/>
          </a:p>
        </p:txBody>
      </p:sp>
      <p:sp>
        <p:nvSpPr>
          <p:cNvPr id="6" name="Footer Placeholder 5"/>
          <p:cNvSpPr>
            <a:spLocks noGrp="1"/>
          </p:cNvSpPr>
          <p:nvPr>
            <p:ph type="ftr" sz="quarter" idx="11"/>
          </p:nvPr>
        </p:nvSpPr>
        <p:spPr/>
        <p:txBody>
          <a:bodyPr/>
          <a:lstStyle/>
          <a:p>
            <a:pPr>
              <a:defRPr/>
            </a:pPr>
            <a:endParaRPr lang="fr-FR"/>
          </a:p>
        </p:txBody>
      </p:sp>
      <p:sp>
        <p:nvSpPr>
          <p:cNvPr id="7" name="Slide Number Placeholder 6"/>
          <p:cNvSpPr>
            <a:spLocks noGrp="1"/>
          </p:cNvSpPr>
          <p:nvPr>
            <p:ph type="sldNum" sz="quarter" idx="12"/>
          </p:nvPr>
        </p:nvSpPr>
        <p:spPr/>
        <p:txBody>
          <a:bodyPr/>
          <a:lstStyle/>
          <a:p>
            <a:fld id="{D4A06DF7-0958-4069-ABC8-0EDFE5B263D8}" type="slidenum">
              <a:rPr lang="fr-FR" altLang="en-US" smtClean="0"/>
              <a:pPr/>
              <a:t>‹N°›</a:t>
            </a:fld>
            <a:endParaRPr lang="fr-FR" altLang="en-US"/>
          </a:p>
        </p:txBody>
      </p:sp>
    </p:spTree>
    <p:extLst>
      <p:ext uri="{BB962C8B-B14F-4D97-AF65-F5344CB8AC3E}">
        <p14:creationId xmlns:p14="http://schemas.microsoft.com/office/powerpoint/2010/main" val="1616114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a:xfrm>
            <a:off x="609599" y="609600"/>
            <a:ext cx="6347713" cy="1320800"/>
          </a:xfrm>
        </p:spPr>
        <p:txBody>
          <a:bodyPr/>
          <a:lstStyle>
            <a:lvl1pPr>
              <a:defRPr/>
            </a:lvl1pPr>
          </a:lstStyle>
          <a:p>
            <a:r>
              <a:rPr lang="fr-FR" smtClean="0"/>
              <a:t>Modifiez le style du titre</a:t>
            </a:r>
            <a:endParaRPr lang="en-US" dirty="0"/>
          </a:p>
        </p:txBody>
      </p:sp>
      <p:sp>
        <p:nvSpPr>
          <p:cNvPr id="3" name="Text Placeholder 2"/>
          <p:cNvSpPr>
            <a:spLocks noGrp="1"/>
          </p:cNvSpPr>
          <p:nvPr>
            <p:ph type="body" idx="1"/>
          </p:nvPr>
        </p:nvSpPr>
        <p:spPr>
          <a:xfrm>
            <a:off x="609599" y="2160983"/>
            <a:ext cx="309067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Content Placeholder 3"/>
          <p:cNvSpPr>
            <a:spLocks noGrp="1"/>
          </p:cNvSpPr>
          <p:nvPr>
            <p:ph sz="half" idx="2"/>
          </p:nvPr>
        </p:nvSpPr>
        <p:spPr>
          <a:xfrm>
            <a:off x="609599" y="2737246"/>
            <a:ext cx="3090672" cy="3304117"/>
          </a:xfrm>
        </p:spPr>
        <p:txBody>
          <a:bodyPr>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3866640" y="2160983"/>
            <a:ext cx="309067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Content Placeholder 5"/>
          <p:cNvSpPr>
            <a:spLocks noGrp="1"/>
          </p:cNvSpPr>
          <p:nvPr>
            <p:ph sz="quarter" idx="4"/>
          </p:nvPr>
        </p:nvSpPr>
        <p:spPr>
          <a:xfrm>
            <a:off x="3866640" y="2737246"/>
            <a:ext cx="3090672" cy="3304117"/>
          </a:xfrm>
        </p:spPr>
        <p:txBody>
          <a:bodyPr>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7" name="Date Placeholder 6"/>
          <p:cNvSpPr>
            <a:spLocks noGrp="1"/>
          </p:cNvSpPr>
          <p:nvPr>
            <p:ph type="dt" sz="half" idx="10"/>
          </p:nvPr>
        </p:nvSpPr>
        <p:spPr/>
        <p:txBody>
          <a:bodyPr/>
          <a:lstStyle/>
          <a:p>
            <a:pPr>
              <a:defRPr/>
            </a:pPr>
            <a:fld id="{49D6F8C6-C184-462D-9C92-0E059C1F4CEF}" type="datetimeFigureOut">
              <a:rPr lang="fr-FR" smtClean="0"/>
              <a:pPr>
                <a:defRPr/>
              </a:pPr>
              <a:t>13/06/2019</a:t>
            </a:fld>
            <a:endParaRPr lang="fr-FR"/>
          </a:p>
        </p:txBody>
      </p:sp>
      <p:sp>
        <p:nvSpPr>
          <p:cNvPr id="8" name="Footer Placeholder 7"/>
          <p:cNvSpPr>
            <a:spLocks noGrp="1"/>
          </p:cNvSpPr>
          <p:nvPr>
            <p:ph type="ftr" sz="quarter" idx="11"/>
          </p:nvPr>
        </p:nvSpPr>
        <p:spPr/>
        <p:txBody>
          <a:bodyPr/>
          <a:lstStyle/>
          <a:p>
            <a:pPr>
              <a:defRPr/>
            </a:pPr>
            <a:endParaRPr lang="fr-FR"/>
          </a:p>
        </p:txBody>
      </p:sp>
      <p:sp>
        <p:nvSpPr>
          <p:cNvPr id="9" name="Slide Number Placeholder 8"/>
          <p:cNvSpPr>
            <a:spLocks noGrp="1"/>
          </p:cNvSpPr>
          <p:nvPr>
            <p:ph type="sldNum" sz="quarter" idx="12"/>
          </p:nvPr>
        </p:nvSpPr>
        <p:spPr/>
        <p:txBody>
          <a:bodyPr/>
          <a:lstStyle/>
          <a:p>
            <a:fld id="{029F3637-290C-4AB8-8152-3FEFAD744EC8}" type="slidenum">
              <a:rPr lang="fr-FR" altLang="en-US" smtClean="0"/>
              <a:pPr/>
              <a:t>‹N°›</a:t>
            </a:fld>
            <a:endParaRPr lang="fr-FR" altLang="en-US"/>
          </a:p>
        </p:txBody>
      </p:sp>
    </p:spTree>
    <p:extLst>
      <p:ext uri="{BB962C8B-B14F-4D97-AF65-F5344CB8AC3E}">
        <p14:creationId xmlns:p14="http://schemas.microsoft.com/office/powerpoint/2010/main" val="35756570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a:xfrm>
            <a:off x="609599" y="609600"/>
            <a:ext cx="6347714" cy="1320800"/>
          </a:xfrm>
        </p:spPr>
        <p:txBody>
          <a:bodyPr/>
          <a:lstStyle/>
          <a:p>
            <a:r>
              <a:rPr lang="fr-FR" smtClean="0"/>
              <a:t>Modifiez le style du titre</a:t>
            </a:r>
            <a:endParaRPr lang="en-US" dirty="0"/>
          </a:p>
        </p:txBody>
      </p:sp>
      <p:sp>
        <p:nvSpPr>
          <p:cNvPr id="3" name="Date Placeholder 2"/>
          <p:cNvSpPr>
            <a:spLocks noGrp="1"/>
          </p:cNvSpPr>
          <p:nvPr>
            <p:ph type="dt" sz="half" idx="10"/>
          </p:nvPr>
        </p:nvSpPr>
        <p:spPr/>
        <p:txBody>
          <a:bodyPr/>
          <a:lstStyle/>
          <a:p>
            <a:pPr>
              <a:defRPr/>
            </a:pPr>
            <a:fld id="{7DCB72E8-B80F-4C6E-8ABA-EFE5B36871B3}" type="datetimeFigureOut">
              <a:rPr lang="fr-FR" smtClean="0"/>
              <a:pPr>
                <a:defRPr/>
              </a:pPr>
              <a:t>13/06/2019</a:t>
            </a:fld>
            <a:endParaRPr lang="fr-FR"/>
          </a:p>
        </p:txBody>
      </p:sp>
      <p:sp>
        <p:nvSpPr>
          <p:cNvPr id="4" name="Footer Placeholder 3"/>
          <p:cNvSpPr>
            <a:spLocks noGrp="1"/>
          </p:cNvSpPr>
          <p:nvPr>
            <p:ph type="ftr" sz="quarter" idx="11"/>
          </p:nvPr>
        </p:nvSpPr>
        <p:spPr/>
        <p:txBody>
          <a:bodyPr/>
          <a:lstStyle/>
          <a:p>
            <a:pPr>
              <a:defRPr/>
            </a:pPr>
            <a:endParaRPr lang="fr-FR"/>
          </a:p>
        </p:txBody>
      </p:sp>
      <p:sp>
        <p:nvSpPr>
          <p:cNvPr id="5" name="Slide Number Placeholder 4"/>
          <p:cNvSpPr>
            <a:spLocks noGrp="1"/>
          </p:cNvSpPr>
          <p:nvPr>
            <p:ph type="sldNum" sz="quarter" idx="12"/>
          </p:nvPr>
        </p:nvSpPr>
        <p:spPr/>
        <p:txBody>
          <a:bodyPr/>
          <a:lstStyle/>
          <a:p>
            <a:fld id="{98239874-744F-40AF-AEAE-2B56D15BB393}" type="slidenum">
              <a:rPr lang="en-US" altLang="en-US" smtClean="0"/>
              <a:pPr/>
              <a:t>‹N°›</a:t>
            </a:fld>
            <a:endParaRPr lang="en-US" altLang="en-US"/>
          </a:p>
        </p:txBody>
      </p:sp>
    </p:spTree>
    <p:extLst>
      <p:ext uri="{BB962C8B-B14F-4D97-AF65-F5344CB8AC3E}">
        <p14:creationId xmlns:p14="http://schemas.microsoft.com/office/powerpoint/2010/main" val="32872793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C1B70556-0DD3-40A2-ABA5-1AF192F578ED}" type="datetimeFigureOut">
              <a:rPr lang="fr-FR" smtClean="0"/>
              <a:pPr>
                <a:defRPr/>
              </a:pPr>
              <a:t>13/06/2019</a:t>
            </a:fld>
            <a:endParaRPr lang="fr-FR"/>
          </a:p>
        </p:txBody>
      </p:sp>
      <p:sp>
        <p:nvSpPr>
          <p:cNvPr id="3" name="Footer Placeholder 2"/>
          <p:cNvSpPr>
            <a:spLocks noGrp="1"/>
          </p:cNvSpPr>
          <p:nvPr>
            <p:ph type="ftr" sz="quarter" idx="11"/>
          </p:nvPr>
        </p:nvSpPr>
        <p:spPr/>
        <p:txBody>
          <a:bodyPr/>
          <a:lstStyle/>
          <a:p>
            <a:pPr>
              <a:defRPr/>
            </a:pPr>
            <a:endParaRPr lang="fr-FR"/>
          </a:p>
        </p:txBody>
      </p:sp>
      <p:sp>
        <p:nvSpPr>
          <p:cNvPr id="4" name="Slide Number Placeholder 3"/>
          <p:cNvSpPr>
            <a:spLocks noGrp="1"/>
          </p:cNvSpPr>
          <p:nvPr>
            <p:ph type="sldNum" sz="quarter" idx="12"/>
          </p:nvPr>
        </p:nvSpPr>
        <p:spPr/>
        <p:txBody>
          <a:bodyPr/>
          <a:lstStyle/>
          <a:p>
            <a:fld id="{54485459-C768-4AF7-AD84-4CEA8312E7B4}" type="slidenum">
              <a:rPr lang="fr-FR" altLang="en-US" smtClean="0"/>
              <a:pPr/>
              <a:t>‹N°›</a:t>
            </a:fld>
            <a:endParaRPr lang="fr-FR" altLang="en-US"/>
          </a:p>
        </p:txBody>
      </p:sp>
    </p:spTree>
    <p:extLst>
      <p:ext uri="{BB962C8B-B14F-4D97-AF65-F5344CB8AC3E}">
        <p14:creationId xmlns:p14="http://schemas.microsoft.com/office/powerpoint/2010/main" val="33308462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609599" y="1498604"/>
            <a:ext cx="2790182" cy="1278466"/>
          </a:xfrm>
        </p:spPr>
        <p:txBody>
          <a:bodyPr anchor="b">
            <a:normAutofit/>
          </a:bodyPr>
          <a:lstStyle>
            <a:lvl1pPr>
              <a:defRPr sz="2000"/>
            </a:lvl1pPr>
          </a:lstStyle>
          <a:p>
            <a:r>
              <a:rPr lang="fr-FR" smtClean="0"/>
              <a:t>Modifiez le style du titre</a:t>
            </a:r>
            <a:endParaRPr lang="en-US" dirty="0"/>
          </a:p>
        </p:txBody>
      </p:sp>
      <p:sp>
        <p:nvSpPr>
          <p:cNvPr id="3" name="Content Placeholder 2"/>
          <p:cNvSpPr>
            <a:spLocks noGrp="1"/>
          </p:cNvSpPr>
          <p:nvPr>
            <p:ph idx="1"/>
          </p:nvPr>
        </p:nvSpPr>
        <p:spPr>
          <a:xfrm>
            <a:off x="3571275" y="514925"/>
            <a:ext cx="3386037" cy="5526437"/>
          </a:xfrm>
        </p:spPr>
        <p:txBody>
          <a:bodyPr>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Text Placeholder 3"/>
          <p:cNvSpPr>
            <a:spLocks noGrp="1"/>
          </p:cNvSpPr>
          <p:nvPr>
            <p:ph type="body" sz="half" idx="2"/>
          </p:nvPr>
        </p:nvSpPr>
        <p:spPr>
          <a:xfrm>
            <a:off x="609599" y="2777069"/>
            <a:ext cx="2790182" cy="2584449"/>
          </a:xfrm>
        </p:spPr>
        <p:txBody>
          <a:bodyPr>
            <a:normAutofit/>
          </a:bodyPr>
          <a:lstStyle>
            <a:lvl1pPr marL="0" indent="0">
              <a:buNone/>
              <a:defRPr sz="14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smtClean="0"/>
              <a:t>Modifiez les styles du texte du masque</a:t>
            </a:r>
          </a:p>
        </p:txBody>
      </p:sp>
      <p:sp>
        <p:nvSpPr>
          <p:cNvPr id="5" name="Date Placeholder 4"/>
          <p:cNvSpPr>
            <a:spLocks noGrp="1"/>
          </p:cNvSpPr>
          <p:nvPr>
            <p:ph type="dt" sz="half" idx="10"/>
          </p:nvPr>
        </p:nvSpPr>
        <p:spPr/>
        <p:txBody>
          <a:bodyPr/>
          <a:lstStyle/>
          <a:p>
            <a:pPr>
              <a:defRPr/>
            </a:pPr>
            <a:fld id="{5F5E171C-28C5-4A74-A518-D86AAD1883EA}" type="datetimeFigureOut">
              <a:rPr lang="fr-FR" smtClean="0"/>
              <a:pPr>
                <a:defRPr/>
              </a:pPr>
              <a:t>13/06/2019</a:t>
            </a:fld>
            <a:endParaRPr lang="fr-FR"/>
          </a:p>
        </p:txBody>
      </p:sp>
      <p:sp>
        <p:nvSpPr>
          <p:cNvPr id="6" name="Footer Placeholder 5"/>
          <p:cNvSpPr>
            <a:spLocks noGrp="1"/>
          </p:cNvSpPr>
          <p:nvPr>
            <p:ph type="ftr" sz="quarter" idx="11"/>
          </p:nvPr>
        </p:nvSpPr>
        <p:spPr/>
        <p:txBody>
          <a:bodyPr/>
          <a:lstStyle/>
          <a:p>
            <a:pPr>
              <a:defRPr/>
            </a:pPr>
            <a:endParaRPr lang="fr-FR"/>
          </a:p>
        </p:txBody>
      </p:sp>
      <p:sp>
        <p:nvSpPr>
          <p:cNvPr id="7" name="Slide Number Placeholder 6"/>
          <p:cNvSpPr>
            <a:spLocks noGrp="1"/>
          </p:cNvSpPr>
          <p:nvPr>
            <p:ph type="sldNum" sz="quarter" idx="12"/>
          </p:nvPr>
        </p:nvSpPr>
        <p:spPr/>
        <p:txBody>
          <a:bodyPr/>
          <a:lstStyle/>
          <a:p>
            <a:fld id="{B40585C1-87E8-4579-BCDF-0DE135233C55}" type="slidenum">
              <a:rPr lang="fr-FR" altLang="en-US" smtClean="0"/>
              <a:pPr/>
              <a:t>‹N°›</a:t>
            </a:fld>
            <a:endParaRPr lang="fr-FR" altLang="en-US"/>
          </a:p>
        </p:txBody>
      </p:sp>
    </p:spTree>
    <p:extLst>
      <p:ext uri="{BB962C8B-B14F-4D97-AF65-F5344CB8AC3E}">
        <p14:creationId xmlns:p14="http://schemas.microsoft.com/office/powerpoint/2010/main" val="2023199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609599" y="4800600"/>
            <a:ext cx="6347714" cy="566738"/>
          </a:xfrm>
        </p:spPr>
        <p:txBody>
          <a:bodyPr anchor="b">
            <a:normAutofit/>
          </a:bodyPr>
          <a:lstStyle>
            <a:lvl1pPr algn="l">
              <a:defRPr sz="2400" b="0"/>
            </a:lvl1pPr>
          </a:lstStyle>
          <a:p>
            <a:r>
              <a:rPr lang="fr-FR" smtClean="0"/>
              <a:t>Modifiez le style du titre</a:t>
            </a:r>
            <a:endParaRPr lang="en-US" dirty="0"/>
          </a:p>
        </p:txBody>
      </p:sp>
      <p:sp>
        <p:nvSpPr>
          <p:cNvPr id="3" name="Picture Placeholder 2"/>
          <p:cNvSpPr>
            <a:spLocks noGrp="1" noChangeAspect="1"/>
          </p:cNvSpPr>
          <p:nvPr>
            <p:ph type="pic" idx="1"/>
          </p:nvPr>
        </p:nvSpPr>
        <p:spPr>
          <a:xfrm>
            <a:off x="609599" y="609600"/>
            <a:ext cx="6347714"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fr-FR" smtClean="0"/>
              <a:t>Cliquez sur l'icône pour ajouter une image</a:t>
            </a:r>
            <a:endParaRPr lang="en-US" dirty="0"/>
          </a:p>
        </p:txBody>
      </p:sp>
      <p:sp>
        <p:nvSpPr>
          <p:cNvPr id="4" name="Text Placeholder 3"/>
          <p:cNvSpPr>
            <a:spLocks noGrp="1"/>
          </p:cNvSpPr>
          <p:nvPr>
            <p:ph type="body" sz="half" idx="2"/>
          </p:nvPr>
        </p:nvSpPr>
        <p:spPr>
          <a:xfrm>
            <a:off x="609599" y="5367338"/>
            <a:ext cx="6347714"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Date Placeholder 4"/>
          <p:cNvSpPr>
            <a:spLocks noGrp="1"/>
          </p:cNvSpPr>
          <p:nvPr>
            <p:ph type="dt" sz="half" idx="10"/>
          </p:nvPr>
        </p:nvSpPr>
        <p:spPr/>
        <p:txBody>
          <a:bodyPr/>
          <a:lstStyle/>
          <a:p>
            <a:pPr>
              <a:defRPr/>
            </a:pPr>
            <a:fld id="{4752964F-D631-4D44-BBBF-F25DE1956AB3}" type="datetimeFigureOut">
              <a:rPr lang="fr-FR" smtClean="0"/>
              <a:pPr>
                <a:defRPr/>
              </a:pPr>
              <a:t>13/06/2019</a:t>
            </a:fld>
            <a:endParaRPr lang="fr-FR"/>
          </a:p>
        </p:txBody>
      </p:sp>
      <p:sp>
        <p:nvSpPr>
          <p:cNvPr id="6" name="Footer Placeholder 5"/>
          <p:cNvSpPr>
            <a:spLocks noGrp="1"/>
          </p:cNvSpPr>
          <p:nvPr>
            <p:ph type="ftr" sz="quarter" idx="11"/>
          </p:nvPr>
        </p:nvSpPr>
        <p:spPr/>
        <p:txBody>
          <a:bodyPr/>
          <a:lstStyle/>
          <a:p>
            <a:pPr>
              <a:defRPr/>
            </a:pPr>
            <a:endParaRPr lang="fr-FR"/>
          </a:p>
        </p:txBody>
      </p:sp>
      <p:sp>
        <p:nvSpPr>
          <p:cNvPr id="7" name="Slide Number Placeholder 6"/>
          <p:cNvSpPr>
            <a:spLocks noGrp="1"/>
          </p:cNvSpPr>
          <p:nvPr>
            <p:ph type="sldNum" sz="quarter" idx="12"/>
          </p:nvPr>
        </p:nvSpPr>
        <p:spPr/>
        <p:txBody>
          <a:bodyPr/>
          <a:lstStyle/>
          <a:p>
            <a:fld id="{93C8D1C5-AEA5-40DD-8FD4-7921AFC276F9}" type="slidenum">
              <a:rPr lang="fr-FR" altLang="en-US" smtClean="0"/>
              <a:pPr/>
              <a:t>‹N°›</a:t>
            </a:fld>
            <a:endParaRPr lang="fr-FR" altLang="en-US"/>
          </a:p>
        </p:txBody>
      </p:sp>
    </p:spTree>
    <p:extLst>
      <p:ext uri="{BB962C8B-B14F-4D97-AF65-F5344CB8AC3E}">
        <p14:creationId xmlns:p14="http://schemas.microsoft.com/office/powerpoint/2010/main" val="32061319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7" name="Group 16"/>
          <p:cNvGrpSpPr/>
          <p:nvPr/>
        </p:nvGrpSpPr>
        <p:grpSpPr>
          <a:xfrm>
            <a:off x="-8467" y="-8468"/>
            <a:ext cx="9171317" cy="6874935"/>
            <a:chOff x="-8467" y="-8468"/>
            <a:chExt cx="9171317" cy="6874935"/>
          </a:xfrm>
        </p:grpSpPr>
        <p:sp>
          <p:nvSpPr>
            <p:cNvPr id="7" name="Freeform 6"/>
            <p:cNvSpPr/>
            <p:nvPr/>
          </p:nvSpPr>
          <p:spPr>
            <a:xfrm>
              <a:off x="-8467" y="4013200"/>
              <a:ext cx="457200" cy="2853267"/>
            </a:xfrm>
            <a:custGeom>
              <a:avLst/>
              <a:gdLst/>
              <a:ahLst/>
              <a:cxnLst/>
              <a:rect l="l" t="t" r="r" b="b"/>
              <a:pathLst>
                <a:path w="457200" h="2853267">
                  <a:moveTo>
                    <a:pt x="0" y="0"/>
                  </a:moveTo>
                  <a:lnTo>
                    <a:pt x="457200" y="2853267"/>
                  </a:lnTo>
                  <a:lnTo>
                    <a:pt x="0" y="2844800"/>
                  </a:lnTo>
                  <a:cubicBezTo>
                    <a:pt x="2822" y="1905000"/>
                    <a:pt x="5645" y="965200"/>
                    <a:pt x="0" y="0"/>
                  </a:cubicBezTo>
                  <a:close/>
                </a:path>
              </a:pathLst>
            </a:cu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8" name="Straight Connector 7"/>
            <p:cNvCxnSpPr/>
            <p:nvPr/>
          </p:nvCxnSpPr>
          <p:spPr>
            <a:xfrm flipV="1">
              <a:off x="5130830" y="4175605"/>
              <a:ext cx="4022475" cy="2682396"/>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7042707"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10" name="Freeform 9"/>
            <p:cNvSpPr/>
            <p:nvPr/>
          </p:nvSpPr>
          <p:spPr>
            <a:xfrm>
              <a:off x="6891896" y="1"/>
              <a:ext cx="2269442" cy="6866466"/>
            </a:xfrm>
            <a:custGeom>
              <a:avLst/>
              <a:gdLst/>
              <a:ahLst/>
              <a:cxnLst/>
              <a:rect l="l" t="t" r="r" b="b"/>
              <a:pathLst>
                <a:path w="2269442" h="6866466">
                  <a:moveTo>
                    <a:pt x="2023534" y="0"/>
                  </a:moveTo>
                  <a:lnTo>
                    <a:pt x="0" y="6858000"/>
                  </a:lnTo>
                  <a:lnTo>
                    <a:pt x="2269067" y="6866466"/>
                  </a:lnTo>
                  <a:cubicBezTo>
                    <a:pt x="2271889" y="4580466"/>
                    <a:pt x="2257778" y="2294466"/>
                    <a:pt x="2260600" y="8466"/>
                  </a:cubicBezTo>
                  <a:lnTo>
                    <a:pt x="2023534"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11" name="Freeform 10"/>
            <p:cNvSpPr/>
            <p:nvPr/>
          </p:nvSpPr>
          <p:spPr>
            <a:xfrm>
              <a:off x="7205158" y="-8467"/>
              <a:ext cx="1948147" cy="6866467"/>
            </a:xfrm>
            <a:custGeom>
              <a:avLst/>
              <a:gdLst/>
              <a:ahLst/>
              <a:cxnLst/>
              <a:rect l="l" t="t" r="r" b="b"/>
              <a:pathLst>
                <a:path w="1948147" h="6866467">
                  <a:moveTo>
                    <a:pt x="0" y="0"/>
                  </a:moveTo>
                  <a:lnTo>
                    <a:pt x="1202267" y="6866467"/>
                  </a:lnTo>
                  <a:lnTo>
                    <a:pt x="1947333" y="6866467"/>
                  </a:lnTo>
                  <a:cubicBezTo>
                    <a:pt x="1944511" y="4577645"/>
                    <a:pt x="1950155" y="2288822"/>
                    <a:pt x="1947333" y="0"/>
                  </a:cubicBez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2" name="Freeform 11"/>
            <p:cNvSpPr/>
            <p:nvPr/>
          </p:nvSpPr>
          <p:spPr>
            <a:xfrm>
              <a:off x="6637896" y="3920066"/>
              <a:ext cx="2513565" cy="2937933"/>
            </a:xfrm>
            <a:custGeom>
              <a:avLst/>
              <a:gdLst/>
              <a:ahLst/>
              <a:cxnLst/>
              <a:rect l="l" t="t" r="r" b="b"/>
              <a:pathLst>
                <a:path w="3259667" h="3810000">
                  <a:moveTo>
                    <a:pt x="0" y="3810000"/>
                  </a:moveTo>
                  <a:lnTo>
                    <a:pt x="3251200" y="0"/>
                  </a:lnTo>
                  <a:cubicBezTo>
                    <a:pt x="3254022" y="1270000"/>
                    <a:pt x="3256845" y="2540000"/>
                    <a:pt x="3259667" y="3810000"/>
                  </a:cubicBezTo>
                  <a:lnTo>
                    <a:pt x="0" y="3810000"/>
                  </a:lnTo>
                  <a:close/>
                </a:path>
              </a:pathLst>
            </a:cu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Freeform 12"/>
            <p:cNvSpPr/>
            <p:nvPr/>
          </p:nvSpPr>
          <p:spPr>
            <a:xfrm>
              <a:off x="7010429" y="-8467"/>
              <a:ext cx="2142876" cy="6866467"/>
            </a:xfrm>
            <a:custGeom>
              <a:avLst/>
              <a:gdLst/>
              <a:ahLst/>
              <a:cxnLst/>
              <a:rect l="l" t="t" r="r" b="b"/>
              <a:pathLst>
                <a:path w="2853267" h="6866467">
                  <a:moveTo>
                    <a:pt x="0" y="0"/>
                  </a:moveTo>
                  <a:lnTo>
                    <a:pt x="2472267" y="6866467"/>
                  </a:lnTo>
                  <a:lnTo>
                    <a:pt x="2853267" y="6858000"/>
                  </a:lnTo>
                  <a:lnTo>
                    <a:pt x="2853267" y="0"/>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Freeform 13"/>
            <p:cNvSpPr/>
            <p:nvPr/>
          </p:nvSpPr>
          <p:spPr>
            <a:xfrm>
              <a:off x="8295776" y="-8467"/>
              <a:ext cx="857530" cy="6866467"/>
            </a:xfrm>
            <a:custGeom>
              <a:avLst/>
              <a:gdLst/>
              <a:ahLst/>
              <a:cxnLst/>
              <a:rect l="l" t="t" r="r" b="b"/>
              <a:pathLst>
                <a:path w="1286933" h="6866467">
                  <a:moveTo>
                    <a:pt x="1016000" y="0"/>
                  </a:moveTo>
                  <a:lnTo>
                    <a:pt x="0" y="6866467"/>
                  </a:lnTo>
                  <a:lnTo>
                    <a:pt x="1286933" y="6866467"/>
                  </a:lnTo>
                  <a:cubicBezTo>
                    <a:pt x="1284111" y="4577645"/>
                    <a:pt x="1281288" y="2288822"/>
                    <a:pt x="1278466" y="0"/>
                  </a:cubicBezTo>
                  <a:lnTo>
                    <a:pt x="1016000"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Freeform 14"/>
            <p:cNvSpPr/>
            <p:nvPr/>
          </p:nvSpPr>
          <p:spPr>
            <a:xfrm>
              <a:off x="8094165" y="-8468"/>
              <a:ext cx="1066770" cy="6866467"/>
            </a:xfrm>
            <a:custGeom>
              <a:avLst/>
              <a:gdLst/>
              <a:ahLst/>
              <a:cxnLst/>
              <a:rect l="l" t="t" r="r" b="b"/>
              <a:pathLst>
                <a:path w="1270244" h="6866467">
                  <a:moveTo>
                    <a:pt x="0" y="0"/>
                  </a:moveTo>
                  <a:lnTo>
                    <a:pt x="1117600" y="6866467"/>
                  </a:lnTo>
                  <a:lnTo>
                    <a:pt x="1270000" y="6866467"/>
                  </a:lnTo>
                  <a:cubicBezTo>
                    <a:pt x="1272822" y="4574822"/>
                    <a:pt x="1250245" y="2291645"/>
                    <a:pt x="1253067" y="0"/>
                  </a:cubicBezTo>
                  <a:lnTo>
                    <a:pt x="0" y="0"/>
                  </a:lnTo>
                  <a:close/>
                </a:path>
              </a:pathLst>
            </a:custGeom>
            <a:solidFill>
              <a:schemeClr val="accent2">
                <a:lumMod val="75000"/>
                <a:alpha val="8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Freeform 15"/>
            <p:cNvSpPr/>
            <p:nvPr/>
          </p:nvSpPr>
          <p:spPr>
            <a:xfrm>
              <a:off x="8068764" y="4893733"/>
              <a:ext cx="1094086" cy="1964267"/>
            </a:xfrm>
            <a:custGeom>
              <a:avLst/>
              <a:gdLst/>
              <a:ahLst/>
              <a:cxnLst/>
              <a:rect l="l" t="t" r="r" b="b"/>
              <a:pathLst>
                <a:path w="1820333" h="3268133">
                  <a:moveTo>
                    <a:pt x="0" y="3268133"/>
                  </a:moveTo>
                  <a:lnTo>
                    <a:pt x="1811866" y="0"/>
                  </a:lnTo>
                  <a:cubicBezTo>
                    <a:pt x="1814688" y="1086555"/>
                    <a:pt x="1817511" y="2173111"/>
                    <a:pt x="1820333" y="3259666"/>
                  </a:cubicBezTo>
                  <a:lnTo>
                    <a:pt x="0" y="3268133"/>
                  </a:lnTo>
                  <a:close/>
                </a:path>
              </a:pathLst>
            </a:cu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09599" y="609600"/>
            <a:ext cx="6347713" cy="1320800"/>
          </a:xfrm>
          <a:prstGeom prst="rect">
            <a:avLst/>
          </a:prstGeom>
        </p:spPr>
        <p:txBody>
          <a:bodyPr vert="horz" lIns="91440" tIns="45720" rIns="91440" bIns="45720" rtlCol="0" anchor="t">
            <a:normAutofit/>
          </a:bodyPr>
          <a:lstStyle/>
          <a:p>
            <a:r>
              <a:rPr lang="fr-FR" smtClean="0"/>
              <a:t>Modifiez le style du titre</a:t>
            </a:r>
            <a:endParaRPr lang="en-US" dirty="0"/>
          </a:p>
        </p:txBody>
      </p:sp>
      <p:sp>
        <p:nvSpPr>
          <p:cNvPr id="3" name="Text Placeholder 2"/>
          <p:cNvSpPr>
            <a:spLocks noGrp="1"/>
          </p:cNvSpPr>
          <p:nvPr>
            <p:ph type="body" idx="1"/>
          </p:nvPr>
        </p:nvSpPr>
        <p:spPr>
          <a:xfrm>
            <a:off x="609599" y="2160590"/>
            <a:ext cx="6347714" cy="3880773"/>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Date Placeholder 3"/>
          <p:cNvSpPr>
            <a:spLocks noGrp="1"/>
          </p:cNvSpPr>
          <p:nvPr>
            <p:ph type="dt" sz="half" idx="2"/>
          </p:nvPr>
        </p:nvSpPr>
        <p:spPr>
          <a:xfrm>
            <a:off x="5405258" y="6041363"/>
            <a:ext cx="684132"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a:defRPr/>
            </a:pPr>
            <a:fld id="{8BE11E01-BBEA-4187-B39E-F161E05CF05C}" type="datetimeFigureOut">
              <a:rPr lang="fr-FR" smtClean="0"/>
              <a:pPr>
                <a:defRPr/>
              </a:pPr>
              <a:t>13/06/2019</a:t>
            </a:fld>
            <a:endParaRPr lang="fr-FR"/>
          </a:p>
        </p:txBody>
      </p:sp>
      <p:sp>
        <p:nvSpPr>
          <p:cNvPr id="5" name="Footer Placeholder 4"/>
          <p:cNvSpPr>
            <a:spLocks noGrp="1"/>
          </p:cNvSpPr>
          <p:nvPr>
            <p:ph type="ftr" sz="quarter" idx="3"/>
          </p:nvPr>
        </p:nvSpPr>
        <p:spPr>
          <a:xfrm>
            <a:off x="609599" y="6041363"/>
            <a:ext cx="4622973"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a:defRPr/>
            </a:pPr>
            <a:endParaRPr lang="fr-FR"/>
          </a:p>
        </p:txBody>
      </p:sp>
      <p:sp>
        <p:nvSpPr>
          <p:cNvPr id="6" name="Slide Number Placeholder 5"/>
          <p:cNvSpPr>
            <a:spLocks noGrp="1"/>
          </p:cNvSpPr>
          <p:nvPr>
            <p:ph type="sldNum" sz="quarter" idx="4"/>
          </p:nvPr>
        </p:nvSpPr>
        <p:spPr>
          <a:xfrm>
            <a:off x="6444676" y="6041363"/>
            <a:ext cx="512638" cy="365125"/>
          </a:xfrm>
          <a:prstGeom prst="rect">
            <a:avLst/>
          </a:prstGeom>
        </p:spPr>
        <p:txBody>
          <a:bodyPr vert="horz" lIns="91440" tIns="45720" rIns="91440" bIns="45720" rtlCol="0" anchor="ctr"/>
          <a:lstStyle>
            <a:lvl1pPr algn="r">
              <a:defRPr sz="900">
                <a:solidFill>
                  <a:schemeClr val="accent1"/>
                </a:solidFill>
              </a:defRPr>
            </a:lvl1pPr>
          </a:lstStyle>
          <a:p>
            <a:fld id="{1074661F-C4F5-40D6-B872-19A193798A57}" type="slidenum">
              <a:rPr lang="fr-FR" altLang="en-US" smtClean="0"/>
              <a:pPr/>
              <a:t>‹N°›</a:t>
            </a:fld>
            <a:endParaRPr lang="fr-FR" altLang="en-US"/>
          </a:p>
        </p:txBody>
      </p:sp>
    </p:spTree>
    <p:extLst>
      <p:ext uri="{BB962C8B-B14F-4D97-AF65-F5344CB8AC3E}">
        <p14:creationId xmlns:p14="http://schemas.microsoft.com/office/powerpoint/2010/main" val="2169911590"/>
      </p:ext>
    </p:extLst>
  </p:cSld>
  <p:clrMap bg1="lt1" tx1="dk1" bg2="lt2" tx2="dk2" accent1="accent1" accent2="accent2" accent3="accent3" accent4="accent4" accent5="accent5" accent6="accent6" hlink="hlink" folHlink="folHlink"/>
  <p:sldLayoutIdLst>
    <p:sldLayoutId id="2147484199" r:id="rId1"/>
    <p:sldLayoutId id="2147484200" r:id="rId2"/>
    <p:sldLayoutId id="2147484201" r:id="rId3"/>
    <p:sldLayoutId id="2147484202" r:id="rId4"/>
    <p:sldLayoutId id="2147484203" r:id="rId5"/>
    <p:sldLayoutId id="2147484204" r:id="rId6"/>
    <p:sldLayoutId id="2147484205" r:id="rId7"/>
    <p:sldLayoutId id="2147484206" r:id="rId8"/>
    <p:sldLayoutId id="2147484207" r:id="rId9"/>
    <p:sldLayoutId id="2147484208" r:id="rId10"/>
    <p:sldLayoutId id="2147484209" r:id="rId11"/>
    <p:sldLayoutId id="2147484210" r:id="rId12"/>
    <p:sldLayoutId id="2147484211" r:id="rId13"/>
    <p:sldLayoutId id="2147484212" r:id="rId14"/>
    <p:sldLayoutId id="2147484213" r:id="rId15"/>
    <p:sldLayoutId id="2147484214" r:id="rId16"/>
    <p:sldLayoutId id="2147484215" r:id="rId17"/>
    <p:sldLayoutId id="2147484178" r:id="rId18"/>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jpg"/></Relationships>
</file>

<file path=ppt/slides/_rels/slide10.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6.xml"/><Relationship Id="rId7" Type="http://schemas.openxmlformats.org/officeDocument/2006/relationships/image" Target="../media/image6.jpeg"/><Relationship Id="rId2" Type="http://schemas.openxmlformats.org/officeDocument/2006/relationships/tags" Target="../tags/tag2.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package" Target="../embeddings/Document_Microsoft_Word1.docx"/></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79EB6281-74D0-4945-A5CF-3B3ACBFD5119}"/>
              </a:ext>
            </a:extLst>
          </p:cNvPr>
          <p:cNvSpPr>
            <a:spLocks noGrp="1"/>
          </p:cNvSpPr>
          <p:nvPr>
            <p:ph type="ctrTitle"/>
          </p:nvPr>
        </p:nvSpPr>
        <p:spPr>
          <a:xfrm>
            <a:off x="107504" y="1844824"/>
            <a:ext cx="7950200" cy="1944215"/>
          </a:xfrm>
        </p:spPr>
        <p:txBody>
          <a:bodyPr/>
          <a:lstStyle/>
          <a:p>
            <a:pPr algn="ctr" eaLnBrk="1" fontAlgn="auto" hangingPunct="1">
              <a:spcAft>
                <a:spcPts val="0"/>
              </a:spcAft>
              <a:defRPr/>
            </a:pPr>
            <a:r>
              <a:rPr lang="fr-FR" dirty="0">
                <a:solidFill>
                  <a:srgbClr val="0070C0"/>
                </a:solidFill>
              </a:rPr>
              <a:t>réponse accompagnée pour tous</a:t>
            </a:r>
          </a:p>
        </p:txBody>
      </p:sp>
      <p:sp>
        <p:nvSpPr>
          <p:cNvPr id="3" name="Sous-titre 2">
            <a:extLst>
              <a:ext uri="{FF2B5EF4-FFF2-40B4-BE49-F238E27FC236}">
                <a16:creationId xmlns="" xmlns:a16="http://schemas.microsoft.com/office/drawing/2014/main" id="{40352CFD-0154-461A-906D-334C4F7E6088}"/>
              </a:ext>
            </a:extLst>
          </p:cNvPr>
          <p:cNvSpPr>
            <a:spLocks noGrp="1"/>
          </p:cNvSpPr>
          <p:nvPr>
            <p:ph type="subTitle" idx="1"/>
          </p:nvPr>
        </p:nvSpPr>
        <p:spPr>
          <a:xfrm>
            <a:off x="755577" y="4581128"/>
            <a:ext cx="7416824" cy="1152128"/>
          </a:xfrm>
        </p:spPr>
        <p:txBody>
          <a:bodyPr rtlCol="0">
            <a:normAutofit/>
          </a:bodyPr>
          <a:lstStyle/>
          <a:p>
            <a:pPr>
              <a:defRPr/>
            </a:pPr>
            <a:r>
              <a:rPr lang="fr-FR" sz="2400" dirty="0"/>
              <a:t>De la théorie à la pratique</a:t>
            </a:r>
          </a:p>
          <a:p>
            <a:pPr eaLnBrk="1" fontAlgn="auto" hangingPunct="1">
              <a:spcAft>
                <a:spcPts val="0"/>
              </a:spcAft>
              <a:defRPr/>
            </a:pPr>
            <a:r>
              <a:rPr lang="fr-FR" sz="2400" dirty="0" smtClean="0"/>
              <a:t>14 juin 2019</a:t>
            </a:r>
            <a:endParaRPr lang="fr-FR" sz="2400" dirty="0"/>
          </a:p>
        </p:txBody>
      </p:sp>
      <p:pic>
        <p:nvPicPr>
          <p:cNvPr id="8196" name="Picture 2">
            <a:extLst>
              <a:ext uri="{FF2B5EF4-FFF2-40B4-BE49-F238E27FC236}">
                <a16:creationId xmlns="" xmlns:a16="http://schemas.microsoft.com/office/drawing/2014/main" id="{63DEA56E-BAC0-4E1A-AF2B-90794023E3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74896"/>
          <a:stretch>
            <a:fillRect/>
          </a:stretch>
        </p:blipFill>
        <p:spPr bwMode="auto">
          <a:xfrm>
            <a:off x="6691313" y="168275"/>
            <a:ext cx="2241550" cy="8366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Image 5"/>
          <p:cNvPicPr/>
          <p:nvPr/>
        </p:nvPicPr>
        <p:blipFill>
          <a:blip r:embed="rId4">
            <a:extLst>
              <a:ext uri="{28A0092B-C50C-407E-A947-70E740481C1C}">
                <a14:useLocalDpi xmlns:a14="http://schemas.microsoft.com/office/drawing/2010/main" val="0"/>
              </a:ext>
            </a:extLst>
          </a:blip>
          <a:stretch>
            <a:fillRect/>
          </a:stretch>
        </p:blipFill>
        <p:spPr>
          <a:xfrm>
            <a:off x="323528" y="260648"/>
            <a:ext cx="2088232" cy="744240"/>
          </a:xfrm>
          <a:prstGeom prst="rect">
            <a:avLst/>
          </a:prstGeom>
        </p:spPr>
      </p:pic>
    </p:spTree>
  </p:cSld>
  <p:clrMapOvr>
    <a:masterClrMapping/>
  </p:clrMapOvr>
  <p:transition spd="slow">
    <p:cove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Objet 20" hidden="1">
            <a:extLst>
              <a:ext uri="{FF2B5EF4-FFF2-40B4-BE49-F238E27FC236}">
                <a16:creationId xmlns="" xmlns:a16="http://schemas.microsoft.com/office/drawing/2014/main" id="{156B6E97-C794-40D3-8C92-C5FEB560096A}"/>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1" name="Diapositive think-cell" r:id="rId5" imgW="360" imgH="360" progId="TCLayout.ActiveDocument.1">
                  <p:embed/>
                </p:oleObj>
              </mc:Choice>
              <mc:Fallback>
                <p:oleObj name="Diapositive think-cell" r:id="rId5" imgW="360" imgH="360" progId="TCLayout.ActiveDocument.1">
                  <p:embed/>
                  <p:pic>
                    <p:nvPicPr>
                      <p:cNvPr id="21506" name="Objet 20" hidden="1">
                        <a:extLst>
                          <a:ext uri="{FF2B5EF4-FFF2-40B4-BE49-F238E27FC236}">
                            <a16:creationId xmlns="" xmlns:a16="http://schemas.microsoft.com/office/drawing/2014/main" id="{156B6E97-C794-40D3-8C92-C5FEB560096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1507" name="Picture 8" descr="D:\Hugues\Images\Banque d'image\reunion.jpg">
            <a:extLst>
              <a:ext uri="{FF2B5EF4-FFF2-40B4-BE49-F238E27FC236}">
                <a16:creationId xmlns="" xmlns:a16="http://schemas.microsoft.com/office/drawing/2014/main" id="{50816BA2-EA29-497A-A4DE-3D75D9B9AC7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91338" y="2143125"/>
            <a:ext cx="1673225" cy="100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08" name="Picture 8" descr="D:\Hugues\Images\Banque d'image\reunion.jpg">
            <a:extLst>
              <a:ext uri="{FF2B5EF4-FFF2-40B4-BE49-F238E27FC236}">
                <a16:creationId xmlns="" xmlns:a16="http://schemas.microsoft.com/office/drawing/2014/main" id="{C0510ACB-47B6-4C35-9575-C450B4FE8D8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6225" y="3221038"/>
            <a:ext cx="492125"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09" name="Picture 8" descr="D:\Hugues\Images\Banque d'image\reunion.jpg">
            <a:extLst>
              <a:ext uri="{FF2B5EF4-FFF2-40B4-BE49-F238E27FC236}">
                <a16:creationId xmlns="" xmlns:a16="http://schemas.microsoft.com/office/drawing/2014/main" id="{139721D8-337F-4A4E-A082-16E357F6872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44875" y="3067050"/>
            <a:ext cx="1009650" cy="604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a:extLst>
              <a:ext uri="{FF2B5EF4-FFF2-40B4-BE49-F238E27FC236}">
                <a16:creationId xmlns="" xmlns:a16="http://schemas.microsoft.com/office/drawing/2014/main" id="{35049E4E-3D3A-4D46-9A40-90099FDA7820}"/>
              </a:ext>
            </a:extLst>
          </p:cNvPr>
          <p:cNvSpPr>
            <a:spLocks noGrp="1"/>
          </p:cNvSpPr>
          <p:nvPr>
            <p:ph type="title"/>
          </p:nvPr>
        </p:nvSpPr>
        <p:spPr>
          <a:xfrm>
            <a:off x="646113" y="404813"/>
            <a:ext cx="8074025" cy="622300"/>
          </a:xfrm>
        </p:spPr>
        <p:txBody>
          <a:bodyPr lIns="0" tIns="0" rIns="0" bIns="0" anchor="t" anchorCtr="0"/>
          <a:lstStyle/>
          <a:p>
            <a:pPr algn="ctr" defTabSz="912602" eaLnBrk="1" fontAlgn="auto" hangingPunct="1">
              <a:lnSpc>
                <a:spcPct val="85000"/>
              </a:lnSpc>
              <a:spcAft>
                <a:spcPts val="0"/>
              </a:spcAft>
              <a:defRPr/>
            </a:pPr>
            <a:r>
              <a:rPr lang="fr-FR" sz="2200" dirty="0">
                <a:solidFill>
                  <a:srgbClr val="0070C0"/>
                </a:solidFill>
              </a:rPr>
              <a:t>Le PAG est élaboré </a:t>
            </a:r>
            <a:r>
              <a:rPr lang="fr-FR" sz="2200" dirty="0" smtClean="0">
                <a:solidFill>
                  <a:srgbClr val="0070C0"/>
                </a:solidFill>
              </a:rPr>
              <a:t/>
            </a:r>
            <a:br>
              <a:rPr lang="fr-FR" sz="2200" dirty="0" smtClean="0">
                <a:solidFill>
                  <a:srgbClr val="0070C0"/>
                </a:solidFill>
              </a:rPr>
            </a:br>
            <a:r>
              <a:rPr lang="fr-FR" sz="2200" dirty="0" smtClean="0">
                <a:solidFill>
                  <a:srgbClr val="0070C0"/>
                </a:solidFill>
              </a:rPr>
              <a:t>par </a:t>
            </a:r>
            <a:r>
              <a:rPr lang="fr-FR" sz="2200" dirty="0">
                <a:solidFill>
                  <a:srgbClr val="0070C0"/>
                </a:solidFill>
              </a:rPr>
              <a:t>une équipe à géométrie variable</a:t>
            </a:r>
          </a:p>
        </p:txBody>
      </p:sp>
      <p:sp>
        <p:nvSpPr>
          <p:cNvPr id="21511" name="ZoneTexte 21">
            <a:extLst>
              <a:ext uri="{FF2B5EF4-FFF2-40B4-BE49-F238E27FC236}">
                <a16:creationId xmlns="" xmlns:a16="http://schemas.microsoft.com/office/drawing/2014/main" id="{BFE8AD26-5A16-4B63-9482-B439640F394F}"/>
              </a:ext>
            </a:extLst>
          </p:cNvPr>
          <p:cNvSpPr txBox="1">
            <a:spLocks noChangeArrowheads="1"/>
          </p:cNvSpPr>
          <p:nvPr/>
        </p:nvSpPr>
        <p:spPr bwMode="auto">
          <a:xfrm>
            <a:off x="768350" y="3616325"/>
            <a:ext cx="2676525" cy="78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60" tIns="45639" rIns="91260" bIns="45639">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just" eaLnBrk="1" hangingPunct="1">
              <a:spcBef>
                <a:spcPct val="0"/>
              </a:spcBef>
              <a:buFontTx/>
              <a:buNone/>
            </a:pPr>
            <a:r>
              <a:rPr lang="fr-FR" altLang="fr-FR" sz="1500" b="0">
                <a:latin typeface="Calibri" panose="020F0502020204030204" pitchFamily="34" charset="0"/>
              </a:rPr>
              <a:t>Pour la recherche de solutions, le directeur de la MDPH peut convoquer le GOS 1</a:t>
            </a:r>
          </a:p>
        </p:txBody>
      </p:sp>
      <p:sp>
        <p:nvSpPr>
          <p:cNvPr id="21512" name="ZoneTexte 22">
            <a:extLst>
              <a:ext uri="{FF2B5EF4-FFF2-40B4-BE49-F238E27FC236}">
                <a16:creationId xmlns="" xmlns:a16="http://schemas.microsoft.com/office/drawing/2014/main" id="{906E9724-6110-4532-A7F3-6EBDAE79C8AD}"/>
              </a:ext>
            </a:extLst>
          </p:cNvPr>
          <p:cNvSpPr txBox="1">
            <a:spLocks noChangeArrowheads="1"/>
          </p:cNvSpPr>
          <p:nvPr/>
        </p:nvSpPr>
        <p:spPr bwMode="auto">
          <a:xfrm>
            <a:off x="4652963" y="3370263"/>
            <a:ext cx="2303462" cy="1014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60" tIns="45639" rIns="91260" bIns="45639">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just" eaLnBrk="1" hangingPunct="1">
              <a:spcBef>
                <a:spcPct val="0"/>
              </a:spcBef>
              <a:buFontTx/>
              <a:buNone/>
            </a:pPr>
            <a:r>
              <a:rPr lang="fr-FR" altLang="fr-FR" sz="1500" b="0">
                <a:latin typeface="Calibri" panose="020F0502020204030204" pitchFamily="34" charset="0"/>
              </a:rPr>
              <a:t>Le directeur de la MDPH </a:t>
            </a:r>
            <a:r>
              <a:rPr lang="fr-FR" altLang="fr-FR" sz="1500" u="sng">
                <a:latin typeface="Calibri" panose="020F0502020204030204" pitchFamily="34" charset="0"/>
              </a:rPr>
              <a:t>peut</a:t>
            </a:r>
            <a:r>
              <a:rPr lang="fr-FR" altLang="fr-FR" sz="1500" b="0">
                <a:latin typeface="Calibri" panose="020F0502020204030204" pitchFamily="34" charset="0"/>
              </a:rPr>
              <a:t> convoquer les financeurs en cas de blocage</a:t>
            </a:r>
          </a:p>
        </p:txBody>
      </p:sp>
      <p:sp>
        <p:nvSpPr>
          <p:cNvPr id="24" name="Chevron 23">
            <a:extLst>
              <a:ext uri="{FF2B5EF4-FFF2-40B4-BE49-F238E27FC236}">
                <a16:creationId xmlns="" xmlns:a16="http://schemas.microsoft.com/office/drawing/2014/main" id="{3EF527CA-025C-4D91-A2FB-68FC24A66550}"/>
              </a:ext>
            </a:extLst>
          </p:cNvPr>
          <p:cNvSpPr/>
          <p:nvPr/>
        </p:nvSpPr>
        <p:spPr>
          <a:xfrm>
            <a:off x="1206500" y="3292475"/>
            <a:ext cx="1811338" cy="207963"/>
          </a:xfrm>
          <a:prstGeom prst="chevron">
            <a:avLst/>
          </a:prstGeom>
        </p:spPr>
        <p:style>
          <a:lnRef idx="2">
            <a:schemeClr val="accent2">
              <a:shade val="50000"/>
            </a:schemeClr>
          </a:lnRef>
          <a:fillRef idx="1">
            <a:schemeClr val="accent2"/>
          </a:fillRef>
          <a:effectRef idx="0">
            <a:schemeClr val="accent2"/>
          </a:effectRef>
          <a:fontRef idx="minor">
            <a:schemeClr val="lt1"/>
          </a:fontRef>
        </p:style>
        <p:txBody>
          <a:bodyPr lIns="91260" tIns="45639" rIns="91260" bIns="45639" anchor="ctr"/>
          <a:lstStyle/>
          <a:p>
            <a:pPr algn="ctr" fontAlgn="auto">
              <a:spcBef>
                <a:spcPts val="0"/>
              </a:spcBef>
              <a:spcAft>
                <a:spcPts val="0"/>
              </a:spcAft>
              <a:defRPr/>
            </a:pPr>
            <a:endParaRPr lang="fr-FR">
              <a:solidFill>
                <a:schemeClr val="tx1"/>
              </a:solidFill>
            </a:endParaRPr>
          </a:p>
        </p:txBody>
      </p:sp>
      <p:sp>
        <p:nvSpPr>
          <p:cNvPr id="25" name="Chevron 24">
            <a:extLst>
              <a:ext uri="{FF2B5EF4-FFF2-40B4-BE49-F238E27FC236}">
                <a16:creationId xmlns="" xmlns:a16="http://schemas.microsoft.com/office/drawing/2014/main" id="{B97424EB-DA70-4901-B78C-670A5FD371DE}"/>
              </a:ext>
            </a:extLst>
          </p:cNvPr>
          <p:cNvSpPr/>
          <p:nvPr/>
        </p:nvSpPr>
        <p:spPr>
          <a:xfrm rot="20746506">
            <a:off x="4829175" y="2825750"/>
            <a:ext cx="1952625" cy="207963"/>
          </a:xfrm>
          <a:prstGeom prst="chevron">
            <a:avLst/>
          </a:prstGeom>
        </p:spPr>
        <p:style>
          <a:lnRef idx="2">
            <a:schemeClr val="accent2">
              <a:shade val="50000"/>
            </a:schemeClr>
          </a:lnRef>
          <a:fillRef idx="1">
            <a:schemeClr val="accent2"/>
          </a:fillRef>
          <a:effectRef idx="0">
            <a:schemeClr val="accent2"/>
          </a:effectRef>
          <a:fontRef idx="minor">
            <a:schemeClr val="lt1"/>
          </a:fontRef>
        </p:style>
        <p:txBody>
          <a:bodyPr lIns="91260" tIns="45639" rIns="91260" bIns="45639" anchor="ctr"/>
          <a:lstStyle/>
          <a:p>
            <a:pPr algn="ctr" fontAlgn="auto">
              <a:spcBef>
                <a:spcPts val="0"/>
              </a:spcBef>
              <a:spcAft>
                <a:spcPts val="0"/>
              </a:spcAft>
              <a:defRPr/>
            </a:pPr>
            <a:endParaRPr lang="fr-FR">
              <a:solidFill>
                <a:schemeClr val="tx1"/>
              </a:solidFill>
            </a:endParaRPr>
          </a:p>
        </p:txBody>
      </p:sp>
      <p:sp>
        <p:nvSpPr>
          <p:cNvPr id="26" name="Chevron 25">
            <a:extLst>
              <a:ext uri="{FF2B5EF4-FFF2-40B4-BE49-F238E27FC236}">
                <a16:creationId xmlns="" xmlns:a16="http://schemas.microsoft.com/office/drawing/2014/main" id="{AAACD567-AA0B-46EF-9470-DC9BB86FDE68}"/>
              </a:ext>
            </a:extLst>
          </p:cNvPr>
          <p:cNvSpPr/>
          <p:nvPr/>
        </p:nvSpPr>
        <p:spPr>
          <a:xfrm>
            <a:off x="395288" y="5289550"/>
            <a:ext cx="8497887" cy="587375"/>
          </a:xfrm>
          <a:prstGeom prst="chevron">
            <a:avLst/>
          </a:prstGeom>
        </p:spPr>
        <p:style>
          <a:lnRef idx="2">
            <a:schemeClr val="accent2">
              <a:shade val="50000"/>
            </a:schemeClr>
          </a:lnRef>
          <a:fillRef idx="1">
            <a:schemeClr val="accent2"/>
          </a:fillRef>
          <a:effectRef idx="0">
            <a:schemeClr val="accent2"/>
          </a:effectRef>
          <a:fontRef idx="minor">
            <a:schemeClr val="lt1"/>
          </a:fontRef>
        </p:style>
        <p:txBody>
          <a:bodyPr lIns="91260" tIns="45639" rIns="91260" bIns="45639" anchor="ctr"/>
          <a:lstStyle/>
          <a:p>
            <a:pPr algn="ctr" fontAlgn="auto">
              <a:spcBef>
                <a:spcPts val="0"/>
              </a:spcBef>
              <a:spcAft>
                <a:spcPts val="0"/>
              </a:spcAft>
              <a:defRPr/>
            </a:pPr>
            <a:r>
              <a:rPr lang="fr-FR" sz="2000" b="1" dirty="0"/>
              <a:t>Les financeurs peuvent être convoqués d’emblée</a:t>
            </a:r>
          </a:p>
          <a:p>
            <a:pPr algn="ctr" fontAlgn="auto">
              <a:spcBef>
                <a:spcPts val="0"/>
              </a:spcBef>
              <a:spcAft>
                <a:spcPts val="0"/>
              </a:spcAft>
              <a:defRPr/>
            </a:pPr>
            <a:r>
              <a:rPr lang="fr-FR" sz="2000" b="1" dirty="0"/>
              <a:t>si les blocages sont anticipés</a:t>
            </a:r>
          </a:p>
        </p:txBody>
      </p:sp>
      <p:sp>
        <p:nvSpPr>
          <p:cNvPr id="21516" name="ZoneTexte 5">
            <a:extLst>
              <a:ext uri="{FF2B5EF4-FFF2-40B4-BE49-F238E27FC236}">
                <a16:creationId xmlns="" xmlns:a16="http://schemas.microsoft.com/office/drawing/2014/main" id="{EB9D6DE6-8375-4465-B50D-BDE01AC6EB24}"/>
              </a:ext>
            </a:extLst>
          </p:cNvPr>
          <p:cNvSpPr txBox="1">
            <a:spLocks noChangeArrowheads="1"/>
          </p:cNvSpPr>
          <p:nvPr/>
        </p:nvSpPr>
        <p:spPr bwMode="auto">
          <a:xfrm>
            <a:off x="3038475" y="2684463"/>
            <a:ext cx="1855788"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60" tIns="45639" rIns="91260" bIns="45639">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500">
                <a:latin typeface="Calibri" panose="020F0502020204030204" pitchFamily="34" charset="0"/>
              </a:rPr>
              <a:t>GOS sans financeurs</a:t>
            </a:r>
          </a:p>
        </p:txBody>
      </p:sp>
      <p:sp>
        <p:nvSpPr>
          <p:cNvPr id="21517" name="ZoneTexte 15">
            <a:extLst>
              <a:ext uri="{FF2B5EF4-FFF2-40B4-BE49-F238E27FC236}">
                <a16:creationId xmlns="" xmlns:a16="http://schemas.microsoft.com/office/drawing/2014/main" id="{C72ADA86-3376-4630-8035-DC35A7C4DF74}"/>
              </a:ext>
            </a:extLst>
          </p:cNvPr>
          <p:cNvSpPr txBox="1">
            <a:spLocks noChangeArrowheads="1"/>
          </p:cNvSpPr>
          <p:nvPr/>
        </p:nvSpPr>
        <p:spPr bwMode="auto">
          <a:xfrm>
            <a:off x="6956425" y="1755775"/>
            <a:ext cx="1901825"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60" tIns="45639" rIns="91260" bIns="45639">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500">
                <a:latin typeface="Calibri" panose="020F0502020204030204" pitchFamily="34" charset="0"/>
              </a:rPr>
              <a:t>GOS avec financeurs</a:t>
            </a:r>
          </a:p>
        </p:txBody>
      </p:sp>
      <p:sp>
        <p:nvSpPr>
          <p:cNvPr id="21518" name="ZoneTexte 16">
            <a:extLst>
              <a:ext uri="{FF2B5EF4-FFF2-40B4-BE49-F238E27FC236}">
                <a16:creationId xmlns="" xmlns:a16="http://schemas.microsoft.com/office/drawing/2014/main" id="{D41185A1-98B9-4A33-AAAB-1C1CE33740DF}"/>
              </a:ext>
            </a:extLst>
          </p:cNvPr>
          <p:cNvSpPr txBox="1">
            <a:spLocks noChangeArrowheads="1"/>
          </p:cNvSpPr>
          <p:nvPr/>
        </p:nvSpPr>
        <p:spPr bwMode="auto">
          <a:xfrm>
            <a:off x="107950" y="2592388"/>
            <a:ext cx="2735263"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60" tIns="45639" rIns="91260" bIns="45639">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500" dirty="0">
                <a:latin typeface="Calibri" panose="020F0502020204030204" pitchFamily="34" charset="0"/>
              </a:rPr>
              <a:t>Situation confirmée par l’EP</a:t>
            </a:r>
          </a:p>
          <a:p>
            <a:pPr eaLnBrk="1" hangingPunct="1">
              <a:spcBef>
                <a:spcPct val="0"/>
              </a:spcBef>
              <a:buFontTx/>
              <a:buNone/>
            </a:pPr>
            <a:r>
              <a:rPr lang="fr-FR" altLang="fr-FR" sz="1500" dirty="0">
                <a:latin typeface="Calibri" panose="020F0502020204030204" pitchFamily="34" charset="0"/>
              </a:rPr>
              <a:t>Les besoins sont identifiés</a:t>
            </a:r>
          </a:p>
        </p:txBody>
      </p:sp>
      <p:sp>
        <p:nvSpPr>
          <p:cNvPr id="4" name="Triangle isocèle 3">
            <a:extLst>
              <a:ext uri="{FF2B5EF4-FFF2-40B4-BE49-F238E27FC236}">
                <a16:creationId xmlns="" xmlns:a16="http://schemas.microsoft.com/office/drawing/2014/main" id="{43A85BF4-D3BF-4FA4-8DD8-068473AF1BE9}"/>
              </a:ext>
            </a:extLst>
          </p:cNvPr>
          <p:cNvSpPr/>
          <p:nvPr/>
        </p:nvSpPr>
        <p:spPr>
          <a:xfrm rot="10800000">
            <a:off x="3444875" y="1916113"/>
            <a:ext cx="1009650" cy="73660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1520" name="ZoneTexte 2">
            <a:extLst>
              <a:ext uri="{FF2B5EF4-FFF2-40B4-BE49-F238E27FC236}">
                <a16:creationId xmlns="" xmlns:a16="http://schemas.microsoft.com/office/drawing/2014/main" id="{8F2016D3-D050-4A1A-82CE-9D916EBA7274}"/>
              </a:ext>
            </a:extLst>
          </p:cNvPr>
          <p:cNvSpPr txBox="1">
            <a:spLocks noChangeArrowheads="1"/>
          </p:cNvSpPr>
          <p:nvPr/>
        </p:nvSpPr>
        <p:spPr bwMode="auto">
          <a:xfrm>
            <a:off x="3444875" y="1916113"/>
            <a:ext cx="100965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eaLnBrk="1" hangingPunct="1">
              <a:spcBef>
                <a:spcPct val="0"/>
              </a:spcBef>
              <a:buFontTx/>
              <a:buNone/>
            </a:pPr>
            <a:r>
              <a:rPr lang="fr-FR" altLang="fr-FR" sz="1800">
                <a:solidFill>
                  <a:schemeClr val="bg1"/>
                </a:solidFill>
                <a:latin typeface="Calibri" panose="020F0502020204030204" pitchFamily="34" charset="0"/>
              </a:rPr>
              <a:t>GOS </a:t>
            </a:r>
          </a:p>
          <a:p>
            <a:pPr algn="ctr" eaLnBrk="1" hangingPunct="1">
              <a:spcBef>
                <a:spcPct val="0"/>
              </a:spcBef>
              <a:buFontTx/>
              <a:buNone/>
            </a:pPr>
            <a:r>
              <a:rPr lang="fr-FR" altLang="fr-FR" sz="1800">
                <a:solidFill>
                  <a:schemeClr val="bg1"/>
                </a:solidFill>
                <a:latin typeface="Calibri" panose="020F0502020204030204" pitchFamily="34" charset="0"/>
              </a:rPr>
              <a:t>1</a:t>
            </a:r>
          </a:p>
        </p:txBody>
      </p:sp>
      <p:sp>
        <p:nvSpPr>
          <p:cNvPr id="17" name="Triangle isocèle 16">
            <a:extLst>
              <a:ext uri="{FF2B5EF4-FFF2-40B4-BE49-F238E27FC236}">
                <a16:creationId xmlns="" xmlns:a16="http://schemas.microsoft.com/office/drawing/2014/main" id="{3CBA3528-0293-4039-829C-536D541F9F81}"/>
              </a:ext>
            </a:extLst>
          </p:cNvPr>
          <p:cNvSpPr/>
          <p:nvPr/>
        </p:nvSpPr>
        <p:spPr>
          <a:xfrm rot="10800000">
            <a:off x="7223125" y="996950"/>
            <a:ext cx="1009650" cy="735013"/>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1522" name="ZoneTexte 17">
            <a:extLst>
              <a:ext uri="{FF2B5EF4-FFF2-40B4-BE49-F238E27FC236}">
                <a16:creationId xmlns="" xmlns:a16="http://schemas.microsoft.com/office/drawing/2014/main" id="{5DD57127-5491-4C28-BA22-63B73E813B35}"/>
              </a:ext>
            </a:extLst>
          </p:cNvPr>
          <p:cNvSpPr txBox="1">
            <a:spLocks noChangeArrowheads="1"/>
          </p:cNvSpPr>
          <p:nvPr/>
        </p:nvSpPr>
        <p:spPr bwMode="auto">
          <a:xfrm>
            <a:off x="7402513" y="996950"/>
            <a:ext cx="10096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800">
                <a:solidFill>
                  <a:schemeClr val="bg1"/>
                </a:solidFill>
                <a:latin typeface="Calibri" panose="020F0502020204030204" pitchFamily="34" charset="0"/>
              </a:rPr>
              <a:t>GOS </a:t>
            </a:r>
          </a:p>
          <a:p>
            <a:pPr eaLnBrk="1" hangingPunct="1">
              <a:spcBef>
                <a:spcPct val="0"/>
              </a:spcBef>
              <a:buFontTx/>
              <a:buNone/>
            </a:pPr>
            <a:r>
              <a:rPr lang="fr-FR" altLang="fr-FR" sz="1800">
                <a:solidFill>
                  <a:schemeClr val="bg1"/>
                </a:solidFill>
                <a:latin typeface="Calibri" panose="020F0502020204030204" pitchFamily="34" charset="0"/>
              </a:rPr>
              <a:t>   2</a:t>
            </a:r>
          </a:p>
        </p:txBody>
      </p:sp>
      <p:sp>
        <p:nvSpPr>
          <p:cNvPr id="21523" name="ZoneTexte 16">
            <a:extLst>
              <a:ext uri="{FF2B5EF4-FFF2-40B4-BE49-F238E27FC236}">
                <a16:creationId xmlns="" xmlns:a16="http://schemas.microsoft.com/office/drawing/2014/main" id="{A4027344-B7F0-4BAC-AA2E-5E4F876D942B}"/>
              </a:ext>
            </a:extLst>
          </p:cNvPr>
          <p:cNvSpPr txBox="1">
            <a:spLocks noChangeArrowheads="1"/>
          </p:cNvSpPr>
          <p:nvPr/>
        </p:nvSpPr>
        <p:spPr bwMode="auto">
          <a:xfrm rot="-902672">
            <a:off x="4845050" y="2295525"/>
            <a:ext cx="1800225"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60" tIns="45639" rIns="91260" bIns="45639">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500" i="1">
                <a:latin typeface="Calibri" panose="020F0502020204030204" pitchFamily="34" charset="0"/>
              </a:rPr>
              <a:t>Selon les situations</a:t>
            </a:r>
          </a:p>
        </p:txBody>
      </p:sp>
      <p:sp>
        <p:nvSpPr>
          <p:cNvPr id="21524" name="ZoneTexte 22">
            <a:extLst>
              <a:ext uri="{FF2B5EF4-FFF2-40B4-BE49-F238E27FC236}">
                <a16:creationId xmlns="" xmlns:a16="http://schemas.microsoft.com/office/drawing/2014/main" id="{E9C93851-73B3-48FA-AB91-AFB883A4241C}"/>
              </a:ext>
            </a:extLst>
          </p:cNvPr>
          <p:cNvSpPr txBox="1">
            <a:spLocks noChangeArrowheads="1"/>
          </p:cNvSpPr>
          <p:nvPr/>
        </p:nvSpPr>
        <p:spPr bwMode="auto">
          <a:xfrm>
            <a:off x="7151688" y="3268663"/>
            <a:ext cx="1930400" cy="147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60" tIns="45639" rIns="91260" bIns="45639">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just" eaLnBrk="1" hangingPunct="1">
              <a:spcBef>
                <a:spcPct val="0"/>
              </a:spcBef>
              <a:buFontTx/>
              <a:buNone/>
            </a:pPr>
            <a:r>
              <a:rPr lang="fr-FR" altLang="fr-FR" sz="1500" b="0">
                <a:latin typeface="Calibri" panose="020F0502020204030204" pitchFamily="34" charset="0"/>
              </a:rPr>
              <a:t>*Examine les propositions du GOS 1 </a:t>
            </a:r>
          </a:p>
          <a:p>
            <a:pPr algn="just" eaLnBrk="1" hangingPunct="1">
              <a:spcBef>
                <a:spcPct val="0"/>
              </a:spcBef>
              <a:buFontTx/>
              <a:buNone/>
            </a:pPr>
            <a:r>
              <a:rPr lang="fr-FR" altLang="fr-FR" sz="1500" b="0">
                <a:latin typeface="Calibri" panose="020F0502020204030204" pitchFamily="34" charset="0"/>
              </a:rPr>
              <a:t>*Détermine les leviers ou moyens pour mettre en œuvre </a:t>
            </a:r>
            <a:r>
              <a:rPr lang="fr-FR" altLang="fr-FR" sz="1500" b="0" i="1">
                <a:latin typeface="Calibri" panose="020F0502020204030204" pitchFamily="34" charset="0"/>
              </a:rPr>
              <a:t>(pas seulement financier)</a:t>
            </a:r>
          </a:p>
        </p:txBody>
      </p:sp>
    </p:spTree>
  </p:cSld>
  <p:clrMapOvr>
    <a:masterClrMapping/>
  </p:clrMapOvr>
  <p:transition spd="slow">
    <p:cove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80">
                                          <p:stCondLst>
                                            <p:cond delay="0"/>
                                          </p:stCondLst>
                                        </p:cTn>
                                        <p:tgtEl>
                                          <p:spTgt spid="4"/>
                                        </p:tgtEl>
                                      </p:cBhvr>
                                    </p:animEffect>
                                    <p:anim calcmode="lin" valueType="num">
                                      <p:cBhvr>
                                        <p:cTn id="8" dur="1822" tmFilter="0,0; 0.14,0.36; 0.43,0.73; 0.71,0.91; 1.0,1.0">
                                          <p:stCondLst>
                                            <p:cond delay="0"/>
                                          </p:stCondLst>
                                        </p:cTn>
                                        <p:tgtEl>
                                          <p:spTgt spid="4"/>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4"/>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4"/>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4"/>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4"/>
                                        </p:tgtEl>
                                        <p:attrNameLst>
                                          <p:attrName>ppt_y</p:attrName>
                                        </p:attrNameLst>
                                      </p:cBhvr>
                                      <p:tavLst>
                                        <p:tav tm="0" fmla="#ppt_y-sin(pi*$)/81">
                                          <p:val>
                                            <p:fltVal val="0"/>
                                          </p:val>
                                        </p:tav>
                                        <p:tav tm="100000">
                                          <p:val>
                                            <p:fltVal val="1"/>
                                          </p:val>
                                        </p:tav>
                                      </p:tavLst>
                                    </p:anim>
                                    <p:animScale>
                                      <p:cBhvr>
                                        <p:cTn id="13" dur="26">
                                          <p:stCondLst>
                                            <p:cond delay="650"/>
                                          </p:stCondLst>
                                        </p:cTn>
                                        <p:tgtEl>
                                          <p:spTgt spid="4"/>
                                        </p:tgtEl>
                                      </p:cBhvr>
                                      <p:to x="100000" y="60000"/>
                                    </p:animScale>
                                    <p:animScale>
                                      <p:cBhvr>
                                        <p:cTn id="14" dur="166" decel="50000">
                                          <p:stCondLst>
                                            <p:cond delay="676"/>
                                          </p:stCondLst>
                                        </p:cTn>
                                        <p:tgtEl>
                                          <p:spTgt spid="4"/>
                                        </p:tgtEl>
                                      </p:cBhvr>
                                      <p:to x="100000" y="100000"/>
                                    </p:animScale>
                                    <p:animScale>
                                      <p:cBhvr>
                                        <p:cTn id="15" dur="26">
                                          <p:stCondLst>
                                            <p:cond delay="1312"/>
                                          </p:stCondLst>
                                        </p:cTn>
                                        <p:tgtEl>
                                          <p:spTgt spid="4"/>
                                        </p:tgtEl>
                                      </p:cBhvr>
                                      <p:to x="100000" y="80000"/>
                                    </p:animScale>
                                    <p:animScale>
                                      <p:cBhvr>
                                        <p:cTn id="16" dur="166" decel="50000">
                                          <p:stCondLst>
                                            <p:cond delay="1338"/>
                                          </p:stCondLst>
                                        </p:cTn>
                                        <p:tgtEl>
                                          <p:spTgt spid="4"/>
                                        </p:tgtEl>
                                      </p:cBhvr>
                                      <p:to x="100000" y="100000"/>
                                    </p:animScale>
                                    <p:animScale>
                                      <p:cBhvr>
                                        <p:cTn id="17" dur="26">
                                          <p:stCondLst>
                                            <p:cond delay="1642"/>
                                          </p:stCondLst>
                                        </p:cTn>
                                        <p:tgtEl>
                                          <p:spTgt spid="4"/>
                                        </p:tgtEl>
                                      </p:cBhvr>
                                      <p:to x="100000" y="90000"/>
                                    </p:animScale>
                                    <p:animScale>
                                      <p:cBhvr>
                                        <p:cTn id="18" dur="166" decel="50000">
                                          <p:stCondLst>
                                            <p:cond delay="1668"/>
                                          </p:stCondLst>
                                        </p:cTn>
                                        <p:tgtEl>
                                          <p:spTgt spid="4"/>
                                        </p:tgtEl>
                                      </p:cBhvr>
                                      <p:to x="100000" y="100000"/>
                                    </p:animScale>
                                    <p:animScale>
                                      <p:cBhvr>
                                        <p:cTn id="19" dur="26">
                                          <p:stCondLst>
                                            <p:cond delay="1808"/>
                                          </p:stCondLst>
                                        </p:cTn>
                                        <p:tgtEl>
                                          <p:spTgt spid="4"/>
                                        </p:tgtEl>
                                      </p:cBhvr>
                                      <p:to x="100000" y="95000"/>
                                    </p:animScale>
                                    <p:animScale>
                                      <p:cBhvr>
                                        <p:cTn id="20" dur="166" decel="50000">
                                          <p:stCondLst>
                                            <p:cond delay="1834"/>
                                          </p:stCondLst>
                                        </p:cTn>
                                        <p:tgtEl>
                                          <p:spTgt spid="4"/>
                                        </p:tgtEl>
                                      </p:cBhvr>
                                      <p:to x="100000" y="100000"/>
                                    </p:animScale>
                                  </p:childTnLst>
                                </p:cTn>
                              </p:par>
                            </p:childTnLst>
                          </p:cTn>
                        </p:par>
                      </p:childTnLst>
                    </p:cTn>
                  </p:par>
                  <p:par>
                    <p:cTn id="21" fill="hold" nodeType="clickPar">
                      <p:stCondLst>
                        <p:cond delay="indefinite"/>
                      </p:stCondLst>
                      <p:childTnLst>
                        <p:par>
                          <p:cTn id="22" fill="hold" nodeType="withGroup">
                            <p:stCondLst>
                              <p:cond delay="0"/>
                            </p:stCondLst>
                            <p:childTnLst>
                              <p:par>
                                <p:cTn id="23" presetID="26"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wipe(down)">
                                      <p:cBhvr>
                                        <p:cTn id="25" dur="580">
                                          <p:stCondLst>
                                            <p:cond delay="0"/>
                                          </p:stCondLst>
                                        </p:cTn>
                                        <p:tgtEl>
                                          <p:spTgt spid="17"/>
                                        </p:tgtEl>
                                      </p:cBhvr>
                                    </p:animEffect>
                                    <p:anim calcmode="lin" valueType="num">
                                      <p:cBhvr>
                                        <p:cTn id="26" dur="1822" tmFilter="0,0; 0.14,0.36; 0.43,0.73; 0.71,0.91; 1.0,1.0">
                                          <p:stCondLst>
                                            <p:cond delay="0"/>
                                          </p:stCondLst>
                                        </p:cTn>
                                        <p:tgtEl>
                                          <p:spTgt spid="17"/>
                                        </p:tgtEl>
                                        <p:attrNameLst>
                                          <p:attrName>ppt_x</p:attrName>
                                        </p:attrNameLst>
                                      </p:cBhvr>
                                      <p:tavLst>
                                        <p:tav tm="0">
                                          <p:val>
                                            <p:strVal val="#ppt_x-0.25"/>
                                          </p:val>
                                        </p:tav>
                                        <p:tav tm="100000">
                                          <p:val>
                                            <p:strVal val="#ppt_x"/>
                                          </p:val>
                                        </p:tav>
                                      </p:tavLst>
                                    </p:anim>
                                    <p:anim calcmode="lin" valueType="num">
                                      <p:cBhvr>
                                        <p:cTn id="27" dur="664" tmFilter="0.0,0.0; 0.25,0.07; 0.50,0.2; 0.75,0.467; 1.0,1.0">
                                          <p:stCondLst>
                                            <p:cond delay="0"/>
                                          </p:stCondLst>
                                        </p:cTn>
                                        <p:tgtEl>
                                          <p:spTgt spid="17"/>
                                        </p:tgtEl>
                                        <p:attrNameLst>
                                          <p:attrName>ppt_y</p:attrName>
                                        </p:attrNameLst>
                                      </p:cBhvr>
                                      <p:tavLst>
                                        <p:tav tm="0" fmla="#ppt_y-sin(pi*$)/3">
                                          <p:val>
                                            <p:fltVal val="0.5"/>
                                          </p:val>
                                        </p:tav>
                                        <p:tav tm="100000">
                                          <p:val>
                                            <p:fltVal val="1"/>
                                          </p:val>
                                        </p:tav>
                                      </p:tavLst>
                                    </p:anim>
                                    <p:anim calcmode="lin" valueType="num">
                                      <p:cBhvr>
                                        <p:cTn id="28" dur="664" tmFilter="0, 0; 0.125,0.2665; 0.25,0.4; 0.375,0.465; 0.5,0.5;  0.625,0.535; 0.75,0.6; 0.875,0.7335; 1,1">
                                          <p:stCondLst>
                                            <p:cond delay="664"/>
                                          </p:stCondLst>
                                        </p:cTn>
                                        <p:tgtEl>
                                          <p:spTgt spid="17"/>
                                        </p:tgtEl>
                                        <p:attrNameLst>
                                          <p:attrName>ppt_y</p:attrName>
                                        </p:attrNameLst>
                                      </p:cBhvr>
                                      <p:tavLst>
                                        <p:tav tm="0" fmla="#ppt_y-sin(pi*$)/9">
                                          <p:val>
                                            <p:fltVal val="0"/>
                                          </p:val>
                                        </p:tav>
                                        <p:tav tm="100000">
                                          <p:val>
                                            <p:fltVal val="1"/>
                                          </p:val>
                                        </p:tav>
                                      </p:tavLst>
                                    </p:anim>
                                    <p:anim calcmode="lin" valueType="num">
                                      <p:cBhvr>
                                        <p:cTn id="29" dur="332" tmFilter="0, 0; 0.125,0.2665; 0.25,0.4; 0.375,0.465; 0.5,0.5;  0.625,0.535; 0.75,0.6; 0.875,0.7335; 1,1">
                                          <p:stCondLst>
                                            <p:cond delay="1324"/>
                                          </p:stCondLst>
                                        </p:cTn>
                                        <p:tgtEl>
                                          <p:spTgt spid="17"/>
                                        </p:tgtEl>
                                        <p:attrNameLst>
                                          <p:attrName>ppt_y</p:attrName>
                                        </p:attrNameLst>
                                      </p:cBhvr>
                                      <p:tavLst>
                                        <p:tav tm="0" fmla="#ppt_y-sin(pi*$)/27">
                                          <p:val>
                                            <p:fltVal val="0"/>
                                          </p:val>
                                        </p:tav>
                                        <p:tav tm="100000">
                                          <p:val>
                                            <p:fltVal val="1"/>
                                          </p:val>
                                        </p:tav>
                                      </p:tavLst>
                                    </p:anim>
                                    <p:anim calcmode="lin" valueType="num">
                                      <p:cBhvr>
                                        <p:cTn id="30" dur="164" tmFilter="0, 0; 0.125,0.2665; 0.25,0.4; 0.375,0.465; 0.5,0.5;  0.625,0.535; 0.75,0.6; 0.875,0.7335; 1,1">
                                          <p:stCondLst>
                                            <p:cond delay="1656"/>
                                          </p:stCondLst>
                                        </p:cTn>
                                        <p:tgtEl>
                                          <p:spTgt spid="17"/>
                                        </p:tgtEl>
                                        <p:attrNameLst>
                                          <p:attrName>ppt_y</p:attrName>
                                        </p:attrNameLst>
                                      </p:cBhvr>
                                      <p:tavLst>
                                        <p:tav tm="0" fmla="#ppt_y-sin(pi*$)/81">
                                          <p:val>
                                            <p:fltVal val="0"/>
                                          </p:val>
                                        </p:tav>
                                        <p:tav tm="100000">
                                          <p:val>
                                            <p:fltVal val="1"/>
                                          </p:val>
                                        </p:tav>
                                      </p:tavLst>
                                    </p:anim>
                                    <p:animScale>
                                      <p:cBhvr>
                                        <p:cTn id="31" dur="26">
                                          <p:stCondLst>
                                            <p:cond delay="650"/>
                                          </p:stCondLst>
                                        </p:cTn>
                                        <p:tgtEl>
                                          <p:spTgt spid="17"/>
                                        </p:tgtEl>
                                      </p:cBhvr>
                                      <p:to x="100000" y="60000"/>
                                    </p:animScale>
                                    <p:animScale>
                                      <p:cBhvr>
                                        <p:cTn id="32" dur="166" decel="50000">
                                          <p:stCondLst>
                                            <p:cond delay="676"/>
                                          </p:stCondLst>
                                        </p:cTn>
                                        <p:tgtEl>
                                          <p:spTgt spid="17"/>
                                        </p:tgtEl>
                                      </p:cBhvr>
                                      <p:to x="100000" y="100000"/>
                                    </p:animScale>
                                    <p:animScale>
                                      <p:cBhvr>
                                        <p:cTn id="33" dur="26">
                                          <p:stCondLst>
                                            <p:cond delay="1312"/>
                                          </p:stCondLst>
                                        </p:cTn>
                                        <p:tgtEl>
                                          <p:spTgt spid="17"/>
                                        </p:tgtEl>
                                      </p:cBhvr>
                                      <p:to x="100000" y="80000"/>
                                    </p:animScale>
                                    <p:animScale>
                                      <p:cBhvr>
                                        <p:cTn id="34" dur="166" decel="50000">
                                          <p:stCondLst>
                                            <p:cond delay="1338"/>
                                          </p:stCondLst>
                                        </p:cTn>
                                        <p:tgtEl>
                                          <p:spTgt spid="17"/>
                                        </p:tgtEl>
                                      </p:cBhvr>
                                      <p:to x="100000" y="100000"/>
                                    </p:animScale>
                                    <p:animScale>
                                      <p:cBhvr>
                                        <p:cTn id="35" dur="26">
                                          <p:stCondLst>
                                            <p:cond delay="1642"/>
                                          </p:stCondLst>
                                        </p:cTn>
                                        <p:tgtEl>
                                          <p:spTgt spid="17"/>
                                        </p:tgtEl>
                                      </p:cBhvr>
                                      <p:to x="100000" y="90000"/>
                                    </p:animScale>
                                    <p:animScale>
                                      <p:cBhvr>
                                        <p:cTn id="36" dur="166" decel="50000">
                                          <p:stCondLst>
                                            <p:cond delay="1668"/>
                                          </p:stCondLst>
                                        </p:cTn>
                                        <p:tgtEl>
                                          <p:spTgt spid="17"/>
                                        </p:tgtEl>
                                      </p:cBhvr>
                                      <p:to x="100000" y="100000"/>
                                    </p:animScale>
                                    <p:animScale>
                                      <p:cBhvr>
                                        <p:cTn id="37" dur="26">
                                          <p:stCondLst>
                                            <p:cond delay="1808"/>
                                          </p:stCondLst>
                                        </p:cTn>
                                        <p:tgtEl>
                                          <p:spTgt spid="17"/>
                                        </p:tgtEl>
                                      </p:cBhvr>
                                      <p:to x="100000" y="95000"/>
                                    </p:animScale>
                                    <p:animScale>
                                      <p:cBhvr>
                                        <p:cTn id="38" dur="166" decel="50000">
                                          <p:stCondLst>
                                            <p:cond delay="1834"/>
                                          </p:stCondLst>
                                        </p:cTn>
                                        <p:tgtEl>
                                          <p:spTgt spid="17"/>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61" name="Rectangle 25">
            <a:extLst>
              <a:ext uri="{FF2B5EF4-FFF2-40B4-BE49-F238E27FC236}">
                <a16:creationId xmlns="" xmlns:a16="http://schemas.microsoft.com/office/drawing/2014/main" id="{12E919EB-3E4D-4446-844A-8F68AA3C8675}"/>
              </a:ext>
            </a:extLst>
          </p:cNvPr>
          <p:cNvSpPr>
            <a:spLocks noChangeArrowheads="1"/>
          </p:cNvSpPr>
          <p:nvPr/>
        </p:nvSpPr>
        <p:spPr bwMode="auto">
          <a:xfrm>
            <a:off x="468313" y="981075"/>
            <a:ext cx="8207375" cy="4679950"/>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lIns="91255" tIns="45636" rIns="91255" bIns="45636" anchor="ctr"/>
          <a:lstStyle>
            <a:lvl1pPr marL="169863" indent="-169863" defTabSz="911225" eaLnBrk="0" hangingPunct="0">
              <a:spcBef>
                <a:spcPts val="800"/>
              </a:spcBef>
              <a:buFont typeface="Arial" pitchFamily="34" charset="0"/>
              <a:defRPr sz="1600" b="1">
                <a:solidFill>
                  <a:schemeClr val="tx1"/>
                </a:solidFill>
                <a:latin typeface="Franklin Gothic Book"/>
              </a:defRPr>
            </a:lvl1pPr>
            <a:lvl2pPr marL="742950" indent="-285750" defTabSz="911225" eaLnBrk="0" hangingPunct="0">
              <a:spcBef>
                <a:spcPts val="300"/>
              </a:spcBef>
              <a:buClr>
                <a:schemeClr val="accent2"/>
              </a:buClr>
              <a:buFont typeface="Wingdings" pitchFamily="2" charset="2"/>
              <a:buChar char="§"/>
              <a:defRPr sz="1600">
                <a:solidFill>
                  <a:schemeClr val="tx1"/>
                </a:solidFill>
                <a:latin typeface="Franklin Gothic Book"/>
              </a:defRPr>
            </a:lvl2pPr>
            <a:lvl3pPr marL="1143000" indent="-228600" defTabSz="911225" eaLnBrk="0" hangingPunct="0">
              <a:spcBef>
                <a:spcPts val="300"/>
              </a:spcBef>
              <a:buClr>
                <a:schemeClr val="accent2"/>
              </a:buClr>
              <a:buFont typeface="Wingdings" pitchFamily="2" charset="2"/>
              <a:buChar char="§"/>
              <a:defRPr sz="1600">
                <a:solidFill>
                  <a:schemeClr val="tx1"/>
                </a:solidFill>
                <a:latin typeface="Franklin Gothic Book"/>
              </a:defRPr>
            </a:lvl3pPr>
            <a:lvl4pPr marL="1600200" indent="-228600" defTabSz="911225" eaLnBrk="0" hangingPunct="0">
              <a:spcBef>
                <a:spcPts val="300"/>
              </a:spcBef>
              <a:buClr>
                <a:schemeClr val="accent2"/>
              </a:buClr>
              <a:buFont typeface="Wingdings" pitchFamily="2" charset="2"/>
              <a:buChar char="§"/>
              <a:defRPr sz="1600">
                <a:solidFill>
                  <a:schemeClr val="tx1"/>
                </a:solidFill>
                <a:latin typeface="Franklin Gothic Book"/>
              </a:defRPr>
            </a:lvl4pPr>
            <a:lvl5pPr marL="2057400" indent="-228600" defTabSz="911225" eaLnBrk="0" hangingPunct="0">
              <a:spcBef>
                <a:spcPts val="300"/>
              </a:spcBef>
              <a:buClr>
                <a:schemeClr val="accent2"/>
              </a:buClr>
              <a:buFont typeface="Wingdings" pitchFamily="2" charset="2"/>
              <a:buChar char="§"/>
              <a:defRPr sz="1600">
                <a:solidFill>
                  <a:schemeClr val="tx1"/>
                </a:solidFill>
                <a:latin typeface="Franklin Gothic Book"/>
              </a:defRPr>
            </a:lvl5pPr>
            <a:lvl6pPr marL="2514600" indent="-228600" defTabSz="911225" eaLnBrk="0" fontAlgn="base" hangingPunct="0">
              <a:spcBef>
                <a:spcPts val="300"/>
              </a:spcBef>
              <a:spcAft>
                <a:spcPct val="0"/>
              </a:spcAft>
              <a:buClr>
                <a:schemeClr val="accent2"/>
              </a:buClr>
              <a:buFont typeface="Wingdings" pitchFamily="2" charset="2"/>
              <a:buChar char="§"/>
              <a:defRPr sz="1600">
                <a:solidFill>
                  <a:schemeClr val="tx1"/>
                </a:solidFill>
                <a:latin typeface="Franklin Gothic Book"/>
              </a:defRPr>
            </a:lvl6pPr>
            <a:lvl7pPr marL="2971800" indent="-228600" defTabSz="911225" eaLnBrk="0" fontAlgn="base" hangingPunct="0">
              <a:spcBef>
                <a:spcPts val="300"/>
              </a:spcBef>
              <a:spcAft>
                <a:spcPct val="0"/>
              </a:spcAft>
              <a:buClr>
                <a:schemeClr val="accent2"/>
              </a:buClr>
              <a:buFont typeface="Wingdings" pitchFamily="2" charset="2"/>
              <a:buChar char="§"/>
              <a:defRPr sz="1600">
                <a:solidFill>
                  <a:schemeClr val="tx1"/>
                </a:solidFill>
                <a:latin typeface="Franklin Gothic Book"/>
              </a:defRPr>
            </a:lvl7pPr>
            <a:lvl8pPr marL="3429000" indent="-228600" defTabSz="911225" eaLnBrk="0" fontAlgn="base" hangingPunct="0">
              <a:spcBef>
                <a:spcPts val="300"/>
              </a:spcBef>
              <a:spcAft>
                <a:spcPct val="0"/>
              </a:spcAft>
              <a:buClr>
                <a:schemeClr val="accent2"/>
              </a:buClr>
              <a:buFont typeface="Wingdings" pitchFamily="2" charset="2"/>
              <a:buChar char="§"/>
              <a:defRPr sz="1600">
                <a:solidFill>
                  <a:schemeClr val="tx1"/>
                </a:solidFill>
                <a:latin typeface="Franklin Gothic Book"/>
              </a:defRPr>
            </a:lvl8pPr>
            <a:lvl9pPr marL="3886200" indent="-228600" defTabSz="911225" eaLnBrk="0" fontAlgn="base" hangingPunct="0">
              <a:spcBef>
                <a:spcPts val="300"/>
              </a:spcBef>
              <a:spcAft>
                <a:spcPct val="0"/>
              </a:spcAft>
              <a:buClr>
                <a:schemeClr val="accent2"/>
              </a:buClr>
              <a:buFont typeface="Wingdings" pitchFamily="2" charset="2"/>
              <a:buChar char="§"/>
              <a:defRPr sz="1600">
                <a:solidFill>
                  <a:schemeClr val="tx1"/>
                </a:solidFill>
                <a:latin typeface="Franklin Gothic Book"/>
              </a:defRPr>
            </a:lvl9pPr>
          </a:lstStyle>
          <a:p>
            <a:pPr marL="0" indent="0" algn="just">
              <a:spcBef>
                <a:spcPct val="0"/>
              </a:spcBef>
              <a:buClr>
                <a:srgbClr val="10253F"/>
              </a:buClr>
              <a:defRPr/>
            </a:pPr>
            <a:endParaRPr lang="fr-FR" altLang="fr-FR" sz="1500" b="0" i="1" dirty="0">
              <a:solidFill>
                <a:srgbClr val="000000"/>
              </a:solidFill>
              <a:latin typeface="Arial" pitchFamily="34" charset="0"/>
              <a:ea typeface="MS PGothic" pitchFamily="34" charset="-128"/>
            </a:endParaRPr>
          </a:p>
          <a:p>
            <a:pPr algn="just">
              <a:spcBef>
                <a:spcPct val="0"/>
              </a:spcBef>
              <a:buClr>
                <a:srgbClr val="10253F"/>
              </a:buClr>
              <a:buFont typeface="Courier New" pitchFamily="49" charset="0"/>
              <a:buChar char="o"/>
              <a:defRPr/>
            </a:pPr>
            <a:r>
              <a:rPr lang="fr-FR" altLang="fr-FR" sz="1500" b="0" dirty="0">
                <a:solidFill>
                  <a:srgbClr val="000000"/>
                </a:solidFill>
                <a:latin typeface="Arial" pitchFamily="34" charset="0"/>
                <a:ea typeface="MS PGothic" pitchFamily="34" charset="-128"/>
              </a:rPr>
              <a:t>Orientation vers une structure qui n’existe pas sur le territoire </a:t>
            </a:r>
          </a:p>
          <a:p>
            <a:pPr algn="just">
              <a:spcBef>
                <a:spcPct val="0"/>
              </a:spcBef>
              <a:buClr>
                <a:srgbClr val="10253F"/>
              </a:buClr>
              <a:buFont typeface="Courier New" pitchFamily="49" charset="0"/>
              <a:buChar char="o"/>
              <a:defRPr/>
            </a:pPr>
            <a:endParaRPr lang="fr-FR" altLang="fr-FR" sz="1500" b="0" dirty="0">
              <a:solidFill>
                <a:srgbClr val="000000"/>
              </a:solidFill>
              <a:latin typeface="Arial" pitchFamily="34" charset="0"/>
              <a:ea typeface="MS PGothic" pitchFamily="34" charset="-128"/>
            </a:endParaRPr>
          </a:p>
          <a:p>
            <a:pPr algn="just">
              <a:spcBef>
                <a:spcPct val="0"/>
              </a:spcBef>
              <a:buClr>
                <a:srgbClr val="10253F"/>
              </a:buClr>
              <a:buFont typeface="Courier New" pitchFamily="49" charset="0"/>
              <a:buChar char="o"/>
              <a:defRPr/>
            </a:pPr>
            <a:r>
              <a:rPr lang="fr-FR" altLang="fr-FR" sz="1500" b="0" dirty="0">
                <a:solidFill>
                  <a:srgbClr val="000000"/>
                </a:solidFill>
                <a:latin typeface="Arial" pitchFamily="34" charset="0"/>
                <a:ea typeface="MS PGothic" pitchFamily="34" charset="-128"/>
              </a:rPr>
              <a:t>Orientation vers une structure notoirement </a:t>
            </a:r>
            <a:r>
              <a:rPr lang="fr-FR" altLang="fr-FR" sz="1500" b="0" dirty="0" err="1">
                <a:solidFill>
                  <a:srgbClr val="000000"/>
                </a:solidFill>
                <a:latin typeface="Arial" pitchFamily="34" charset="0"/>
                <a:ea typeface="MS PGothic" pitchFamily="34" charset="-128"/>
              </a:rPr>
              <a:t>embolisée</a:t>
            </a:r>
            <a:endParaRPr lang="fr-FR" altLang="fr-FR" sz="1500" b="0" dirty="0">
              <a:solidFill>
                <a:srgbClr val="000000"/>
              </a:solidFill>
              <a:latin typeface="Arial" pitchFamily="34" charset="0"/>
              <a:ea typeface="MS PGothic" pitchFamily="34" charset="-128"/>
            </a:endParaRPr>
          </a:p>
          <a:p>
            <a:pPr algn="just">
              <a:spcBef>
                <a:spcPct val="0"/>
              </a:spcBef>
              <a:buClr>
                <a:srgbClr val="10253F"/>
              </a:buClr>
              <a:buFont typeface="Courier New" pitchFamily="49" charset="0"/>
              <a:buChar char="o"/>
              <a:defRPr/>
            </a:pPr>
            <a:endParaRPr lang="fr-FR" altLang="fr-FR" sz="1500" b="0" dirty="0">
              <a:solidFill>
                <a:srgbClr val="000000"/>
              </a:solidFill>
              <a:latin typeface="Arial" pitchFamily="34" charset="0"/>
              <a:ea typeface="MS PGothic" pitchFamily="34" charset="-128"/>
            </a:endParaRPr>
          </a:p>
          <a:p>
            <a:pPr algn="just">
              <a:spcBef>
                <a:spcPct val="0"/>
              </a:spcBef>
              <a:buClr>
                <a:srgbClr val="10253F"/>
              </a:buClr>
              <a:buFont typeface="Courier New" pitchFamily="49" charset="0"/>
              <a:buChar char="o"/>
              <a:defRPr/>
            </a:pPr>
            <a:r>
              <a:rPr lang="fr-FR" altLang="fr-FR" sz="1500" b="0" dirty="0">
                <a:solidFill>
                  <a:srgbClr val="000000"/>
                </a:solidFill>
                <a:latin typeface="Arial" pitchFamily="34" charset="0"/>
                <a:ea typeface="MS PGothic" pitchFamily="34" charset="-128"/>
              </a:rPr>
              <a:t>Risque de rupture de parcours (déscolarisation, parents vieillissants, rupture familiale, sortie de structures sociales, médico-sociales et sanitaires, épuisement de l'aidant)</a:t>
            </a:r>
          </a:p>
          <a:p>
            <a:pPr algn="just">
              <a:spcBef>
                <a:spcPct val="0"/>
              </a:spcBef>
              <a:buClr>
                <a:srgbClr val="10253F"/>
              </a:buClr>
              <a:buFont typeface="Courier New" pitchFamily="49" charset="0"/>
              <a:buChar char="o"/>
              <a:defRPr/>
            </a:pPr>
            <a:endParaRPr lang="fr-FR" altLang="fr-FR" sz="1500" b="0" dirty="0">
              <a:solidFill>
                <a:srgbClr val="000000"/>
              </a:solidFill>
              <a:latin typeface="Arial" pitchFamily="34" charset="0"/>
              <a:ea typeface="MS PGothic" pitchFamily="34" charset="-128"/>
            </a:endParaRPr>
          </a:p>
          <a:p>
            <a:pPr algn="just">
              <a:spcBef>
                <a:spcPct val="0"/>
              </a:spcBef>
              <a:buClr>
                <a:srgbClr val="10253F"/>
              </a:buClr>
              <a:buFont typeface="Courier New" pitchFamily="49" charset="0"/>
              <a:buChar char="o"/>
              <a:defRPr/>
            </a:pPr>
            <a:r>
              <a:rPr lang="fr-FR" altLang="fr-FR" sz="1500" b="0" dirty="0">
                <a:solidFill>
                  <a:srgbClr val="000000"/>
                </a:solidFill>
                <a:latin typeface="Arial" pitchFamily="34" charset="0"/>
                <a:ea typeface="MS PGothic" pitchFamily="34" charset="-128"/>
              </a:rPr>
              <a:t>Prise en charge non adéquate au long cours (notamment dans le sanitaire)</a:t>
            </a:r>
          </a:p>
          <a:p>
            <a:pPr algn="just">
              <a:spcBef>
                <a:spcPct val="0"/>
              </a:spcBef>
              <a:buClr>
                <a:srgbClr val="10253F"/>
              </a:buClr>
              <a:buFont typeface="Courier New" pitchFamily="49" charset="0"/>
              <a:buChar char="o"/>
              <a:defRPr/>
            </a:pPr>
            <a:endParaRPr lang="fr-FR" altLang="fr-FR" sz="1500" b="0" dirty="0">
              <a:solidFill>
                <a:srgbClr val="000000"/>
              </a:solidFill>
              <a:latin typeface="Arial" pitchFamily="34" charset="0"/>
              <a:ea typeface="MS PGothic" pitchFamily="34" charset="-128"/>
            </a:endParaRPr>
          </a:p>
          <a:p>
            <a:pPr algn="just">
              <a:spcBef>
                <a:spcPct val="0"/>
              </a:spcBef>
              <a:buClr>
                <a:srgbClr val="10253F"/>
              </a:buClr>
              <a:buFont typeface="Courier New" pitchFamily="49" charset="0"/>
              <a:buChar char="o"/>
              <a:defRPr/>
            </a:pPr>
            <a:r>
              <a:rPr lang="fr-FR" altLang="fr-FR" sz="1500" b="0" dirty="0">
                <a:solidFill>
                  <a:srgbClr val="000000"/>
                </a:solidFill>
                <a:latin typeface="Arial" pitchFamily="34" charset="0"/>
                <a:ea typeface="MS PGothic" pitchFamily="34" charset="-128"/>
              </a:rPr>
              <a:t>Facteurs de fragilité (isolement, précarité)</a:t>
            </a:r>
          </a:p>
          <a:p>
            <a:pPr algn="just">
              <a:spcBef>
                <a:spcPct val="0"/>
              </a:spcBef>
              <a:buClr>
                <a:srgbClr val="10253F"/>
              </a:buClr>
              <a:buFont typeface="Courier New" pitchFamily="49" charset="0"/>
              <a:buChar char="o"/>
              <a:defRPr/>
            </a:pPr>
            <a:endParaRPr lang="fr-FR" altLang="fr-FR" sz="1500" b="0" dirty="0">
              <a:solidFill>
                <a:srgbClr val="000000"/>
              </a:solidFill>
              <a:latin typeface="Arial" pitchFamily="34" charset="0"/>
              <a:ea typeface="MS PGothic" pitchFamily="34" charset="-128"/>
            </a:endParaRPr>
          </a:p>
          <a:p>
            <a:pPr algn="just">
              <a:spcBef>
                <a:spcPct val="0"/>
              </a:spcBef>
              <a:buClr>
                <a:srgbClr val="10253F"/>
              </a:buClr>
              <a:buFont typeface="Courier New" pitchFamily="49" charset="0"/>
              <a:buChar char="o"/>
              <a:defRPr/>
            </a:pPr>
            <a:r>
              <a:rPr lang="fr-FR" altLang="fr-FR" sz="1500" b="0" dirty="0">
                <a:solidFill>
                  <a:srgbClr val="000000"/>
                </a:solidFill>
                <a:latin typeface="Arial" pitchFamily="34" charset="0"/>
                <a:ea typeface="MS PGothic" pitchFamily="34" charset="-128"/>
              </a:rPr>
              <a:t>Problématique </a:t>
            </a:r>
            <a:r>
              <a:rPr lang="fr-FR" altLang="fr-FR" sz="1500" b="0" dirty="0" smtClean="0">
                <a:solidFill>
                  <a:srgbClr val="000000"/>
                </a:solidFill>
                <a:latin typeface="Arial" pitchFamily="34" charset="0"/>
                <a:ea typeface="MS PGothic" pitchFamily="34" charset="-128"/>
              </a:rPr>
              <a:t>ASE/PJJ</a:t>
            </a:r>
            <a:endParaRPr lang="fr-FR" altLang="fr-FR" sz="1500" b="0" dirty="0">
              <a:solidFill>
                <a:srgbClr val="000000"/>
              </a:solidFill>
              <a:latin typeface="Arial" pitchFamily="34" charset="0"/>
              <a:ea typeface="MS PGothic" pitchFamily="34" charset="-128"/>
            </a:endParaRPr>
          </a:p>
          <a:p>
            <a:pPr algn="just">
              <a:spcBef>
                <a:spcPct val="0"/>
              </a:spcBef>
              <a:buClr>
                <a:srgbClr val="10253F"/>
              </a:buClr>
              <a:buFont typeface="Courier New" pitchFamily="49" charset="0"/>
              <a:buChar char="o"/>
              <a:defRPr/>
            </a:pPr>
            <a:endParaRPr lang="fr-FR" altLang="fr-FR" sz="1500" b="0" dirty="0">
              <a:solidFill>
                <a:srgbClr val="000000"/>
              </a:solidFill>
              <a:latin typeface="Arial" pitchFamily="34" charset="0"/>
              <a:ea typeface="MS PGothic" pitchFamily="34" charset="-128"/>
            </a:endParaRPr>
          </a:p>
          <a:p>
            <a:pPr algn="just">
              <a:spcBef>
                <a:spcPct val="0"/>
              </a:spcBef>
              <a:buClr>
                <a:srgbClr val="10253F"/>
              </a:buClr>
              <a:buFont typeface="Courier New" pitchFamily="49" charset="0"/>
              <a:buChar char="o"/>
              <a:defRPr/>
            </a:pPr>
            <a:r>
              <a:rPr lang="fr-FR" altLang="fr-FR" sz="1500" b="0" dirty="0">
                <a:solidFill>
                  <a:srgbClr val="000000"/>
                </a:solidFill>
                <a:latin typeface="Arial" pitchFamily="34" charset="0"/>
                <a:ea typeface="MS PGothic" pitchFamily="34" charset="-128"/>
              </a:rPr>
              <a:t>Complexité de l'élaboration et de la mise en œuvre de la réponse (séquençage, modularité, technicité, besoin d'accompagnement)</a:t>
            </a:r>
          </a:p>
          <a:p>
            <a:pPr algn="just">
              <a:spcBef>
                <a:spcPct val="0"/>
              </a:spcBef>
              <a:buClr>
                <a:srgbClr val="10253F"/>
              </a:buClr>
              <a:buFont typeface="Courier New" pitchFamily="49" charset="0"/>
              <a:buChar char="o"/>
              <a:defRPr/>
            </a:pPr>
            <a:endParaRPr lang="fr-FR" altLang="fr-FR" sz="1500" b="0" dirty="0">
              <a:solidFill>
                <a:srgbClr val="000000"/>
              </a:solidFill>
              <a:latin typeface="Arial" pitchFamily="34" charset="0"/>
              <a:ea typeface="MS PGothic" pitchFamily="34" charset="-128"/>
            </a:endParaRPr>
          </a:p>
          <a:p>
            <a:pPr algn="just">
              <a:spcBef>
                <a:spcPct val="0"/>
              </a:spcBef>
              <a:buClr>
                <a:srgbClr val="10253F"/>
              </a:buClr>
              <a:buFont typeface="Courier New" pitchFamily="49" charset="0"/>
              <a:buChar char="o"/>
              <a:defRPr/>
            </a:pPr>
            <a:r>
              <a:rPr lang="fr-FR" altLang="fr-FR" sz="1500" b="0" dirty="0">
                <a:solidFill>
                  <a:srgbClr val="000000"/>
                </a:solidFill>
                <a:latin typeface="Arial" pitchFamily="34" charset="0"/>
                <a:ea typeface="MS PGothic" pitchFamily="34" charset="-128"/>
              </a:rPr>
              <a:t>Refus d’admissions/échecs de prise en charge répétés </a:t>
            </a:r>
            <a:endParaRPr lang="fr-FR" altLang="fr-FR" sz="1500" b="0" dirty="0" smtClean="0">
              <a:solidFill>
                <a:srgbClr val="000000"/>
              </a:solidFill>
              <a:latin typeface="Arial" pitchFamily="34" charset="0"/>
              <a:ea typeface="MS PGothic" pitchFamily="34" charset="-128"/>
            </a:endParaRPr>
          </a:p>
          <a:p>
            <a:pPr algn="just">
              <a:spcBef>
                <a:spcPct val="0"/>
              </a:spcBef>
              <a:buClr>
                <a:srgbClr val="10253F"/>
              </a:buClr>
              <a:buFont typeface="Courier New" pitchFamily="49" charset="0"/>
              <a:buChar char="o"/>
              <a:defRPr/>
            </a:pPr>
            <a:endParaRPr lang="fr-FR" altLang="fr-FR" sz="1500" b="0" dirty="0">
              <a:solidFill>
                <a:srgbClr val="000000"/>
              </a:solidFill>
              <a:latin typeface="Arial" pitchFamily="34" charset="0"/>
              <a:ea typeface="MS PGothic" pitchFamily="34" charset="-128"/>
            </a:endParaRPr>
          </a:p>
          <a:p>
            <a:pPr algn="just">
              <a:spcBef>
                <a:spcPct val="0"/>
              </a:spcBef>
              <a:buClr>
                <a:srgbClr val="10253F"/>
              </a:buClr>
              <a:buFont typeface="Courier New" pitchFamily="49" charset="0"/>
              <a:buChar char="o"/>
              <a:defRPr/>
            </a:pPr>
            <a:r>
              <a:rPr lang="fr-FR" altLang="fr-FR" sz="1500" b="0" dirty="0">
                <a:solidFill>
                  <a:srgbClr val="000000"/>
                </a:solidFill>
                <a:latin typeface="Arial" pitchFamily="34" charset="0"/>
                <a:ea typeface="MS PGothic" pitchFamily="34" charset="-128"/>
              </a:rPr>
              <a:t>Risque de départ non souhaité en Belgique </a:t>
            </a:r>
          </a:p>
          <a:p>
            <a:pPr algn="just">
              <a:spcBef>
                <a:spcPct val="0"/>
              </a:spcBef>
              <a:buClr>
                <a:srgbClr val="10253F"/>
              </a:buClr>
              <a:buFont typeface="Courier New" pitchFamily="49" charset="0"/>
              <a:buChar char="o"/>
              <a:defRPr/>
            </a:pPr>
            <a:endParaRPr lang="fr-FR" altLang="fr-FR" sz="1500" b="0" dirty="0">
              <a:solidFill>
                <a:srgbClr val="000000"/>
              </a:solidFill>
              <a:latin typeface="Arial" pitchFamily="34" charset="0"/>
              <a:ea typeface="MS PGothic" pitchFamily="34" charset="-128"/>
            </a:endParaRPr>
          </a:p>
        </p:txBody>
      </p:sp>
      <p:sp>
        <p:nvSpPr>
          <p:cNvPr id="10" name="Rectangle 68">
            <a:extLst>
              <a:ext uri="{FF2B5EF4-FFF2-40B4-BE49-F238E27FC236}">
                <a16:creationId xmlns="" xmlns:a16="http://schemas.microsoft.com/office/drawing/2014/main" id="{6C15B3D7-B8CD-4B5A-B9A3-C87218327CD7}"/>
              </a:ext>
            </a:extLst>
          </p:cNvPr>
          <p:cNvSpPr>
            <a:spLocks noChangeArrowheads="1"/>
          </p:cNvSpPr>
          <p:nvPr/>
        </p:nvSpPr>
        <p:spPr bwMode="auto">
          <a:xfrm>
            <a:off x="914400" y="404813"/>
            <a:ext cx="8239125" cy="765175"/>
          </a:xfrm>
          <a:prstGeom prst="rect">
            <a:avLst/>
          </a:prstGeom>
        </p:spPr>
        <p:txBody>
          <a:bodyPr lIns="0" tIns="0" rIns="0" bIns="0"/>
          <a:lstStyle/>
          <a:p>
            <a:pPr defTabSz="912602" fontAlgn="auto">
              <a:lnSpc>
                <a:spcPct val="85000"/>
              </a:lnSpc>
              <a:spcAft>
                <a:spcPts val="0"/>
              </a:spcAft>
              <a:defRPr/>
            </a:pPr>
            <a:r>
              <a:rPr lang="fr-FR" altLang="fr-FR" sz="2200" cap="all" dirty="0">
                <a:solidFill>
                  <a:srgbClr val="0070C0"/>
                </a:solidFill>
                <a:latin typeface="+mj-lt"/>
                <a:ea typeface="+mj-ea"/>
                <a:cs typeface="+mj-cs"/>
              </a:rPr>
              <a:t>EXEMPLES DE SITUATIONS POUVANT ENTRAINER UN PAG</a:t>
            </a:r>
          </a:p>
        </p:txBody>
      </p:sp>
    </p:spTree>
  </p:cSld>
  <p:clrMapOvr>
    <a:masterClrMapping/>
  </p:clrMapOvr>
  <p:transition spd="slow">
    <p:cove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4624B951-80F5-4623-92B1-7C8436B11E68}"/>
              </a:ext>
            </a:extLst>
          </p:cNvPr>
          <p:cNvSpPr>
            <a:spLocks noGrp="1"/>
          </p:cNvSpPr>
          <p:nvPr>
            <p:ph type="title"/>
          </p:nvPr>
        </p:nvSpPr>
        <p:spPr>
          <a:xfrm>
            <a:off x="739775" y="333375"/>
            <a:ext cx="7521575" cy="549275"/>
          </a:xfrm>
        </p:spPr>
        <p:txBody>
          <a:bodyPr>
            <a:normAutofit fontScale="90000"/>
          </a:bodyPr>
          <a:lstStyle/>
          <a:p>
            <a:pPr algn="ctr">
              <a:defRPr/>
            </a:pPr>
            <a:r>
              <a:rPr lang="fr-FR" dirty="0">
                <a:solidFill>
                  <a:srgbClr val="0070C0"/>
                </a:solidFill>
              </a:rPr>
              <a:t>Les facteurs de réussite</a:t>
            </a:r>
          </a:p>
        </p:txBody>
      </p:sp>
      <p:sp>
        <p:nvSpPr>
          <p:cNvPr id="5" name="Rectangle à coins arrondis 4">
            <a:extLst>
              <a:ext uri="{FF2B5EF4-FFF2-40B4-BE49-F238E27FC236}">
                <a16:creationId xmlns="" xmlns:a16="http://schemas.microsoft.com/office/drawing/2014/main" id="{CFF98CE9-7080-469D-A1D5-AB1E919EE8B1}"/>
              </a:ext>
            </a:extLst>
          </p:cNvPr>
          <p:cNvSpPr/>
          <p:nvPr/>
        </p:nvSpPr>
        <p:spPr>
          <a:xfrm>
            <a:off x="2568575" y="1052513"/>
            <a:ext cx="3816350" cy="669925"/>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fr-FR"/>
          </a:p>
        </p:txBody>
      </p:sp>
      <p:sp>
        <p:nvSpPr>
          <p:cNvPr id="6" name="Rectangle à coins arrondis 5">
            <a:extLst>
              <a:ext uri="{FF2B5EF4-FFF2-40B4-BE49-F238E27FC236}">
                <a16:creationId xmlns="" xmlns:a16="http://schemas.microsoft.com/office/drawing/2014/main" id="{C91B90A5-CF8C-459C-BCC1-77B2AFC62991}"/>
              </a:ext>
            </a:extLst>
          </p:cNvPr>
          <p:cNvSpPr/>
          <p:nvPr/>
        </p:nvSpPr>
        <p:spPr>
          <a:xfrm>
            <a:off x="179388" y="2214563"/>
            <a:ext cx="3816350" cy="669925"/>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fr-FR"/>
          </a:p>
        </p:txBody>
      </p:sp>
      <p:sp>
        <p:nvSpPr>
          <p:cNvPr id="7" name="Rectangle à coins arrondis 6">
            <a:extLst>
              <a:ext uri="{FF2B5EF4-FFF2-40B4-BE49-F238E27FC236}">
                <a16:creationId xmlns="" xmlns:a16="http://schemas.microsoft.com/office/drawing/2014/main" id="{EB71A7DF-807C-492D-B007-D29AD7CBFE03}"/>
              </a:ext>
            </a:extLst>
          </p:cNvPr>
          <p:cNvSpPr/>
          <p:nvPr/>
        </p:nvSpPr>
        <p:spPr>
          <a:xfrm>
            <a:off x="4608513" y="2187575"/>
            <a:ext cx="3816350" cy="671513"/>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fr-FR"/>
          </a:p>
        </p:txBody>
      </p:sp>
      <p:sp>
        <p:nvSpPr>
          <p:cNvPr id="8" name="Rectangle à coins arrondis 7">
            <a:extLst>
              <a:ext uri="{FF2B5EF4-FFF2-40B4-BE49-F238E27FC236}">
                <a16:creationId xmlns="" xmlns:a16="http://schemas.microsoft.com/office/drawing/2014/main" id="{0BF22091-E9EB-403A-8EC4-CCEB22CB14BF}"/>
              </a:ext>
            </a:extLst>
          </p:cNvPr>
          <p:cNvSpPr/>
          <p:nvPr/>
        </p:nvSpPr>
        <p:spPr>
          <a:xfrm>
            <a:off x="2447925" y="3068638"/>
            <a:ext cx="3816350" cy="669925"/>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fr-FR"/>
          </a:p>
        </p:txBody>
      </p:sp>
      <p:sp>
        <p:nvSpPr>
          <p:cNvPr id="17415" name="ZoneTexte 8">
            <a:extLst>
              <a:ext uri="{FF2B5EF4-FFF2-40B4-BE49-F238E27FC236}">
                <a16:creationId xmlns="" xmlns:a16="http://schemas.microsoft.com/office/drawing/2014/main" id="{60A1C24C-9EC4-470B-845B-4693C29E7927}"/>
              </a:ext>
            </a:extLst>
          </p:cNvPr>
          <p:cNvSpPr txBox="1">
            <a:spLocks noChangeArrowheads="1"/>
          </p:cNvSpPr>
          <p:nvPr/>
        </p:nvSpPr>
        <p:spPr bwMode="auto">
          <a:xfrm>
            <a:off x="2700338" y="1077913"/>
            <a:ext cx="3563937"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eaLnBrk="1" hangingPunct="1">
              <a:spcBef>
                <a:spcPct val="0"/>
              </a:spcBef>
              <a:buFontTx/>
              <a:buNone/>
            </a:pPr>
            <a:r>
              <a:rPr lang="fr-FR" altLang="fr-FR" sz="1800">
                <a:solidFill>
                  <a:schemeClr val="bg1"/>
                </a:solidFill>
                <a:latin typeface="Calibri" panose="020F0502020204030204" pitchFamily="34" charset="0"/>
              </a:rPr>
              <a:t>Nomenclature des besoins </a:t>
            </a:r>
          </a:p>
          <a:p>
            <a:pPr algn="ctr" eaLnBrk="1" hangingPunct="1">
              <a:spcBef>
                <a:spcPct val="0"/>
              </a:spcBef>
              <a:buFontTx/>
              <a:buNone/>
            </a:pPr>
            <a:r>
              <a:rPr lang="fr-FR" altLang="fr-FR" sz="1800">
                <a:solidFill>
                  <a:schemeClr val="bg1"/>
                </a:solidFill>
                <a:latin typeface="Calibri" panose="020F0502020204030204" pitchFamily="34" charset="0"/>
              </a:rPr>
              <a:t>(Serafin PH)</a:t>
            </a:r>
          </a:p>
        </p:txBody>
      </p:sp>
      <p:sp>
        <p:nvSpPr>
          <p:cNvPr id="17416" name="ZoneTexte 9">
            <a:extLst>
              <a:ext uri="{FF2B5EF4-FFF2-40B4-BE49-F238E27FC236}">
                <a16:creationId xmlns="" xmlns:a16="http://schemas.microsoft.com/office/drawing/2014/main" id="{9912933E-D783-42FB-A9C4-ADC3808F0DB2}"/>
              </a:ext>
            </a:extLst>
          </p:cNvPr>
          <p:cNvSpPr txBox="1">
            <a:spLocks noChangeArrowheads="1"/>
          </p:cNvSpPr>
          <p:nvPr/>
        </p:nvSpPr>
        <p:spPr bwMode="auto">
          <a:xfrm>
            <a:off x="673100" y="2259013"/>
            <a:ext cx="2808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800">
                <a:solidFill>
                  <a:schemeClr val="bg1"/>
                </a:solidFill>
                <a:latin typeface="Calibri" panose="020F0502020204030204" pitchFamily="34" charset="0"/>
              </a:rPr>
              <a:t>Connaissance de l’offre et de la disponibilité de l’offre</a:t>
            </a:r>
          </a:p>
        </p:txBody>
      </p:sp>
      <p:sp>
        <p:nvSpPr>
          <p:cNvPr id="17417" name="ZoneTexte 11">
            <a:extLst>
              <a:ext uri="{FF2B5EF4-FFF2-40B4-BE49-F238E27FC236}">
                <a16:creationId xmlns="" xmlns:a16="http://schemas.microsoft.com/office/drawing/2014/main" id="{35AECF39-CAE9-4F95-954D-65BA45B29DAF}"/>
              </a:ext>
            </a:extLst>
          </p:cNvPr>
          <p:cNvSpPr txBox="1">
            <a:spLocks noChangeArrowheads="1"/>
          </p:cNvSpPr>
          <p:nvPr/>
        </p:nvSpPr>
        <p:spPr bwMode="auto">
          <a:xfrm>
            <a:off x="4924425" y="2339975"/>
            <a:ext cx="31845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800">
                <a:solidFill>
                  <a:schemeClr val="bg1"/>
                </a:solidFill>
                <a:latin typeface="Calibri" panose="020F0502020204030204" pitchFamily="34" charset="0"/>
              </a:rPr>
              <a:t>Légitimité du référent du PAG</a:t>
            </a:r>
          </a:p>
        </p:txBody>
      </p:sp>
      <p:sp>
        <p:nvSpPr>
          <p:cNvPr id="13" name="Rectangle à coins arrondis 12">
            <a:extLst>
              <a:ext uri="{FF2B5EF4-FFF2-40B4-BE49-F238E27FC236}">
                <a16:creationId xmlns="" xmlns:a16="http://schemas.microsoft.com/office/drawing/2014/main" id="{43ED1A35-F82B-4268-A86F-856993056592}"/>
              </a:ext>
            </a:extLst>
          </p:cNvPr>
          <p:cNvSpPr/>
          <p:nvPr/>
        </p:nvSpPr>
        <p:spPr>
          <a:xfrm>
            <a:off x="2008188" y="4152900"/>
            <a:ext cx="4681537" cy="671513"/>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fr-FR"/>
          </a:p>
        </p:txBody>
      </p:sp>
      <p:sp>
        <p:nvSpPr>
          <p:cNvPr id="17419" name="ZoneTexte 13">
            <a:extLst>
              <a:ext uri="{FF2B5EF4-FFF2-40B4-BE49-F238E27FC236}">
                <a16:creationId xmlns="" xmlns:a16="http://schemas.microsoft.com/office/drawing/2014/main" id="{3AF157F5-4154-4E4D-BA12-044E9BB5BCE6}"/>
              </a:ext>
            </a:extLst>
          </p:cNvPr>
          <p:cNvSpPr txBox="1">
            <a:spLocks noChangeArrowheads="1"/>
          </p:cNvSpPr>
          <p:nvPr/>
        </p:nvSpPr>
        <p:spPr bwMode="auto">
          <a:xfrm>
            <a:off x="2160588" y="4267200"/>
            <a:ext cx="44640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800">
                <a:solidFill>
                  <a:schemeClr val="bg1"/>
                </a:solidFill>
                <a:latin typeface="Calibri" panose="020F0502020204030204" pitchFamily="34" charset="0"/>
              </a:rPr>
              <a:t>Engagement des partenaires et financeurs</a:t>
            </a:r>
          </a:p>
        </p:txBody>
      </p:sp>
      <p:sp>
        <p:nvSpPr>
          <p:cNvPr id="17420" name="ZoneTexte 15">
            <a:extLst>
              <a:ext uri="{FF2B5EF4-FFF2-40B4-BE49-F238E27FC236}">
                <a16:creationId xmlns="" xmlns:a16="http://schemas.microsoft.com/office/drawing/2014/main" id="{C71E2D41-0CDF-41A2-8845-31CD3A71F5A0}"/>
              </a:ext>
            </a:extLst>
          </p:cNvPr>
          <p:cNvSpPr txBox="1">
            <a:spLocks noChangeArrowheads="1"/>
          </p:cNvSpPr>
          <p:nvPr/>
        </p:nvSpPr>
        <p:spPr bwMode="auto">
          <a:xfrm>
            <a:off x="3276600" y="1785938"/>
            <a:ext cx="4318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2000" b="0">
                <a:latin typeface="Calibri" panose="020F0502020204030204" pitchFamily="34" charset="0"/>
              </a:rPr>
              <a:t>+</a:t>
            </a:r>
          </a:p>
        </p:txBody>
      </p:sp>
      <p:sp>
        <p:nvSpPr>
          <p:cNvPr id="17421" name="ZoneTexte 16">
            <a:extLst>
              <a:ext uri="{FF2B5EF4-FFF2-40B4-BE49-F238E27FC236}">
                <a16:creationId xmlns="" xmlns:a16="http://schemas.microsoft.com/office/drawing/2014/main" id="{D7209563-7B2A-4C33-9DC0-A40962A5F38D}"/>
              </a:ext>
            </a:extLst>
          </p:cNvPr>
          <p:cNvSpPr txBox="1">
            <a:spLocks noChangeArrowheads="1"/>
          </p:cNvSpPr>
          <p:nvPr/>
        </p:nvSpPr>
        <p:spPr bwMode="auto">
          <a:xfrm>
            <a:off x="4176713" y="2373313"/>
            <a:ext cx="4318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2000" b="0">
                <a:latin typeface="Calibri" panose="020F0502020204030204" pitchFamily="34" charset="0"/>
              </a:rPr>
              <a:t>+</a:t>
            </a:r>
          </a:p>
        </p:txBody>
      </p:sp>
      <p:sp>
        <p:nvSpPr>
          <p:cNvPr id="17422" name="ZoneTexte 17">
            <a:extLst>
              <a:ext uri="{FF2B5EF4-FFF2-40B4-BE49-F238E27FC236}">
                <a16:creationId xmlns="" xmlns:a16="http://schemas.microsoft.com/office/drawing/2014/main" id="{74F97F7E-0299-4B6E-8D02-9C585A19E36B}"/>
              </a:ext>
            </a:extLst>
          </p:cNvPr>
          <p:cNvSpPr txBox="1">
            <a:spLocks noChangeArrowheads="1"/>
          </p:cNvSpPr>
          <p:nvPr/>
        </p:nvSpPr>
        <p:spPr bwMode="auto">
          <a:xfrm>
            <a:off x="5364163" y="1749425"/>
            <a:ext cx="4318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2000" b="0">
                <a:latin typeface="Calibri" panose="020F0502020204030204" pitchFamily="34" charset="0"/>
              </a:rPr>
              <a:t>+</a:t>
            </a:r>
          </a:p>
        </p:txBody>
      </p:sp>
      <p:sp>
        <p:nvSpPr>
          <p:cNvPr id="17423" name="ZoneTexte 18">
            <a:extLst>
              <a:ext uri="{FF2B5EF4-FFF2-40B4-BE49-F238E27FC236}">
                <a16:creationId xmlns="" xmlns:a16="http://schemas.microsoft.com/office/drawing/2014/main" id="{D32B5D99-FF43-43D2-8873-47EDFFBABDF5}"/>
              </a:ext>
            </a:extLst>
          </p:cNvPr>
          <p:cNvSpPr txBox="1">
            <a:spLocks noChangeArrowheads="1"/>
          </p:cNvSpPr>
          <p:nvPr/>
        </p:nvSpPr>
        <p:spPr bwMode="auto">
          <a:xfrm>
            <a:off x="4178300" y="3752850"/>
            <a:ext cx="4318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2000" b="0">
                <a:latin typeface="Calibri" panose="020F0502020204030204" pitchFamily="34" charset="0"/>
              </a:rPr>
              <a:t>+</a:t>
            </a:r>
          </a:p>
        </p:txBody>
      </p:sp>
      <p:sp>
        <p:nvSpPr>
          <p:cNvPr id="17424" name="ZoneTexte 3">
            <a:extLst>
              <a:ext uri="{FF2B5EF4-FFF2-40B4-BE49-F238E27FC236}">
                <a16:creationId xmlns="" xmlns:a16="http://schemas.microsoft.com/office/drawing/2014/main" id="{E0A310D1-36B2-43DE-A95A-D902A01BC4A2}"/>
              </a:ext>
            </a:extLst>
          </p:cNvPr>
          <p:cNvSpPr txBox="1">
            <a:spLocks noChangeArrowheads="1"/>
          </p:cNvSpPr>
          <p:nvPr/>
        </p:nvSpPr>
        <p:spPr bwMode="auto">
          <a:xfrm>
            <a:off x="4176713" y="4824413"/>
            <a:ext cx="35401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4000" b="0">
                <a:latin typeface="Calibri" panose="020F0502020204030204" pitchFamily="34" charset="0"/>
              </a:rPr>
              <a:t>=</a:t>
            </a:r>
          </a:p>
        </p:txBody>
      </p:sp>
      <p:sp>
        <p:nvSpPr>
          <p:cNvPr id="20" name="Rectangle à coins arrondis 19">
            <a:extLst>
              <a:ext uri="{FF2B5EF4-FFF2-40B4-BE49-F238E27FC236}">
                <a16:creationId xmlns="" xmlns:a16="http://schemas.microsoft.com/office/drawing/2014/main" id="{77D0452E-AB6C-4087-8D49-10FD8EDE2EB4}"/>
              </a:ext>
            </a:extLst>
          </p:cNvPr>
          <p:cNvSpPr/>
          <p:nvPr/>
        </p:nvSpPr>
        <p:spPr>
          <a:xfrm>
            <a:off x="2517775" y="5497513"/>
            <a:ext cx="3816350" cy="6699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7426" name="ZoneTexte 8">
            <a:extLst>
              <a:ext uri="{FF2B5EF4-FFF2-40B4-BE49-F238E27FC236}">
                <a16:creationId xmlns="" xmlns:a16="http://schemas.microsoft.com/office/drawing/2014/main" id="{9025966B-D93A-4895-AB07-4477E5E2AAC0}"/>
              </a:ext>
            </a:extLst>
          </p:cNvPr>
          <p:cNvSpPr txBox="1">
            <a:spLocks noChangeArrowheads="1"/>
          </p:cNvSpPr>
          <p:nvPr/>
        </p:nvSpPr>
        <p:spPr bwMode="auto">
          <a:xfrm>
            <a:off x="3500438" y="5605463"/>
            <a:ext cx="208756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800">
                <a:latin typeface="Calibri" panose="020F0502020204030204" pitchFamily="34" charset="0"/>
              </a:rPr>
              <a:t>Zéro sans solution</a:t>
            </a:r>
          </a:p>
        </p:txBody>
      </p:sp>
      <p:sp>
        <p:nvSpPr>
          <p:cNvPr id="17427" name="ZoneTexte 10">
            <a:extLst>
              <a:ext uri="{FF2B5EF4-FFF2-40B4-BE49-F238E27FC236}">
                <a16:creationId xmlns="" xmlns:a16="http://schemas.microsoft.com/office/drawing/2014/main" id="{312E3FDC-8B89-4394-A408-35D2DF365D61}"/>
              </a:ext>
            </a:extLst>
          </p:cNvPr>
          <p:cNvSpPr txBox="1">
            <a:spLocks noChangeArrowheads="1"/>
          </p:cNvSpPr>
          <p:nvPr/>
        </p:nvSpPr>
        <p:spPr bwMode="auto">
          <a:xfrm>
            <a:off x="2454275" y="3076575"/>
            <a:ext cx="38798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eaLnBrk="1" hangingPunct="1">
              <a:spcBef>
                <a:spcPct val="0"/>
              </a:spcBef>
              <a:buFontTx/>
              <a:buNone/>
            </a:pPr>
            <a:r>
              <a:rPr lang="fr-FR" altLang="fr-FR" sz="1800">
                <a:solidFill>
                  <a:schemeClr val="bg1"/>
                </a:solidFill>
                <a:latin typeface="Calibri" panose="020F0502020204030204" pitchFamily="34" charset="0"/>
              </a:rPr>
              <a:t>Accord de la personne concernée ou de son représentant légal</a:t>
            </a:r>
          </a:p>
        </p:txBody>
      </p:sp>
    </p:spTree>
    <p:extLst>
      <p:ext uri="{BB962C8B-B14F-4D97-AF65-F5344CB8AC3E}">
        <p14:creationId xmlns:p14="http://schemas.microsoft.com/office/powerpoint/2010/main" val="3239429409"/>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p:cTn id="14" dur="500" fill="hold"/>
                                        <p:tgtEl>
                                          <p:spTgt spid="6"/>
                                        </p:tgtEl>
                                        <p:attrNameLst>
                                          <p:attrName>ppt_w</p:attrName>
                                        </p:attrNameLst>
                                      </p:cBhvr>
                                      <p:tavLst>
                                        <p:tav tm="0">
                                          <p:val>
                                            <p:fltVal val="0"/>
                                          </p:val>
                                        </p:tav>
                                        <p:tav tm="100000">
                                          <p:val>
                                            <p:strVal val="#ppt_w"/>
                                          </p:val>
                                        </p:tav>
                                      </p:tavLst>
                                    </p:anim>
                                    <p:anim calcmode="lin" valueType="num">
                                      <p:cBhvr>
                                        <p:cTn id="15" dur="500" fill="hold"/>
                                        <p:tgtEl>
                                          <p:spTgt spid="6"/>
                                        </p:tgtEl>
                                        <p:attrNameLst>
                                          <p:attrName>ppt_h</p:attrName>
                                        </p:attrNameLst>
                                      </p:cBhvr>
                                      <p:tavLst>
                                        <p:tav tm="0">
                                          <p:val>
                                            <p:fltVal val="0"/>
                                          </p:val>
                                        </p:tav>
                                        <p:tav tm="100000">
                                          <p:val>
                                            <p:strVal val="#ppt_h"/>
                                          </p:val>
                                        </p:tav>
                                      </p:tavLst>
                                    </p:anim>
                                    <p:animEffect transition="in" filter="fade">
                                      <p:cBhvr>
                                        <p:cTn id="16" dur="500"/>
                                        <p:tgtEl>
                                          <p:spTgt spid="6"/>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p:cTn id="21" dur="500" fill="hold"/>
                                        <p:tgtEl>
                                          <p:spTgt spid="7"/>
                                        </p:tgtEl>
                                        <p:attrNameLst>
                                          <p:attrName>ppt_w</p:attrName>
                                        </p:attrNameLst>
                                      </p:cBhvr>
                                      <p:tavLst>
                                        <p:tav tm="0">
                                          <p:val>
                                            <p:fltVal val="0"/>
                                          </p:val>
                                        </p:tav>
                                        <p:tav tm="100000">
                                          <p:val>
                                            <p:strVal val="#ppt_w"/>
                                          </p:val>
                                        </p:tav>
                                      </p:tavLst>
                                    </p:anim>
                                    <p:anim calcmode="lin" valueType="num">
                                      <p:cBhvr>
                                        <p:cTn id="22" dur="500" fill="hold"/>
                                        <p:tgtEl>
                                          <p:spTgt spid="7"/>
                                        </p:tgtEl>
                                        <p:attrNameLst>
                                          <p:attrName>ppt_h</p:attrName>
                                        </p:attrNameLst>
                                      </p:cBhvr>
                                      <p:tavLst>
                                        <p:tav tm="0">
                                          <p:val>
                                            <p:fltVal val="0"/>
                                          </p:val>
                                        </p:tav>
                                        <p:tav tm="100000">
                                          <p:val>
                                            <p:strVal val="#ppt_h"/>
                                          </p:val>
                                        </p:tav>
                                      </p:tavLst>
                                    </p:anim>
                                    <p:animEffect transition="in" filter="fade">
                                      <p:cBhvr>
                                        <p:cTn id="23" dur="500"/>
                                        <p:tgtEl>
                                          <p:spTgt spid="7"/>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p:cTn id="28" dur="500" fill="hold"/>
                                        <p:tgtEl>
                                          <p:spTgt spid="8"/>
                                        </p:tgtEl>
                                        <p:attrNameLst>
                                          <p:attrName>ppt_w</p:attrName>
                                        </p:attrNameLst>
                                      </p:cBhvr>
                                      <p:tavLst>
                                        <p:tav tm="0">
                                          <p:val>
                                            <p:fltVal val="0"/>
                                          </p:val>
                                        </p:tav>
                                        <p:tav tm="100000">
                                          <p:val>
                                            <p:strVal val="#ppt_w"/>
                                          </p:val>
                                        </p:tav>
                                      </p:tavLst>
                                    </p:anim>
                                    <p:anim calcmode="lin" valueType="num">
                                      <p:cBhvr>
                                        <p:cTn id="29" dur="500" fill="hold"/>
                                        <p:tgtEl>
                                          <p:spTgt spid="8"/>
                                        </p:tgtEl>
                                        <p:attrNameLst>
                                          <p:attrName>ppt_h</p:attrName>
                                        </p:attrNameLst>
                                      </p:cBhvr>
                                      <p:tavLst>
                                        <p:tav tm="0">
                                          <p:val>
                                            <p:fltVal val="0"/>
                                          </p:val>
                                        </p:tav>
                                        <p:tav tm="100000">
                                          <p:val>
                                            <p:strVal val="#ppt_h"/>
                                          </p:val>
                                        </p:tav>
                                      </p:tavLst>
                                    </p:anim>
                                    <p:animEffect transition="in" filter="fade">
                                      <p:cBhvr>
                                        <p:cTn id="30" dur="500"/>
                                        <p:tgtEl>
                                          <p:spTgt spid="8"/>
                                        </p:tgtEl>
                                      </p:cBhvr>
                                    </p:animEffect>
                                  </p:childTnLst>
                                </p:cTn>
                              </p:par>
                            </p:childTnLst>
                          </p:cTn>
                        </p:par>
                      </p:childTnLst>
                    </p:cTn>
                  </p:par>
                  <p:par>
                    <p:cTn id="31" fill="hold" nodeType="clickPar">
                      <p:stCondLst>
                        <p:cond delay="indefinite"/>
                      </p:stCondLst>
                      <p:childTnLst>
                        <p:par>
                          <p:cTn id="32" fill="hold" nodeType="withGroup">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anim calcmode="lin" valueType="num">
                                      <p:cBhvr>
                                        <p:cTn id="35" dur="500" fill="hold"/>
                                        <p:tgtEl>
                                          <p:spTgt spid="13"/>
                                        </p:tgtEl>
                                        <p:attrNameLst>
                                          <p:attrName>ppt_w</p:attrName>
                                        </p:attrNameLst>
                                      </p:cBhvr>
                                      <p:tavLst>
                                        <p:tav tm="0">
                                          <p:val>
                                            <p:fltVal val="0"/>
                                          </p:val>
                                        </p:tav>
                                        <p:tav tm="100000">
                                          <p:val>
                                            <p:strVal val="#ppt_w"/>
                                          </p:val>
                                        </p:tav>
                                      </p:tavLst>
                                    </p:anim>
                                    <p:anim calcmode="lin" valueType="num">
                                      <p:cBhvr>
                                        <p:cTn id="36" dur="500" fill="hold"/>
                                        <p:tgtEl>
                                          <p:spTgt spid="13"/>
                                        </p:tgtEl>
                                        <p:attrNameLst>
                                          <p:attrName>ppt_h</p:attrName>
                                        </p:attrNameLst>
                                      </p:cBhvr>
                                      <p:tavLst>
                                        <p:tav tm="0">
                                          <p:val>
                                            <p:fltVal val="0"/>
                                          </p:val>
                                        </p:tav>
                                        <p:tav tm="100000">
                                          <p:val>
                                            <p:strVal val="#ppt_h"/>
                                          </p:val>
                                        </p:tav>
                                      </p:tavLst>
                                    </p:anim>
                                    <p:animEffect transition="in" filter="fade">
                                      <p:cBhvr>
                                        <p:cTn id="37" dur="500"/>
                                        <p:tgtEl>
                                          <p:spTgt spid="13"/>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20"/>
                                        </p:tgtEl>
                                        <p:attrNameLst>
                                          <p:attrName>style.visibility</p:attrName>
                                        </p:attrNameLst>
                                      </p:cBhvr>
                                      <p:to>
                                        <p:strVal val="visible"/>
                                      </p:to>
                                    </p:set>
                                    <p:anim calcmode="lin" valueType="num">
                                      <p:cBhvr>
                                        <p:cTn id="42" dur="500" fill="hold"/>
                                        <p:tgtEl>
                                          <p:spTgt spid="20"/>
                                        </p:tgtEl>
                                        <p:attrNameLst>
                                          <p:attrName>ppt_w</p:attrName>
                                        </p:attrNameLst>
                                      </p:cBhvr>
                                      <p:tavLst>
                                        <p:tav tm="0">
                                          <p:val>
                                            <p:fltVal val="0"/>
                                          </p:val>
                                        </p:tav>
                                        <p:tav tm="100000">
                                          <p:val>
                                            <p:strVal val="#ppt_w"/>
                                          </p:val>
                                        </p:tav>
                                      </p:tavLst>
                                    </p:anim>
                                    <p:anim calcmode="lin" valueType="num">
                                      <p:cBhvr>
                                        <p:cTn id="43" dur="500" fill="hold"/>
                                        <p:tgtEl>
                                          <p:spTgt spid="20"/>
                                        </p:tgtEl>
                                        <p:attrNameLst>
                                          <p:attrName>ppt_h</p:attrName>
                                        </p:attrNameLst>
                                      </p:cBhvr>
                                      <p:tavLst>
                                        <p:tav tm="0">
                                          <p:val>
                                            <p:fltVal val="0"/>
                                          </p:val>
                                        </p:tav>
                                        <p:tav tm="100000">
                                          <p:val>
                                            <p:strVal val="#ppt_h"/>
                                          </p:val>
                                        </p:tav>
                                      </p:tavLst>
                                    </p:anim>
                                    <p:animEffect transition="in" filter="fade">
                                      <p:cBhvr>
                                        <p:cTn id="4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3" grpId="0" animBg="1"/>
      <p:bldP spid="2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à coins arrondis 7">
            <a:extLst>
              <a:ext uri="{FF2B5EF4-FFF2-40B4-BE49-F238E27FC236}">
                <a16:creationId xmlns="" xmlns:a16="http://schemas.microsoft.com/office/drawing/2014/main" id="{73FC023F-4C41-4595-9D82-3C7FCA2CD48B}"/>
              </a:ext>
            </a:extLst>
          </p:cNvPr>
          <p:cNvSpPr/>
          <p:nvPr/>
        </p:nvSpPr>
        <p:spPr>
          <a:xfrm>
            <a:off x="5867400" y="1019175"/>
            <a:ext cx="1908175" cy="36988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 name="Titre 1">
            <a:extLst>
              <a:ext uri="{FF2B5EF4-FFF2-40B4-BE49-F238E27FC236}">
                <a16:creationId xmlns="" xmlns:a16="http://schemas.microsoft.com/office/drawing/2014/main" id="{EC11DF0F-733C-40D7-B0FB-CF8958DB7C94}"/>
              </a:ext>
            </a:extLst>
          </p:cNvPr>
          <p:cNvSpPr>
            <a:spLocks noGrp="1"/>
          </p:cNvSpPr>
          <p:nvPr>
            <p:ph type="title"/>
          </p:nvPr>
        </p:nvSpPr>
        <p:spPr>
          <a:xfrm>
            <a:off x="888556" y="227214"/>
            <a:ext cx="6347713" cy="642070"/>
          </a:xfrm>
        </p:spPr>
        <p:txBody>
          <a:bodyPr/>
          <a:lstStyle/>
          <a:p>
            <a:pPr algn="ctr">
              <a:defRPr/>
            </a:pPr>
            <a:r>
              <a:rPr lang="fr-FR" dirty="0">
                <a:solidFill>
                  <a:srgbClr val="0070C0"/>
                </a:solidFill>
              </a:rPr>
              <a:t>conclusion</a:t>
            </a:r>
          </a:p>
        </p:txBody>
      </p:sp>
      <p:sp>
        <p:nvSpPr>
          <p:cNvPr id="4" name="Rectangle à coins arrondis 3">
            <a:extLst>
              <a:ext uri="{FF2B5EF4-FFF2-40B4-BE49-F238E27FC236}">
                <a16:creationId xmlns="" xmlns:a16="http://schemas.microsoft.com/office/drawing/2014/main" id="{85461CBA-4895-47A3-85C0-11CCBED7291E}"/>
              </a:ext>
            </a:extLst>
          </p:cNvPr>
          <p:cNvSpPr/>
          <p:nvPr/>
        </p:nvSpPr>
        <p:spPr>
          <a:xfrm>
            <a:off x="1331913" y="1039813"/>
            <a:ext cx="1973262" cy="36988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4581" name="ZoneTexte 2">
            <a:extLst>
              <a:ext uri="{FF2B5EF4-FFF2-40B4-BE49-F238E27FC236}">
                <a16:creationId xmlns="" xmlns:a16="http://schemas.microsoft.com/office/drawing/2014/main" id="{68855906-719B-427A-8850-DA645378E6CA}"/>
              </a:ext>
            </a:extLst>
          </p:cNvPr>
          <p:cNvSpPr txBox="1">
            <a:spLocks noChangeArrowheads="1"/>
          </p:cNvSpPr>
          <p:nvPr/>
        </p:nvSpPr>
        <p:spPr bwMode="auto">
          <a:xfrm>
            <a:off x="1643063" y="1004888"/>
            <a:ext cx="14398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2000" dirty="0">
                <a:solidFill>
                  <a:schemeClr val="bg1"/>
                </a:solidFill>
                <a:latin typeface="Calibri" panose="020F0502020204030204" pitchFamily="34" charset="0"/>
              </a:rPr>
              <a:t>Pilotage </a:t>
            </a:r>
          </a:p>
        </p:txBody>
      </p:sp>
      <p:sp>
        <p:nvSpPr>
          <p:cNvPr id="5" name="Flèche droite 4">
            <a:extLst>
              <a:ext uri="{FF2B5EF4-FFF2-40B4-BE49-F238E27FC236}">
                <a16:creationId xmlns="" xmlns:a16="http://schemas.microsoft.com/office/drawing/2014/main" id="{74515195-20F0-4FBF-A00B-3D62EC05FC32}"/>
              </a:ext>
            </a:extLst>
          </p:cNvPr>
          <p:cNvSpPr/>
          <p:nvPr/>
        </p:nvSpPr>
        <p:spPr>
          <a:xfrm>
            <a:off x="4067175" y="1076325"/>
            <a:ext cx="1054100" cy="2968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4583" name="ZoneTexte 6">
            <a:extLst>
              <a:ext uri="{FF2B5EF4-FFF2-40B4-BE49-F238E27FC236}">
                <a16:creationId xmlns="" xmlns:a16="http://schemas.microsoft.com/office/drawing/2014/main" id="{B6F44E23-ECE9-431F-B519-DDEA03AEA803}"/>
              </a:ext>
            </a:extLst>
          </p:cNvPr>
          <p:cNvSpPr txBox="1">
            <a:spLocks noChangeArrowheads="1"/>
          </p:cNvSpPr>
          <p:nvPr/>
        </p:nvSpPr>
        <p:spPr bwMode="auto">
          <a:xfrm>
            <a:off x="6384925" y="1019175"/>
            <a:ext cx="10810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2000">
                <a:solidFill>
                  <a:schemeClr val="bg1"/>
                </a:solidFill>
                <a:latin typeface="Calibri" panose="020F0502020204030204" pitchFamily="34" charset="0"/>
              </a:rPr>
              <a:t>COMEX</a:t>
            </a:r>
            <a:r>
              <a:rPr lang="fr-FR" altLang="fr-FR" sz="1800">
                <a:solidFill>
                  <a:schemeClr val="bg1"/>
                </a:solidFill>
                <a:latin typeface="Calibri" panose="020F0502020204030204" pitchFamily="34" charset="0"/>
              </a:rPr>
              <a:t> </a:t>
            </a:r>
          </a:p>
        </p:txBody>
      </p:sp>
      <p:sp>
        <p:nvSpPr>
          <p:cNvPr id="6" name="Organigramme : Bande perforée 5">
            <a:extLst>
              <a:ext uri="{FF2B5EF4-FFF2-40B4-BE49-F238E27FC236}">
                <a16:creationId xmlns="" xmlns:a16="http://schemas.microsoft.com/office/drawing/2014/main" id="{B566CE5A-CDE0-4E61-9A22-4476C942FFCD}"/>
              </a:ext>
            </a:extLst>
          </p:cNvPr>
          <p:cNvSpPr/>
          <p:nvPr/>
        </p:nvSpPr>
        <p:spPr>
          <a:xfrm>
            <a:off x="1463675" y="3063875"/>
            <a:ext cx="1727200" cy="504825"/>
          </a:xfrm>
          <a:prstGeom prst="flowChartPunchedTape">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fr-FR"/>
          </a:p>
        </p:txBody>
      </p:sp>
      <p:sp>
        <p:nvSpPr>
          <p:cNvPr id="24585" name="ZoneTexte 8">
            <a:extLst>
              <a:ext uri="{FF2B5EF4-FFF2-40B4-BE49-F238E27FC236}">
                <a16:creationId xmlns="" xmlns:a16="http://schemas.microsoft.com/office/drawing/2014/main" id="{49FD07E8-C60C-444A-91C8-45D5A4C929B5}"/>
              </a:ext>
            </a:extLst>
          </p:cNvPr>
          <p:cNvSpPr txBox="1">
            <a:spLocks noChangeArrowheads="1"/>
          </p:cNvSpPr>
          <p:nvPr/>
        </p:nvSpPr>
        <p:spPr bwMode="auto">
          <a:xfrm>
            <a:off x="2124075" y="1700213"/>
            <a:ext cx="47672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2000" dirty="0">
                <a:latin typeface="Calibri" panose="020F0502020204030204" pitchFamily="34" charset="0"/>
              </a:rPr>
              <a:t>Une démarche partenariale qui repose sur :</a:t>
            </a:r>
          </a:p>
        </p:txBody>
      </p:sp>
      <p:sp>
        <p:nvSpPr>
          <p:cNvPr id="24586" name="ZoneTexte 9">
            <a:extLst>
              <a:ext uri="{FF2B5EF4-FFF2-40B4-BE49-F238E27FC236}">
                <a16:creationId xmlns="" xmlns:a16="http://schemas.microsoft.com/office/drawing/2014/main" id="{6FECDEE4-0E9E-4982-84BC-2DF49A0C2F1C}"/>
              </a:ext>
            </a:extLst>
          </p:cNvPr>
          <p:cNvSpPr txBox="1">
            <a:spLocks noChangeArrowheads="1"/>
          </p:cNvSpPr>
          <p:nvPr/>
        </p:nvSpPr>
        <p:spPr bwMode="auto">
          <a:xfrm>
            <a:off x="1477963" y="3100388"/>
            <a:ext cx="17272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800" b="0">
                <a:latin typeface="Calibri" panose="020F0502020204030204" pitchFamily="34" charset="0"/>
              </a:rPr>
              <a:t>La collaboration</a:t>
            </a:r>
          </a:p>
        </p:txBody>
      </p:sp>
      <p:sp>
        <p:nvSpPr>
          <p:cNvPr id="12" name="Organigramme : Bande perforée 11">
            <a:extLst>
              <a:ext uri="{FF2B5EF4-FFF2-40B4-BE49-F238E27FC236}">
                <a16:creationId xmlns="" xmlns:a16="http://schemas.microsoft.com/office/drawing/2014/main" id="{2BC5F398-2B20-4866-B26A-EFD2D6DBB238}"/>
              </a:ext>
            </a:extLst>
          </p:cNvPr>
          <p:cNvSpPr/>
          <p:nvPr/>
        </p:nvSpPr>
        <p:spPr>
          <a:xfrm>
            <a:off x="3803650" y="2271713"/>
            <a:ext cx="1728788" cy="504825"/>
          </a:xfrm>
          <a:prstGeom prst="flowChartPunchedTape">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fr-FR"/>
          </a:p>
        </p:txBody>
      </p:sp>
      <p:sp>
        <p:nvSpPr>
          <p:cNvPr id="13" name="Organigramme : Bande perforée 12">
            <a:extLst>
              <a:ext uri="{FF2B5EF4-FFF2-40B4-BE49-F238E27FC236}">
                <a16:creationId xmlns="" xmlns:a16="http://schemas.microsoft.com/office/drawing/2014/main" id="{2B35A33A-7B9A-4C39-8B3E-9D86E1C2D3B2}"/>
              </a:ext>
            </a:extLst>
          </p:cNvPr>
          <p:cNvSpPr/>
          <p:nvPr/>
        </p:nvSpPr>
        <p:spPr>
          <a:xfrm>
            <a:off x="6156325" y="2706688"/>
            <a:ext cx="1728788" cy="503237"/>
          </a:xfrm>
          <a:prstGeom prst="flowChartPunchedTape">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fr-FR"/>
          </a:p>
        </p:txBody>
      </p:sp>
      <p:sp>
        <p:nvSpPr>
          <p:cNvPr id="14" name="Organigramme : Bande perforée 13">
            <a:extLst>
              <a:ext uri="{FF2B5EF4-FFF2-40B4-BE49-F238E27FC236}">
                <a16:creationId xmlns="" xmlns:a16="http://schemas.microsoft.com/office/drawing/2014/main" id="{BB42F679-0FBE-48DC-BB26-AE68E2D6E86A}"/>
              </a:ext>
            </a:extLst>
          </p:cNvPr>
          <p:cNvSpPr/>
          <p:nvPr/>
        </p:nvSpPr>
        <p:spPr>
          <a:xfrm>
            <a:off x="5651500" y="4364038"/>
            <a:ext cx="1728788" cy="503237"/>
          </a:xfrm>
          <a:prstGeom prst="flowChartPunchedTape">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fr-FR"/>
          </a:p>
        </p:txBody>
      </p:sp>
      <p:sp>
        <p:nvSpPr>
          <p:cNvPr id="15" name="Organigramme : Bande perforée 14">
            <a:extLst>
              <a:ext uri="{FF2B5EF4-FFF2-40B4-BE49-F238E27FC236}">
                <a16:creationId xmlns="" xmlns:a16="http://schemas.microsoft.com/office/drawing/2014/main" id="{BBF3A98F-16D6-451D-B379-09A37D8D2F70}"/>
              </a:ext>
            </a:extLst>
          </p:cNvPr>
          <p:cNvSpPr/>
          <p:nvPr/>
        </p:nvSpPr>
        <p:spPr>
          <a:xfrm>
            <a:off x="6577013" y="3568700"/>
            <a:ext cx="1728787" cy="504825"/>
          </a:xfrm>
          <a:prstGeom prst="flowChartPunchedTape">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fr-FR"/>
          </a:p>
        </p:txBody>
      </p:sp>
      <p:sp>
        <p:nvSpPr>
          <p:cNvPr id="24591" name="ZoneTexte 15">
            <a:extLst>
              <a:ext uri="{FF2B5EF4-FFF2-40B4-BE49-F238E27FC236}">
                <a16:creationId xmlns="" xmlns:a16="http://schemas.microsoft.com/office/drawing/2014/main" id="{848D625A-D513-4792-8706-D9F9F53B9E27}"/>
              </a:ext>
            </a:extLst>
          </p:cNvPr>
          <p:cNvSpPr txBox="1">
            <a:spLocks noChangeArrowheads="1"/>
          </p:cNvSpPr>
          <p:nvPr/>
        </p:nvSpPr>
        <p:spPr bwMode="auto">
          <a:xfrm>
            <a:off x="4062413" y="2336800"/>
            <a:ext cx="13096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800" b="0">
                <a:latin typeface="Calibri" panose="020F0502020204030204" pitchFamily="34" charset="0"/>
              </a:rPr>
              <a:t>La réflexion</a:t>
            </a:r>
          </a:p>
        </p:txBody>
      </p:sp>
      <p:sp>
        <p:nvSpPr>
          <p:cNvPr id="24592" name="ZoneTexte 16">
            <a:extLst>
              <a:ext uri="{FF2B5EF4-FFF2-40B4-BE49-F238E27FC236}">
                <a16:creationId xmlns="" xmlns:a16="http://schemas.microsoft.com/office/drawing/2014/main" id="{8D38B570-C434-4F95-A59F-6319A173797D}"/>
              </a:ext>
            </a:extLst>
          </p:cNvPr>
          <p:cNvSpPr txBox="1">
            <a:spLocks noChangeArrowheads="1"/>
          </p:cNvSpPr>
          <p:nvPr/>
        </p:nvSpPr>
        <p:spPr bwMode="auto">
          <a:xfrm>
            <a:off x="6264275" y="2768600"/>
            <a:ext cx="15113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800" b="0">
                <a:latin typeface="Calibri" panose="020F0502020204030204" pitchFamily="34" charset="0"/>
              </a:rPr>
              <a:t>L’anticipation</a:t>
            </a:r>
          </a:p>
        </p:txBody>
      </p:sp>
      <p:sp>
        <p:nvSpPr>
          <p:cNvPr id="24593" name="ZoneTexte 17">
            <a:extLst>
              <a:ext uri="{FF2B5EF4-FFF2-40B4-BE49-F238E27FC236}">
                <a16:creationId xmlns="" xmlns:a16="http://schemas.microsoft.com/office/drawing/2014/main" id="{7B908CC8-3FFF-4CF8-BFC9-0CE48C9F991D}"/>
              </a:ext>
            </a:extLst>
          </p:cNvPr>
          <p:cNvSpPr txBox="1">
            <a:spLocks noChangeArrowheads="1"/>
          </p:cNvSpPr>
          <p:nvPr/>
        </p:nvSpPr>
        <p:spPr bwMode="auto">
          <a:xfrm>
            <a:off x="5651500" y="4437063"/>
            <a:ext cx="17287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800" b="0">
                <a:latin typeface="Calibri" panose="020F0502020204030204" pitchFamily="34" charset="0"/>
              </a:rPr>
              <a:t>La concertation</a:t>
            </a:r>
          </a:p>
        </p:txBody>
      </p:sp>
      <p:sp>
        <p:nvSpPr>
          <p:cNvPr id="24594" name="ZoneTexte 18">
            <a:extLst>
              <a:ext uri="{FF2B5EF4-FFF2-40B4-BE49-F238E27FC236}">
                <a16:creationId xmlns="" xmlns:a16="http://schemas.microsoft.com/office/drawing/2014/main" id="{D40ADF13-07B6-48ED-85A8-279C2478C693}"/>
              </a:ext>
            </a:extLst>
          </p:cNvPr>
          <p:cNvSpPr txBox="1">
            <a:spLocks noChangeArrowheads="1"/>
          </p:cNvSpPr>
          <p:nvPr/>
        </p:nvSpPr>
        <p:spPr bwMode="auto">
          <a:xfrm>
            <a:off x="6621463" y="3636963"/>
            <a:ext cx="17272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800" b="0">
                <a:latin typeface="Calibri" panose="020F0502020204030204" pitchFamily="34" charset="0"/>
              </a:rPr>
              <a:t>La mobilisation</a:t>
            </a:r>
          </a:p>
        </p:txBody>
      </p:sp>
      <p:sp>
        <p:nvSpPr>
          <p:cNvPr id="20" name="Organigramme : Bande perforée 19">
            <a:extLst>
              <a:ext uri="{FF2B5EF4-FFF2-40B4-BE49-F238E27FC236}">
                <a16:creationId xmlns="" xmlns:a16="http://schemas.microsoft.com/office/drawing/2014/main" id="{253C093E-F663-440F-84AA-2EC59165A644}"/>
              </a:ext>
            </a:extLst>
          </p:cNvPr>
          <p:cNvSpPr/>
          <p:nvPr/>
        </p:nvSpPr>
        <p:spPr>
          <a:xfrm>
            <a:off x="1328738" y="4111625"/>
            <a:ext cx="1727200" cy="504825"/>
          </a:xfrm>
          <a:prstGeom prst="flowChartPunchedTape">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fr-FR"/>
          </a:p>
        </p:txBody>
      </p:sp>
      <p:sp>
        <p:nvSpPr>
          <p:cNvPr id="21" name="Organigramme : Bande perforée 20">
            <a:extLst>
              <a:ext uri="{FF2B5EF4-FFF2-40B4-BE49-F238E27FC236}">
                <a16:creationId xmlns="" xmlns:a16="http://schemas.microsoft.com/office/drawing/2014/main" id="{84A995F0-7F00-4817-941C-0AEA513F35CB}"/>
              </a:ext>
            </a:extLst>
          </p:cNvPr>
          <p:cNvSpPr/>
          <p:nvPr/>
        </p:nvSpPr>
        <p:spPr>
          <a:xfrm>
            <a:off x="3635375" y="5084763"/>
            <a:ext cx="2016125" cy="504825"/>
          </a:xfrm>
          <a:prstGeom prst="flowChartPunchedTape">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fr-FR"/>
          </a:p>
        </p:txBody>
      </p:sp>
      <p:sp>
        <p:nvSpPr>
          <p:cNvPr id="24597" name="ZoneTexte 22">
            <a:extLst>
              <a:ext uri="{FF2B5EF4-FFF2-40B4-BE49-F238E27FC236}">
                <a16:creationId xmlns="" xmlns:a16="http://schemas.microsoft.com/office/drawing/2014/main" id="{17A07975-86D3-4781-B670-F7BA83AE5FD9}"/>
              </a:ext>
            </a:extLst>
          </p:cNvPr>
          <p:cNvSpPr txBox="1">
            <a:spLocks noChangeArrowheads="1"/>
          </p:cNvSpPr>
          <p:nvPr/>
        </p:nvSpPr>
        <p:spPr bwMode="auto">
          <a:xfrm>
            <a:off x="1477963" y="4186238"/>
            <a:ext cx="14446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800" b="0">
                <a:latin typeface="Calibri" panose="020F0502020204030204" pitchFamily="34" charset="0"/>
              </a:rPr>
              <a:t>L’innovation</a:t>
            </a:r>
          </a:p>
        </p:txBody>
      </p:sp>
      <p:sp>
        <p:nvSpPr>
          <p:cNvPr id="24598" name="ZoneTexte 24">
            <a:extLst>
              <a:ext uri="{FF2B5EF4-FFF2-40B4-BE49-F238E27FC236}">
                <a16:creationId xmlns="" xmlns:a16="http://schemas.microsoft.com/office/drawing/2014/main" id="{1558F280-39D7-49A1-9486-353BD282F461}"/>
              </a:ext>
            </a:extLst>
          </p:cNvPr>
          <p:cNvSpPr txBox="1">
            <a:spLocks noChangeArrowheads="1"/>
          </p:cNvSpPr>
          <p:nvPr/>
        </p:nvSpPr>
        <p:spPr bwMode="auto">
          <a:xfrm>
            <a:off x="3635375" y="5153025"/>
            <a:ext cx="21018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800" b="0">
                <a:latin typeface="Calibri" panose="020F0502020204030204" pitchFamily="34" charset="0"/>
              </a:rPr>
              <a:t>Le travail en équipe</a:t>
            </a:r>
          </a:p>
        </p:txBody>
      </p:sp>
      <p:sp>
        <p:nvSpPr>
          <p:cNvPr id="11" name="Ellipse 10">
            <a:extLst>
              <a:ext uri="{FF2B5EF4-FFF2-40B4-BE49-F238E27FC236}">
                <a16:creationId xmlns="" xmlns:a16="http://schemas.microsoft.com/office/drawing/2014/main" id="{E065174B-AB87-4E76-BBBB-BCD1661AE7A2}"/>
              </a:ext>
            </a:extLst>
          </p:cNvPr>
          <p:cNvSpPr/>
          <p:nvPr/>
        </p:nvSpPr>
        <p:spPr>
          <a:xfrm>
            <a:off x="3708400" y="3143250"/>
            <a:ext cx="1663700" cy="1293813"/>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fr-FR"/>
          </a:p>
        </p:txBody>
      </p:sp>
      <p:sp>
        <p:nvSpPr>
          <p:cNvPr id="24600" name="ZoneTexte 26">
            <a:extLst>
              <a:ext uri="{FF2B5EF4-FFF2-40B4-BE49-F238E27FC236}">
                <a16:creationId xmlns="" xmlns:a16="http://schemas.microsoft.com/office/drawing/2014/main" id="{5C499E45-4814-49F5-BBA2-0C62B6C386A3}"/>
              </a:ext>
            </a:extLst>
          </p:cNvPr>
          <p:cNvSpPr txBox="1">
            <a:spLocks noChangeArrowheads="1"/>
          </p:cNvSpPr>
          <p:nvPr/>
        </p:nvSpPr>
        <p:spPr bwMode="auto">
          <a:xfrm>
            <a:off x="3852863" y="3425825"/>
            <a:ext cx="141605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eaLnBrk="1" hangingPunct="1">
              <a:spcBef>
                <a:spcPct val="0"/>
              </a:spcBef>
              <a:buFontTx/>
              <a:buNone/>
            </a:pPr>
            <a:r>
              <a:rPr lang="fr-FR" altLang="fr-FR" sz="1800" dirty="0">
                <a:latin typeface="Calibri" panose="020F0502020204030204" pitchFamily="34" charset="0"/>
              </a:rPr>
              <a:t>MDPH</a:t>
            </a:r>
          </a:p>
          <a:p>
            <a:pPr algn="ctr" eaLnBrk="1" hangingPunct="1">
              <a:spcBef>
                <a:spcPct val="0"/>
              </a:spcBef>
              <a:buFontTx/>
              <a:buNone/>
            </a:pPr>
            <a:r>
              <a:rPr lang="fr-FR" altLang="fr-FR" sz="1800" dirty="0" err="1">
                <a:latin typeface="Calibri" panose="020F0502020204030204" pitchFamily="34" charset="0"/>
              </a:rPr>
              <a:t>Assemblier</a:t>
            </a:r>
            <a:endParaRPr lang="fr-FR" altLang="fr-FR" sz="1800" dirty="0">
              <a:latin typeface="Calibri" panose="020F0502020204030204" pitchFamily="34" charset="0"/>
            </a:endParaRPr>
          </a:p>
        </p:txBody>
      </p:sp>
    </p:spTree>
  </p:cSld>
  <p:clrMapOvr>
    <a:masterClrMapping/>
  </p:clrMapOvr>
  <p:transition spd="slow">
    <p:cove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80">
                                          <p:stCondLst>
                                            <p:cond delay="0"/>
                                          </p:stCondLst>
                                        </p:cTn>
                                        <p:tgtEl>
                                          <p:spTgt spid="12"/>
                                        </p:tgtEl>
                                      </p:cBhvr>
                                    </p:animEffect>
                                    <p:anim calcmode="lin" valueType="num">
                                      <p:cBhvr>
                                        <p:cTn id="8" dur="1822" tmFilter="0,0; 0.14,0.36; 0.43,0.73; 0.71,0.91; 1.0,1.0">
                                          <p:stCondLst>
                                            <p:cond delay="0"/>
                                          </p:stCondLst>
                                        </p:cTn>
                                        <p:tgtEl>
                                          <p:spTgt spid="12"/>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2"/>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2"/>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2"/>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2"/>
                                        </p:tgtEl>
                                        <p:attrNameLst>
                                          <p:attrName>ppt_y</p:attrName>
                                        </p:attrNameLst>
                                      </p:cBhvr>
                                      <p:tavLst>
                                        <p:tav tm="0" fmla="#ppt_y-sin(pi*$)/81">
                                          <p:val>
                                            <p:fltVal val="0"/>
                                          </p:val>
                                        </p:tav>
                                        <p:tav tm="100000">
                                          <p:val>
                                            <p:fltVal val="1"/>
                                          </p:val>
                                        </p:tav>
                                      </p:tavLst>
                                    </p:anim>
                                    <p:animScale>
                                      <p:cBhvr>
                                        <p:cTn id="13" dur="26">
                                          <p:stCondLst>
                                            <p:cond delay="650"/>
                                          </p:stCondLst>
                                        </p:cTn>
                                        <p:tgtEl>
                                          <p:spTgt spid="12"/>
                                        </p:tgtEl>
                                      </p:cBhvr>
                                      <p:to x="100000" y="60000"/>
                                    </p:animScale>
                                    <p:animScale>
                                      <p:cBhvr>
                                        <p:cTn id="14" dur="166" decel="50000">
                                          <p:stCondLst>
                                            <p:cond delay="676"/>
                                          </p:stCondLst>
                                        </p:cTn>
                                        <p:tgtEl>
                                          <p:spTgt spid="12"/>
                                        </p:tgtEl>
                                      </p:cBhvr>
                                      <p:to x="100000" y="100000"/>
                                    </p:animScale>
                                    <p:animScale>
                                      <p:cBhvr>
                                        <p:cTn id="15" dur="26">
                                          <p:stCondLst>
                                            <p:cond delay="1312"/>
                                          </p:stCondLst>
                                        </p:cTn>
                                        <p:tgtEl>
                                          <p:spTgt spid="12"/>
                                        </p:tgtEl>
                                      </p:cBhvr>
                                      <p:to x="100000" y="80000"/>
                                    </p:animScale>
                                    <p:animScale>
                                      <p:cBhvr>
                                        <p:cTn id="16" dur="166" decel="50000">
                                          <p:stCondLst>
                                            <p:cond delay="1338"/>
                                          </p:stCondLst>
                                        </p:cTn>
                                        <p:tgtEl>
                                          <p:spTgt spid="12"/>
                                        </p:tgtEl>
                                      </p:cBhvr>
                                      <p:to x="100000" y="100000"/>
                                    </p:animScale>
                                    <p:animScale>
                                      <p:cBhvr>
                                        <p:cTn id="17" dur="26">
                                          <p:stCondLst>
                                            <p:cond delay="1642"/>
                                          </p:stCondLst>
                                        </p:cTn>
                                        <p:tgtEl>
                                          <p:spTgt spid="12"/>
                                        </p:tgtEl>
                                      </p:cBhvr>
                                      <p:to x="100000" y="90000"/>
                                    </p:animScale>
                                    <p:animScale>
                                      <p:cBhvr>
                                        <p:cTn id="18" dur="166" decel="50000">
                                          <p:stCondLst>
                                            <p:cond delay="1668"/>
                                          </p:stCondLst>
                                        </p:cTn>
                                        <p:tgtEl>
                                          <p:spTgt spid="12"/>
                                        </p:tgtEl>
                                      </p:cBhvr>
                                      <p:to x="100000" y="100000"/>
                                    </p:animScale>
                                    <p:animScale>
                                      <p:cBhvr>
                                        <p:cTn id="19" dur="26">
                                          <p:stCondLst>
                                            <p:cond delay="1808"/>
                                          </p:stCondLst>
                                        </p:cTn>
                                        <p:tgtEl>
                                          <p:spTgt spid="12"/>
                                        </p:tgtEl>
                                      </p:cBhvr>
                                      <p:to x="100000" y="95000"/>
                                    </p:animScale>
                                    <p:animScale>
                                      <p:cBhvr>
                                        <p:cTn id="20" dur="166" decel="50000">
                                          <p:stCondLst>
                                            <p:cond delay="1834"/>
                                          </p:stCondLst>
                                        </p:cTn>
                                        <p:tgtEl>
                                          <p:spTgt spid="12"/>
                                        </p:tgtEl>
                                      </p:cBhvr>
                                      <p:to x="100000" y="100000"/>
                                    </p:animScale>
                                  </p:childTnLst>
                                </p:cTn>
                              </p:par>
                              <p:par>
                                <p:cTn id="21" presetID="26" presetClass="entr" presetSubtype="0" fill="hold" grpId="0" nodeType="withEffect">
                                  <p:stCondLst>
                                    <p:cond delay="0"/>
                                  </p:stCondLst>
                                  <p:childTnLst>
                                    <p:set>
                                      <p:cBhvr>
                                        <p:cTn id="22" dur="1" fill="hold">
                                          <p:stCondLst>
                                            <p:cond delay="0"/>
                                          </p:stCondLst>
                                        </p:cTn>
                                        <p:tgtEl>
                                          <p:spTgt spid="24591"/>
                                        </p:tgtEl>
                                        <p:attrNameLst>
                                          <p:attrName>style.visibility</p:attrName>
                                        </p:attrNameLst>
                                      </p:cBhvr>
                                      <p:to>
                                        <p:strVal val="visible"/>
                                      </p:to>
                                    </p:set>
                                    <p:animEffect transition="in" filter="wipe(down)">
                                      <p:cBhvr>
                                        <p:cTn id="23" dur="580">
                                          <p:stCondLst>
                                            <p:cond delay="0"/>
                                          </p:stCondLst>
                                        </p:cTn>
                                        <p:tgtEl>
                                          <p:spTgt spid="24591"/>
                                        </p:tgtEl>
                                      </p:cBhvr>
                                    </p:animEffect>
                                    <p:anim calcmode="lin" valueType="num">
                                      <p:cBhvr>
                                        <p:cTn id="24" dur="1822" tmFilter="0,0; 0.14,0.36; 0.43,0.73; 0.71,0.91; 1.0,1.0">
                                          <p:stCondLst>
                                            <p:cond delay="0"/>
                                          </p:stCondLst>
                                        </p:cTn>
                                        <p:tgtEl>
                                          <p:spTgt spid="24591"/>
                                        </p:tgtEl>
                                        <p:attrNameLst>
                                          <p:attrName>ppt_x</p:attrName>
                                        </p:attrNameLst>
                                      </p:cBhvr>
                                      <p:tavLst>
                                        <p:tav tm="0">
                                          <p:val>
                                            <p:strVal val="#ppt_x-0.25"/>
                                          </p:val>
                                        </p:tav>
                                        <p:tav tm="100000">
                                          <p:val>
                                            <p:strVal val="#ppt_x"/>
                                          </p:val>
                                        </p:tav>
                                      </p:tavLst>
                                    </p:anim>
                                    <p:anim calcmode="lin" valueType="num">
                                      <p:cBhvr>
                                        <p:cTn id="25" dur="664" tmFilter="0.0,0.0; 0.25,0.07; 0.50,0.2; 0.75,0.467; 1.0,1.0">
                                          <p:stCondLst>
                                            <p:cond delay="0"/>
                                          </p:stCondLst>
                                        </p:cTn>
                                        <p:tgtEl>
                                          <p:spTgt spid="24591"/>
                                        </p:tgtEl>
                                        <p:attrNameLst>
                                          <p:attrName>ppt_y</p:attrName>
                                        </p:attrNameLst>
                                      </p:cBhvr>
                                      <p:tavLst>
                                        <p:tav tm="0" fmla="#ppt_y-sin(pi*$)/3">
                                          <p:val>
                                            <p:fltVal val="0.5"/>
                                          </p:val>
                                        </p:tav>
                                        <p:tav tm="100000">
                                          <p:val>
                                            <p:fltVal val="1"/>
                                          </p:val>
                                        </p:tav>
                                      </p:tavLst>
                                    </p:anim>
                                    <p:anim calcmode="lin" valueType="num">
                                      <p:cBhvr>
                                        <p:cTn id="26" dur="664" tmFilter="0, 0; 0.125,0.2665; 0.25,0.4; 0.375,0.465; 0.5,0.5;  0.625,0.535; 0.75,0.6; 0.875,0.7335; 1,1">
                                          <p:stCondLst>
                                            <p:cond delay="664"/>
                                          </p:stCondLst>
                                        </p:cTn>
                                        <p:tgtEl>
                                          <p:spTgt spid="24591"/>
                                        </p:tgtEl>
                                        <p:attrNameLst>
                                          <p:attrName>ppt_y</p:attrName>
                                        </p:attrNameLst>
                                      </p:cBhvr>
                                      <p:tavLst>
                                        <p:tav tm="0" fmla="#ppt_y-sin(pi*$)/9">
                                          <p:val>
                                            <p:fltVal val="0"/>
                                          </p:val>
                                        </p:tav>
                                        <p:tav tm="100000">
                                          <p:val>
                                            <p:fltVal val="1"/>
                                          </p:val>
                                        </p:tav>
                                      </p:tavLst>
                                    </p:anim>
                                    <p:anim calcmode="lin" valueType="num">
                                      <p:cBhvr>
                                        <p:cTn id="27" dur="332" tmFilter="0, 0; 0.125,0.2665; 0.25,0.4; 0.375,0.465; 0.5,0.5;  0.625,0.535; 0.75,0.6; 0.875,0.7335; 1,1">
                                          <p:stCondLst>
                                            <p:cond delay="1324"/>
                                          </p:stCondLst>
                                        </p:cTn>
                                        <p:tgtEl>
                                          <p:spTgt spid="24591"/>
                                        </p:tgtEl>
                                        <p:attrNameLst>
                                          <p:attrName>ppt_y</p:attrName>
                                        </p:attrNameLst>
                                      </p:cBhvr>
                                      <p:tavLst>
                                        <p:tav tm="0" fmla="#ppt_y-sin(pi*$)/27">
                                          <p:val>
                                            <p:fltVal val="0"/>
                                          </p:val>
                                        </p:tav>
                                        <p:tav tm="100000">
                                          <p:val>
                                            <p:fltVal val="1"/>
                                          </p:val>
                                        </p:tav>
                                      </p:tavLst>
                                    </p:anim>
                                    <p:anim calcmode="lin" valueType="num">
                                      <p:cBhvr>
                                        <p:cTn id="28" dur="164" tmFilter="0, 0; 0.125,0.2665; 0.25,0.4; 0.375,0.465; 0.5,0.5;  0.625,0.535; 0.75,0.6; 0.875,0.7335; 1,1">
                                          <p:stCondLst>
                                            <p:cond delay="1656"/>
                                          </p:stCondLst>
                                        </p:cTn>
                                        <p:tgtEl>
                                          <p:spTgt spid="24591"/>
                                        </p:tgtEl>
                                        <p:attrNameLst>
                                          <p:attrName>ppt_y</p:attrName>
                                        </p:attrNameLst>
                                      </p:cBhvr>
                                      <p:tavLst>
                                        <p:tav tm="0" fmla="#ppt_y-sin(pi*$)/81">
                                          <p:val>
                                            <p:fltVal val="0"/>
                                          </p:val>
                                        </p:tav>
                                        <p:tav tm="100000">
                                          <p:val>
                                            <p:fltVal val="1"/>
                                          </p:val>
                                        </p:tav>
                                      </p:tavLst>
                                    </p:anim>
                                    <p:animScale>
                                      <p:cBhvr>
                                        <p:cTn id="29" dur="26">
                                          <p:stCondLst>
                                            <p:cond delay="650"/>
                                          </p:stCondLst>
                                        </p:cTn>
                                        <p:tgtEl>
                                          <p:spTgt spid="24591"/>
                                        </p:tgtEl>
                                      </p:cBhvr>
                                      <p:to x="100000" y="60000"/>
                                    </p:animScale>
                                    <p:animScale>
                                      <p:cBhvr>
                                        <p:cTn id="30" dur="166" decel="50000">
                                          <p:stCondLst>
                                            <p:cond delay="676"/>
                                          </p:stCondLst>
                                        </p:cTn>
                                        <p:tgtEl>
                                          <p:spTgt spid="24591"/>
                                        </p:tgtEl>
                                      </p:cBhvr>
                                      <p:to x="100000" y="100000"/>
                                    </p:animScale>
                                    <p:animScale>
                                      <p:cBhvr>
                                        <p:cTn id="31" dur="26">
                                          <p:stCondLst>
                                            <p:cond delay="1312"/>
                                          </p:stCondLst>
                                        </p:cTn>
                                        <p:tgtEl>
                                          <p:spTgt spid="24591"/>
                                        </p:tgtEl>
                                      </p:cBhvr>
                                      <p:to x="100000" y="80000"/>
                                    </p:animScale>
                                    <p:animScale>
                                      <p:cBhvr>
                                        <p:cTn id="32" dur="166" decel="50000">
                                          <p:stCondLst>
                                            <p:cond delay="1338"/>
                                          </p:stCondLst>
                                        </p:cTn>
                                        <p:tgtEl>
                                          <p:spTgt spid="24591"/>
                                        </p:tgtEl>
                                      </p:cBhvr>
                                      <p:to x="100000" y="100000"/>
                                    </p:animScale>
                                    <p:animScale>
                                      <p:cBhvr>
                                        <p:cTn id="33" dur="26">
                                          <p:stCondLst>
                                            <p:cond delay="1642"/>
                                          </p:stCondLst>
                                        </p:cTn>
                                        <p:tgtEl>
                                          <p:spTgt spid="24591"/>
                                        </p:tgtEl>
                                      </p:cBhvr>
                                      <p:to x="100000" y="90000"/>
                                    </p:animScale>
                                    <p:animScale>
                                      <p:cBhvr>
                                        <p:cTn id="34" dur="166" decel="50000">
                                          <p:stCondLst>
                                            <p:cond delay="1668"/>
                                          </p:stCondLst>
                                        </p:cTn>
                                        <p:tgtEl>
                                          <p:spTgt spid="24591"/>
                                        </p:tgtEl>
                                      </p:cBhvr>
                                      <p:to x="100000" y="100000"/>
                                    </p:animScale>
                                    <p:animScale>
                                      <p:cBhvr>
                                        <p:cTn id="35" dur="26">
                                          <p:stCondLst>
                                            <p:cond delay="1808"/>
                                          </p:stCondLst>
                                        </p:cTn>
                                        <p:tgtEl>
                                          <p:spTgt spid="24591"/>
                                        </p:tgtEl>
                                      </p:cBhvr>
                                      <p:to x="100000" y="95000"/>
                                    </p:animScale>
                                    <p:animScale>
                                      <p:cBhvr>
                                        <p:cTn id="36" dur="166" decel="50000">
                                          <p:stCondLst>
                                            <p:cond delay="1834"/>
                                          </p:stCondLst>
                                        </p:cTn>
                                        <p:tgtEl>
                                          <p:spTgt spid="24591"/>
                                        </p:tgtEl>
                                      </p:cBhvr>
                                      <p:to x="100000" y="100000"/>
                                    </p:animScale>
                                  </p:childTnLst>
                                </p:cTn>
                              </p:par>
                            </p:childTnLst>
                          </p:cTn>
                        </p:par>
                      </p:childTnLst>
                    </p:cTn>
                  </p:par>
                  <p:par>
                    <p:cTn id="37" fill="hold" nodeType="clickPar">
                      <p:stCondLst>
                        <p:cond delay="indefinite"/>
                      </p:stCondLst>
                      <p:childTnLst>
                        <p:par>
                          <p:cTn id="38" fill="hold" nodeType="withGroup">
                            <p:stCondLst>
                              <p:cond delay="0"/>
                            </p:stCondLst>
                            <p:childTnLst>
                              <p:par>
                                <p:cTn id="39" presetID="26" presetClass="entr" presetSubtype="0" fill="hold" grpId="0" nodeType="click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wipe(down)">
                                      <p:cBhvr>
                                        <p:cTn id="41" dur="580">
                                          <p:stCondLst>
                                            <p:cond delay="0"/>
                                          </p:stCondLst>
                                        </p:cTn>
                                        <p:tgtEl>
                                          <p:spTgt spid="13"/>
                                        </p:tgtEl>
                                      </p:cBhvr>
                                    </p:animEffect>
                                    <p:anim calcmode="lin" valueType="num">
                                      <p:cBhvr>
                                        <p:cTn id="42" dur="1822" tmFilter="0,0; 0.14,0.36; 0.43,0.73; 0.71,0.91; 1.0,1.0">
                                          <p:stCondLst>
                                            <p:cond delay="0"/>
                                          </p:stCondLst>
                                        </p:cTn>
                                        <p:tgtEl>
                                          <p:spTgt spid="13"/>
                                        </p:tgtEl>
                                        <p:attrNameLst>
                                          <p:attrName>ppt_x</p:attrName>
                                        </p:attrNameLst>
                                      </p:cBhvr>
                                      <p:tavLst>
                                        <p:tav tm="0">
                                          <p:val>
                                            <p:strVal val="#ppt_x-0.25"/>
                                          </p:val>
                                        </p:tav>
                                        <p:tav tm="100000">
                                          <p:val>
                                            <p:strVal val="#ppt_x"/>
                                          </p:val>
                                        </p:tav>
                                      </p:tavLst>
                                    </p:anim>
                                    <p:anim calcmode="lin" valueType="num">
                                      <p:cBhvr>
                                        <p:cTn id="43" dur="664" tmFilter="0.0,0.0; 0.25,0.07; 0.50,0.2; 0.75,0.467; 1.0,1.0">
                                          <p:stCondLst>
                                            <p:cond delay="0"/>
                                          </p:stCondLst>
                                        </p:cTn>
                                        <p:tgtEl>
                                          <p:spTgt spid="13"/>
                                        </p:tgtEl>
                                        <p:attrNameLst>
                                          <p:attrName>ppt_y</p:attrName>
                                        </p:attrNameLst>
                                      </p:cBhvr>
                                      <p:tavLst>
                                        <p:tav tm="0" fmla="#ppt_y-sin(pi*$)/3">
                                          <p:val>
                                            <p:fltVal val="0.5"/>
                                          </p:val>
                                        </p:tav>
                                        <p:tav tm="100000">
                                          <p:val>
                                            <p:fltVal val="1"/>
                                          </p:val>
                                        </p:tav>
                                      </p:tavLst>
                                    </p:anim>
                                    <p:anim calcmode="lin" valueType="num">
                                      <p:cBhvr>
                                        <p:cTn id="44" dur="664" tmFilter="0, 0; 0.125,0.2665; 0.25,0.4; 0.375,0.465; 0.5,0.5;  0.625,0.535; 0.75,0.6; 0.875,0.7335; 1,1">
                                          <p:stCondLst>
                                            <p:cond delay="664"/>
                                          </p:stCondLst>
                                        </p:cTn>
                                        <p:tgtEl>
                                          <p:spTgt spid="13"/>
                                        </p:tgtEl>
                                        <p:attrNameLst>
                                          <p:attrName>ppt_y</p:attrName>
                                        </p:attrNameLst>
                                      </p:cBhvr>
                                      <p:tavLst>
                                        <p:tav tm="0" fmla="#ppt_y-sin(pi*$)/9">
                                          <p:val>
                                            <p:fltVal val="0"/>
                                          </p:val>
                                        </p:tav>
                                        <p:tav tm="100000">
                                          <p:val>
                                            <p:fltVal val="1"/>
                                          </p:val>
                                        </p:tav>
                                      </p:tavLst>
                                    </p:anim>
                                    <p:anim calcmode="lin" valueType="num">
                                      <p:cBhvr>
                                        <p:cTn id="45" dur="332" tmFilter="0, 0; 0.125,0.2665; 0.25,0.4; 0.375,0.465; 0.5,0.5;  0.625,0.535; 0.75,0.6; 0.875,0.7335; 1,1">
                                          <p:stCondLst>
                                            <p:cond delay="1324"/>
                                          </p:stCondLst>
                                        </p:cTn>
                                        <p:tgtEl>
                                          <p:spTgt spid="13"/>
                                        </p:tgtEl>
                                        <p:attrNameLst>
                                          <p:attrName>ppt_y</p:attrName>
                                        </p:attrNameLst>
                                      </p:cBhvr>
                                      <p:tavLst>
                                        <p:tav tm="0" fmla="#ppt_y-sin(pi*$)/27">
                                          <p:val>
                                            <p:fltVal val="0"/>
                                          </p:val>
                                        </p:tav>
                                        <p:tav tm="100000">
                                          <p:val>
                                            <p:fltVal val="1"/>
                                          </p:val>
                                        </p:tav>
                                      </p:tavLst>
                                    </p:anim>
                                    <p:anim calcmode="lin" valueType="num">
                                      <p:cBhvr>
                                        <p:cTn id="46" dur="164" tmFilter="0, 0; 0.125,0.2665; 0.25,0.4; 0.375,0.465; 0.5,0.5;  0.625,0.535; 0.75,0.6; 0.875,0.7335; 1,1">
                                          <p:stCondLst>
                                            <p:cond delay="1656"/>
                                          </p:stCondLst>
                                        </p:cTn>
                                        <p:tgtEl>
                                          <p:spTgt spid="13"/>
                                        </p:tgtEl>
                                        <p:attrNameLst>
                                          <p:attrName>ppt_y</p:attrName>
                                        </p:attrNameLst>
                                      </p:cBhvr>
                                      <p:tavLst>
                                        <p:tav tm="0" fmla="#ppt_y-sin(pi*$)/81">
                                          <p:val>
                                            <p:fltVal val="0"/>
                                          </p:val>
                                        </p:tav>
                                        <p:tav tm="100000">
                                          <p:val>
                                            <p:fltVal val="1"/>
                                          </p:val>
                                        </p:tav>
                                      </p:tavLst>
                                    </p:anim>
                                    <p:animScale>
                                      <p:cBhvr>
                                        <p:cTn id="47" dur="26">
                                          <p:stCondLst>
                                            <p:cond delay="650"/>
                                          </p:stCondLst>
                                        </p:cTn>
                                        <p:tgtEl>
                                          <p:spTgt spid="13"/>
                                        </p:tgtEl>
                                      </p:cBhvr>
                                      <p:to x="100000" y="60000"/>
                                    </p:animScale>
                                    <p:animScale>
                                      <p:cBhvr>
                                        <p:cTn id="48" dur="166" decel="50000">
                                          <p:stCondLst>
                                            <p:cond delay="676"/>
                                          </p:stCondLst>
                                        </p:cTn>
                                        <p:tgtEl>
                                          <p:spTgt spid="13"/>
                                        </p:tgtEl>
                                      </p:cBhvr>
                                      <p:to x="100000" y="100000"/>
                                    </p:animScale>
                                    <p:animScale>
                                      <p:cBhvr>
                                        <p:cTn id="49" dur="26">
                                          <p:stCondLst>
                                            <p:cond delay="1312"/>
                                          </p:stCondLst>
                                        </p:cTn>
                                        <p:tgtEl>
                                          <p:spTgt spid="13"/>
                                        </p:tgtEl>
                                      </p:cBhvr>
                                      <p:to x="100000" y="80000"/>
                                    </p:animScale>
                                    <p:animScale>
                                      <p:cBhvr>
                                        <p:cTn id="50" dur="166" decel="50000">
                                          <p:stCondLst>
                                            <p:cond delay="1338"/>
                                          </p:stCondLst>
                                        </p:cTn>
                                        <p:tgtEl>
                                          <p:spTgt spid="13"/>
                                        </p:tgtEl>
                                      </p:cBhvr>
                                      <p:to x="100000" y="100000"/>
                                    </p:animScale>
                                    <p:animScale>
                                      <p:cBhvr>
                                        <p:cTn id="51" dur="26">
                                          <p:stCondLst>
                                            <p:cond delay="1642"/>
                                          </p:stCondLst>
                                        </p:cTn>
                                        <p:tgtEl>
                                          <p:spTgt spid="13"/>
                                        </p:tgtEl>
                                      </p:cBhvr>
                                      <p:to x="100000" y="90000"/>
                                    </p:animScale>
                                    <p:animScale>
                                      <p:cBhvr>
                                        <p:cTn id="52" dur="166" decel="50000">
                                          <p:stCondLst>
                                            <p:cond delay="1668"/>
                                          </p:stCondLst>
                                        </p:cTn>
                                        <p:tgtEl>
                                          <p:spTgt spid="13"/>
                                        </p:tgtEl>
                                      </p:cBhvr>
                                      <p:to x="100000" y="100000"/>
                                    </p:animScale>
                                    <p:animScale>
                                      <p:cBhvr>
                                        <p:cTn id="53" dur="26">
                                          <p:stCondLst>
                                            <p:cond delay="1808"/>
                                          </p:stCondLst>
                                        </p:cTn>
                                        <p:tgtEl>
                                          <p:spTgt spid="13"/>
                                        </p:tgtEl>
                                      </p:cBhvr>
                                      <p:to x="100000" y="95000"/>
                                    </p:animScale>
                                    <p:animScale>
                                      <p:cBhvr>
                                        <p:cTn id="54" dur="166" decel="50000">
                                          <p:stCondLst>
                                            <p:cond delay="1834"/>
                                          </p:stCondLst>
                                        </p:cTn>
                                        <p:tgtEl>
                                          <p:spTgt spid="13"/>
                                        </p:tgtEl>
                                      </p:cBhvr>
                                      <p:to x="100000" y="100000"/>
                                    </p:animScale>
                                  </p:childTnLst>
                                </p:cTn>
                              </p:par>
                              <p:par>
                                <p:cTn id="55" presetID="26" presetClass="entr" presetSubtype="0" fill="hold" grpId="0" nodeType="withEffect">
                                  <p:stCondLst>
                                    <p:cond delay="0"/>
                                  </p:stCondLst>
                                  <p:childTnLst>
                                    <p:set>
                                      <p:cBhvr>
                                        <p:cTn id="56" dur="1" fill="hold">
                                          <p:stCondLst>
                                            <p:cond delay="0"/>
                                          </p:stCondLst>
                                        </p:cTn>
                                        <p:tgtEl>
                                          <p:spTgt spid="24592"/>
                                        </p:tgtEl>
                                        <p:attrNameLst>
                                          <p:attrName>style.visibility</p:attrName>
                                        </p:attrNameLst>
                                      </p:cBhvr>
                                      <p:to>
                                        <p:strVal val="visible"/>
                                      </p:to>
                                    </p:set>
                                    <p:animEffect transition="in" filter="wipe(down)">
                                      <p:cBhvr>
                                        <p:cTn id="57" dur="580">
                                          <p:stCondLst>
                                            <p:cond delay="0"/>
                                          </p:stCondLst>
                                        </p:cTn>
                                        <p:tgtEl>
                                          <p:spTgt spid="24592"/>
                                        </p:tgtEl>
                                      </p:cBhvr>
                                    </p:animEffect>
                                    <p:anim calcmode="lin" valueType="num">
                                      <p:cBhvr>
                                        <p:cTn id="58" dur="1822" tmFilter="0,0; 0.14,0.36; 0.43,0.73; 0.71,0.91; 1.0,1.0">
                                          <p:stCondLst>
                                            <p:cond delay="0"/>
                                          </p:stCondLst>
                                        </p:cTn>
                                        <p:tgtEl>
                                          <p:spTgt spid="24592"/>
                                        </p:tgtEl>
                                        <p:attrNameLst>
                                          <p:attrName>ppt_x</p:attrName>
                                        </p:attrNameLst>
                                      </p:cBhvr>
                                      <p:tavLst>
                                        <p:tav tm="0">
                                          <p:val>
                                            <p:strVal val="#ppt_x-0.25"/>
                                          </p:val>
                                        </p:tav>
                                        <p:tav tm="100000">
                                          <p:val>
                                            <p:strVal val="#ppt_x"/>
                                          </p:val>
                                        </p:tav>
                                      </p:tavLst>
                                    </p:anim>
                                    <p:anim calcmode="lin" valueType="num">
                                      <p:cBhvr>
                                        <p:cTn id="59" dur="664" tmFilter="0.0,0.0; 0.25,0.07; 0.50,0.2; 0.75,0.467; 1.0,1.0">
                                          <p:stCondLst>
                                            <p:cond delay="0"/>
                                          </p:stCondLst>
                                        </p:cTn>
                                        <p:tgtEl>
                                          <p:spTgt spid="24592"/>
                                        </p:tgtEl>
                                        <p:attrNameLst>
                                          <p:attrName>ppt_y</p:attrName>
                                        </p:attrNameLst>
                                      </p:cBhvr>
                                      <p:tavLst>
                                        <p:tav tm="0" fmla="#ppt_y-sin(pi*$)/3">
                                          <p:val>
                                            <p:fltVal val="0.5"/>
                                          </p:val>
                                        </p:tav>
                                        <p:tav tm="100000">
                                          <p:val>
                                            <p:fltVal val="1"/>
                                          </p:val>
                                        </p:tav>
                                      </p:tavLst>
                                    </p:anim>
                                    <p:anim calcmode="lin" valueType="num">
                                      <p:cBhvr>
                                        <p:cTn id="60" dur="664" tmFilter="0, 0; 0.125,0.2665; 0.25,0.4; 0.375,0.465; 0.5,0.5;  0.625,0.535; 0.75,0.6; 0.875,0.7335; 1,1">
                                          <p:stCondLst>
                                            <p:cond delay="664"/>
                                          </p:stCondLst>
                                        </p:cTn>
                                        <p:tgtEl>
                                          <p:spTgt spid="24592"/>
                                        </p:tgtEl>
                                        <p:attrNameLst>
                                          <p:attrName>ppt_y</p:attrName>
                                        </p:attrNameLst>
                                      </p:cBhvr>
                                      <p:tavLst>
                                        <p:tav tm="0" fmla="#ppt_y-sin(pi*$)/9">
                                          <p:val>
                                            <p:fltVal val="0"/>
                                          </p:val>
                                        </p:tav>
                                        <p:tav tm="100000">
                                          <p:val>
                                            <p:fltVal val="1"/>
                                          </p:val>
                                        </p:tav>
                                      </p:tavLst>
                                    </p:anim>
                                    <p:anim calcmode="lin" valueType="num">
                                      <p:cBhvr>
                                        <p:cTn id="61" dur="332" tmFilter="0, 0; 0.125,0.2665; 0.25,0.4; 0.375,0.465; 0.5,0.5;  0.625,0.535; 0.75,0.6; 0.875,0.7335; 1,1">
                                          <p:stCondLst>
                                            <p:cond delay="1324"/>
                                          </p:stCondLst>
                                        </p:cTn>
                                        <p:tgtEl>
                                          <p:spTgt spid="24592"/>
                                        </p:tgtEl>
                                        <p:attrNameLst>
                                          <p:attrName>ppt_y</p:attrName>
                                        </p:attrNameLst>
                                      </p:cBhvr>
                                      <p:tavLst>
                                        <p:tav tm="0" fmla="#ppt_y-sin(pi*$)/27">
                                          <p:val>
                                            <p:fltVal val="0"/>
                                          </p:val>
                                        </p:tav>
                                        <p:tav tm="100000">
                                          <p:val>
                                            <p:fltVal val="1"/>
                                          </p:val>
                                        </p:tav>
                                      </p:tavLst>
                                    </p:anim>
                                    <p:anim calcmode="lin" valueType="num">
                                      <p:cBhvr>
                                        <p:cTn id="62" dur="164" tmFilter="0, 0; 0.125,0.2665; 0.25,0.4; 0.375,0.465; 0.5,0.5;  0.625,0.535; 0.75,0.6; 0.875,0.7335; 1,1">
                                          <p:stCondLst>
                                            <p:cond delay="1656"/>
                                          </p:stCondLst>
                                        </p:cTn>
                                        <p:tgtEl>
                                          <p:spTgt spid="24592"/>
                                        </p:tgtEl>
                                        <p:attrNameLst>
                                          <p:attrName>ppt_y</p:attrName>
                                        </p:attrNameLst>
                                      </p:cBhvr>
                                      <p:tavLst>
                                        <p:tav tm="0" fmla="#ppt_y-sin(pi*$)/81">
                                          <p:val>
                                            <p:fltVal val="0"/>
                                          </p:val>
                                        </p:tav>
                                        <p:tav tm="100000">
                                          <p:val>
                                            <p:fltVal val="1"/>
                                          </p:val>
                                        </p:tav>
                                      </p:tavLst>
                                    </p:anim>
                                    <p:animScale>
                                      <p:cBhvr>
                                        <p:cTn id="63" dur="26">
                                          <p:stCondLst>
                                            <p:cond delay="650"/>
                                          </p:stCondLst>
                                        </p:cTn>
                                        <p:tgtEl>
                                          <p:spTgt spid="24592"/>
                                        </p:tgtEl>
                                      </p:cBhvr>
                                      <p:to x="100000" y="60000"/>
                                    </p:animScale>
                                    <p:animScale>
                                      <p:cBhvr>
                                        <p:cTn id="64" dur="166" decel="50000">
                                          <p:stCondLst>
                                            <p:cond delay="676"/>
                                          </p:stCondLst>
                                        </p:cTn>
                                        <p:tgtEl>
                                          <p:spTgt spid="24592"/>
                                        </p:tgtEl>
                                      </p:cBhvr>
                                      <p:to x="100000" y="100000"/>
                                    </p:animScale>
                                    <p:animScale>
                                      <p:cBhvr>
                                        <p:cTn id="65" dur="26">
                                          <p:stCondLst>
                                            <p:cond delay="1312"/>
                                          </p:stCondLst>
                                        </p:cTn>
                                        <p:tgtEl>
                                          <p:spTgt spid="24592"/>
                                        </p:tgtEl>
                                      </p:cBhvr>
                                      <p:to x="100000" y="80000"/>
                                    </p:animScale>
                                    <p:animScale>
                                      <p:cBhvr>
                                        <p:cTn id="66" dur="166" decel="50000">
                                          <p:stCondLst>
                                            <p:cond delay="1338"/>
                                          </p:stCondLst>
                                        </p:cTn>
                                        <p:tgtEl>
                                          <p:spTgt spid="24592"/>
                                        </p:tgtEl>
                                      </p:cBhvr>
                                      <p:to x="100000" y="100000"/>
                                    </p:animScale>
                                    <p:animScale>
                                      <p:cBhvr>
                                        <p:cTn id="67" dur="26">
                                          <p:stCondLst>
                                            <p:cond delay="1642"/>
                                          </p:stCondLst>
                                        </p:cTn>
                                        <p:tgtEl>
                                          <p:spTgt spid="24592"/>
                                        </p:tgtEl>
                                      </p:cBhvr>
                                      <p:to x="100000" y="90000"/>
                                    </p:animScale>
                                    <p:animScale>
                                      <p:cBhvr>
                                        <p:cTn id="68" dur="166" decel="50000">
                                          <p:stCondLst>
                                            <p:cond delay="1668"/>
                                          </p:stCondLst>
                                        </p:cTn>
                                        <p:tgtEl>
                                          <p:spTgt spid="24592"/>
                                        </p:tgtEl>
                                      </p:cBhvr>
                                      <p:to x="100000" y="100000"/>
                                    </p:animScale>
                                    <p:animScale>
                                      <p:cBhvr>
                                        <p:cTn id="69" dur="26">
                                          <p:stCondLst>
                                            <p:cond delay="1808"/>
                                          </p:stCondLst>
                                        </p:cTn>
                                        <p:tgtEl>
                                          <p:spTgt spid="24592"/>
                                        </p:tgtEl>
                                      </p:cBhvr>
                                      <p:to x="100000" y="95000"/>
                                    </p:animScale>
                                    <p:animScale>
                                      <p:cBhvr>
                                        <p:cTn id="70" dur="166" decel="50000">
                                          <p:stCondLst>
                                            <p:cond delay="1834"/>
                                          </p:stCondLst>
                                        </p:cTn>
                                        <p:tgtEl>
                                          <p:spTgt spid="24592"/>
                                        </p:tgtEl>
                                      </p:cBhvr>
                                      <p:to x="100000" y="100000"/>
                                    </p:animScale>
                                  </p:childTnLst>
                                </p:cTn>
                              </p:par>
                            </p:childTnLst>
                          </p:cTn>
                        </p:par>
                      </p:childTnLst>
                    </p:cTn>
                  </p:par>
                  <p:par>
                    <p:cTn id="71" fill="hold" nodeType="clickPar">
                      <p:stCondLst>
                        <p:cond delay="indefinite"/>
                      </p:stCondLst>
                      <p:childTnLst>
                        <p:par>
                          <p:cTn id="72" fill="hold" nodeType="withGroup">
                            <p:stCondLst>
                              <p:cond delay="0"/>
                            </p:stCondLst>
                            <p:childTnLst>
                              <p:par>
                                <p:cTn id="73" presetID="26" presetClass="entr" presetSubtype="0" fill="hold" grpId="0" nodeType="click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wipe(down)">
                                      <p:cBhvr>
                                        <p:cTn id="75" dur="580">
                                          <p:stCondLst>
                                            <p:cond delay="0"/>
                                          </p:stCondLst>
                                        </p:cTn>
                                        <p:tgtEl>
                                          <p:spTgt spid="15"/>
                                        </p:tgtEl>
                                      </p:cBhvr>
                                    </p:animEffect>
                                    <p:anim calcmode="lin" valueType="num">
                                      <p:cBhvr>
                                        <p:cTn id="76" dur="1822" tmFilter="0,0; 0.14,0.36; 0.43,0.73; 0.71,0.91; 1.0,1.0">
                                          <p:stCondLst>
                                            <p:cond delay="0"/>
                                          </p:stCondLst>
                                        </p:cTn>
                                        <p:tgtEl>
                                          <p:spTgt spid="15"/>
                                        </p:tgtEl>
                                        <p:attrNameLst>
                                          <p:attrName>ppt_x</p:attrName>
                                        </p:attrNameLst>
                                      </p:cBhvr>
                                      <p:tavLst>
                                        <p:tav tm="0">
                                          <p:val>
                                            <p:strVal val="#ppt_x-0.25"/>
                                          </p:val>
                                        </p:tav>
                                        <p:tav tm="100000">
                                          <p:val>
                                            <p:strVal val="#ppt_x"/>
                                          </p:val>
                                        </p:tav>
                                      </p:tavLst>
                                    </p:anim>
                                    <p:anim calcmode="lin" valueType="num">
                                      <p:cBhvr>
                                        <p:cTn id="77" dur="664" tmFilter="0.0,0.0; 0.25,0.07; 0.50,0.2; 0.75,0.467; 1.0,1.0">
                                          <p:stCondLst>
                                            <p:cond delay="0"/>
                                          </p:stCondLst>
                                        </p:cTn>
                                        <p:tgtEl>
                                          <p:spTgt spid="15"/>
                                        </p:tgtEl>
                                        <p:attrNameLst>
                                          <p:attrName>ppt_y</p:attrName>
                                        </p:attrNameLst>
                                      </p:cBhvr>
                                      <p:tavLst>
                                        <p:tav tm="0" fmla="#ppt_y-sin(pi*$)/3">
                                          <p:val>
                                            <p:fltVal val="0.5"/>
                                          </p:val>
                                        </p:tav>
                                        <p:tav tm="100000">
                                          <p:val>
                                            <p:fltVal val="1"/>
                                          </p:val>
                                        </p:tav>
                                      </p:tavLst>
                                    </p:anim>
                                    <p:anim calcmode="lin" valueType="num">
                                      <p:cBhvr>
                                        <p:cTn id="78" dur="664" tmFilter="0, 0; 0.125,0.2665; 0.25,0.4; 0.375,0.465; 0.5,0.5;  0.625,0.535; 0.75,0.6; 0.875,0.7335; 1,1">
                                          <p:stCondLst>
                                            <p:cond delay="664"/>
                                          </p:stCondLst>
                                        </p:cTn>
                                        <p:tgtEl>
                                          <p:spTgt spid="15"/>
                                        </p:tgtEl>
                                        <p:attrNameLst>
                                          <p:attrName>ppt_y</p:attrName>
                                        </p:attrNameLst>
                                      </p:cBhvr>
                                      <p:tavLst>
                                        <p:tav tm="0" fmla="#ppt_y-sin(pi*$)/9">
                                          <p:val>
                                            <p:fltVal val="0"/>
                                          </p:val>
                                        </p:tav>
                                        <p:tav tm="100000">
                                          <p:val>
                                            <p:fltVal val="1"/>
                                          </p:val>
                                        </p:tav>
                                      </p:tavLst>
                                    </p:anim>
                                    <p:anim calcmode="lin" valueType="num">
                                      <p:cBhvr>
                                        <p:cTn id="79" dur="332" tmFilter="0, 0; 0.125,0.2665; 0.25,0.4; 0.375,0.465; 0.5,0.5;  0.625,0.535; 0.75,0.6; 0.875,0.7335; 1,1">
                                          <p:stCondLst>
                                            <p:cond delay="1324"/>
                                          </p:stCondLst>
                                        </p:cTn>
                                        <p:tgtEl>
                                          <p:spTgt spid="15"/>
                                        </p:tgtEl>
                                        <p:attrNameLst>
                                          <p:attrName>ppt_y</p:attrName>
                                        </p:attrNameLst>
                                      </p:cBhvr>
                                      <p:tavLst>
                                        <p:tav tm="0" fmla="#ppt_y-sin(pi*$)/27">
                                          <p:val>
                                            <p:fltVal val="0"/>
                                          </p:val>
                                        </p:tav>
                                        <p:tav tm="100000">
                                          <p:val>
                                            <p:fltVal val="1"/>
                                          </p:val>
                                        </p:tav>
                                      </p:tavLst>
                                    </p:anim>
                                    <p:anim calcmode="lin" valueType="num">
                                      <p:cBhvr>
                                        <p:cTn id="80" dur="164" tmFilter="0, 0; 0.125,0.2665; 0.25,0.4; 0.375,0.465; 0.5,0.5;  0.625,0.535; 0.75,0.6; 0.875,0.7335; 1,1">
                                          <p:stCondLst>
                                            <p:cond delay="1656"/>
                                          </p:stCondLst>
                                        </p:cTn>
                                        <p:tgtEl>
                                          <p:spTgt spid="15"/>
                                        </p:tgtEl>
                                        <p:attrNameLst>
                                          <p:attrName>ppt_y</p:attrName>
                                        </p:attrNameLst>
                                      </p:cBhvr>
                                      <p:tavLst>
                                        <p:tav tm="0" fmla="#ppt_y-sin(pi*$)/81">
                                          <p:val>
                                            <p:fltVal val="0"/>
                                          </p:val>
                                        </p:tav>
                                        <p:tav tm="100000">
                                          <p:val>
                                            <p:fltVal val="1"/>
                                          </p:val>
                                        </p:tav>
                                      </p:tavLst>
                                    </p:anim>
                                    <p:animScale>
                                      <p:cBhvr>
                                        <p:cTn id="81" dur="26">
                                          <p:stCondLst>
                                            <p:cond delay="650"/>
                                          </p:stCondLst>
                                        </p:cTn>
                                        <p:tgtEl>
                                          <p:spTgt spid="15"/>
                                        </p:tgtEl>
                                      </p:cBhvr>
                                      <p:to x="100000" y="60000"/>
                                    </p:animScale>
                                    <p:animScale>
                                      <p:cBhvr>
                                        <p:cTn id="82" dur="166" decel="50000">
                                          <p:stCondLst>
                                            <p:cond delay="676"/>
                                          </p:stCondLst>
                                        </p:cTn>
                                        <p:tgtEl>
                                          <p:spTgt spid="15"/>
                                        </p:tgtEl>
                                      </p:cBhvr>
                                      <p:to x="100000" y="100000"/>
                                    </p:animScale>
                                    <p:animScale>
                                      <p:cBhvr>
                                        <p:cTn id="83" dur="26">
                                          <p:stCondLst>
                                            <p:cond delay="1312"/>
                                          </p:stCondLst>
                                        </p:cTn>
                                        <p:tgtEl>
                                          <p:spTgt spid="15"/>
                                        </p:tgtEl>
                                      </p:cBhvr>
                                      <p:to x="100000" y="80000"/>
                                    </p:animScale>
                                    <p:animScale>
                                      <p:cBhvr>
                                        <p:cTn id="84" dur="166" decel="50000">
                                          <p:stCondLst>
                                            <p:cond delay="1338"/>
                                          </p:stCondLst>
                                        </p:cTn>
                                        <p:tgtEl>
                                          <p:spTgt spid="15"/>
                                        </p:tgtEl>
                                      </p:cBhvr>
                                      <p:to x="100000" y="100000"/>
                                    </p:animScale>
                                    <p:animScale>
                                      <p:cBhvr>
                                        <p:cTn id="85" dur="26">
                                          <p:stCondLst>
                                            <p:cond delay="1642"/>
                                          </p:stCondLst>
                                        </p:cTn>
                                        <p:tgtEl>
                                          <p:spTgt spid="15"/>
                                        </p:tgtEl>
                                      </p:cBhvr>
                                      <p:to x="100000" y="90000"/>
                                    </p:animScale>
                                    <p:animScale>
                                      <p:cBhvr>
                                        <p:cTn id="86" dur="166" decel="50000">
                                          <p:stCondLst>
                                            <p:cond delay="1668"/>
                                          </p:stCondLst>
                                        </p:cTn>
                                        <p:tgtEl>
                                          <p:spTgt spid="15"/>
                                        </p:tgtEl>
                                      </p:cBhvr>
                                      <p:to x="100000" y="100000"/>
                                    </p:animScale>
                                    <p:animScale>
                                      <p:cBhvr>
                                        <p:cTn id="87" dur="26">
                                          <p:stCondLst>
                                            <p:cond delay="1808"/>
                                          </p:stCondLst>
                                        </p:cTn>
                                        <p:tgtEl>
                                          <p:spTgt spid="15"/>
                                        </p:tgtEl>
                                      </p:cBhvr>
                                      <p:to x="100000" y="95000"/>
                                    </p:animScale>
                                    <p:animScale>
                                      <p:cBhvr>
                                        <p:cTn id="88" dur="166" decel="50000">
                                          <p:stCondLst>
                                            <p:cond delay="1834"/>
                                          </p:stCondLst>
                                        </p:cTn>
                                        <p:tgtEl>
                                          <p:spTgt spid="15"/>
                                        </p:tgtEl>
                                      </p:cBhvr>
                                      <p:to x="100000" y="100000"/>
                                    </p:animScale>
                                  </p:childTnLst>
                                </p:cTn>
                              </p:par>
                              <p:par>
                                <p:cTn id="89" presetID="26" presetClass="entr" presetSubtype="0" fill="hold" grpId="0" nodeType="withEffect">
                                  <p:stCondLst>
                                    <p:cond delay="0"/>
                                  </p:stCondLst>
                                  <p:childTnLst>
                                    <p:set>
                                      <p:cBhvr>
                                        <p:cTn id="90" dur="1" fill="hold">
                                          <p:stCondLst>
                                            <p:cond delay="0"/>
                                          </p:stCondLst>
                                        </p:cTn>
                                        <p:tgtEl>
                                          <p:spTgt spid="24594"/>
                                        </p:tgtEl>
                                        <p:attrNameLst>
                                          <p:attrName>style.visibility</p:attrName>
                                        </p:attrNameLst>
                                      </p:cBhvr>
                                      <p:to>
                                        <p:strVal val="visible"/>
                                      </p:to>
                                    </p:set>
                                    <p:animEffect transition="in" filter="wipe(down)">
                                      <p:cBhvr>
                                        <p:cTn id="91" dur="580">
                                          <p:stCondLst>
                                            <p:cond delay="0"/>
                                          </p:stCondLst>
                                        </p:cTn>
                                        <p:tgtEl>
                                          <p:spTgt spid="24594"/>
                                        </p:tgtEl>
                                      </p:cBhvr>
                                    </p:animEffect>
                                    <p:anim calcmode="lin" valueType="num">
                                      <p:cBhvr>
                                        <p:cTn id="92" dur="1822" tmFilter="0,0; 0.14,0.36; 0.43,0.73; 0.71,0.91; 1.0,1.0">
                                          <p:stCondLst>
                                            <p:cond delay="0"/>
                                          </p:stCondLst>
                                        </p:cTn>
                                        <p:tgtEl>
                                          <p:spTgt spid="24594"/>
                                        </p:tgtEl>
                                        <p:attrNameLst>
                                          <p:attrName>ppt_x</p:attrName>
                                        </p:attrNameLst>
                                      </p:cBhvr>
                                      <p:tavLst>
                                        <p:tav tm="0">
                                          <p:val>
                                            <p:strVal val="#ppt_x-0.25"/>
                                          </p:val>
                                        </p:tav>
                                        <p:tav tm="100000">
                                          <p:val>
                                            <p:strVal val="#ppt_x"/>
                                          </p:val>
                                        </p:tav>
                                      </p:tavLst>
                                    </p:anim>
                                    <p:anim calcmode="lin" valueType="num">
                                      <p:cBhvr>
                                        <p:cTn id="93" dur="664" tmFilter="0.0,0.0; 0.25,0.07; 0.50,0.2; 0.75,0.467; 1.0,1.0">
                                          <p:stCondLst>
                                            <p:cond delay="0"/>
                                          </p:stCondLst>
                                        </p:cTn>
                                        <p:tgtEl>
                                          <p:spTgt spid="24594"/>
                                        </p:tgtEl>
                                        <p:attrNameLst>
                                          <p:attrName>ppt_y</p:attrName>
                                        </p:attrNameLst>
                                      </p:cBhvr>
                                      <p:tavLst>
                                        <p:tav tm="0" fmla="#ppt_y-sin(pi*$)/3">
                                          <p:val>
                                            <p:fltVal val="0.5"/>
                                          </p:val>
                                        </p:tav>
                                        <p:tav tm="100000">
                                          <p:val>
                                            <p:fltVal val="1"/>
                                          </p:val>
                                        </p:tav>
                                      </p:tavLst>
                                    </p:anim>
                                    <p:anim calcmode="lin" valueType="num">
                                      <p:cBhvr>
                                        <p:cTn id="94" dur="664" tmFilter="0, 0; 0.125,0.2665; 0.25,0.4; 0.375,0.465; 0.5,0.5;  0.625,0.535; 0.75,0.6; 0.875,0.7335; 1,1">
                                          <p:stCondLst>
                                            <p:cond delay="664"/>
                                          </p:stCondLst>
                                        </p:cTn>
                                        <p:tgtEl>
                                          <p:spTgt spid="24594"/>
                                        </p:tgtEl>
                                        <p:attrNameLst>
                                          <p:attrName>ppt_y</p:attrName>
                                        </p:attrNameLst>
                                      </p:cBhvr>
                                      <p:tavLst>
                                        <p:tav tm="0" fmla="#ppt_y-sin(pi*$)/9">
                                          <p:val>
                                            <p:fltVal val="0"/>
                                          </p:val>
                                        </p:tav>
                                        <p:tav tm="100000">
                                          <p:val>
                                            <p:fltVal val="1"/>
                                          </p:val>
                                        </p:tav>
                                      </p:tavLst>
                                    </p:anim>
                                    <p:anim calcmode="lin" valueType="num">
                                      <p:cBhvr>
                                        <p:cTn id="95" dur="332" tmFilter="0, 0; 0.125,0.2665; 0.25,0.4; 0.375,0.465; 0.5,0.5;  0.625,0.535; 0.75,0.6; 0.875,0.7335; 1,1">
                                          <p:stCondLst>
                                            <p:cond delay="1324"/>
                                          </p:stCondLst>
                                        </p:cTn>
                                        <p:tgtEl>
                                          <p:spTgt spid="24594"/>
                                        </p:tgtEl>
                                        <p:attrNameLst>
                                          <p:attrName>ppt_y</p:attrName>
                                        </p:attrNameLst>
                                      </p:cBhvr>
                                      <p:tavLst>
                                        <p:tav tm="0" fmla="#ppt_y-sin(pi*$)/27">
                                          <p:val>
                                            <p:fltVal val="0"/>
                                          </p:val>
                                        </p:tav>
                                        <p:tav tm="100000">
                                          <p:val>
                                            <p:fltVal val="1"/>
                                          </p:val>
                                        </p:tav>
                                      </p:tavLst>
                                    </p:anim>
                                    <p:anim calcmode="lin" valueType="num">
                                      <p:cBhvr>
                                        <p:cTn id="96" dur="164" tmFilter="0, 0; 0.125,0.2665; 0.25,0.4; 0.375,0.465; 0.5,0.5;  0.625,0.535; 0.75,0.6; 0.875,0.7335; 1,1">
                                          <p:stCondLst>
                                            <p:cond delay="1656"/>
                                          </p:stCondLst>
                                        </p:cTn>
                                        <p:tgtEl>
                                          <p:spTgt spid="24594"/>
                                        </p:tgtEl>
                                        <p:attrNameLst>
                                          <p:attrName>ppt_y</p:attrName>
                                        </p:attrNameLst>
                                      </p:cBhvr>
                                      <p:tavLst>
                                        <p:tav tm="0" fmla="#ppt_y-sin(pi*$)/81">
                                          <p:val>
                                            <p:fltVal val="0"/>
                                          </p:val>
                                        </p:tav>
                                        <p:tav tm="100000">
                                          <p:val>
                                            <p:fltVal val="1"/>
                                          </p:val>
                                        </p:tav>
                                      </p:tavLst>
                                    </p:anim>
                                    <p:animScale>
                                      <p:cBhvr>
                                        <p:cTn id="97" dur="26">
                                          <p:stCondLst>
                                            <p:cond delay="650"/>
                                          </p:stCondLst>
                                        </p:cTn>
                                        <p:tgtEl>
                                          <p:spTgt spid="24594"/>
                                        </p:tgtEl>
                                      </p:cBhvr>
                                      <p:to x="100000" y="60000"/>
                                    </p:animScale>
                                    <p:animScale>
                                      <p:cBhvr>
                                        <p:cTn id="98" dur="166" decel="50000">
                                          <p:stCondLst>
                                            <p:cond delay="676"/>
                                          </p:stCondLst>
                                        </p:cTn>
                                        <p:tgtEl>
                                          <p:spTgt spid="24594"/>
                                        </p:tgtEl>
                                      </p:cBhvr>
                                      <p:to x="100000" y="100000"/>
                                    </p:animScale>
                                    <p:animScale>
                                      <p:cBhvr>
                                        <p:cTn id="99" dur="26">
                                          <p:stCondLst>
                                            <p:cond delay="1312"/>
                                          </p:stCondLst>
                                        </p:cTn>
                                        <p:tgtEl>
                                          <p:spTgt spid="24594"/>
                                        </p:tgtEl>
                                      </p:cBhvr>
                                      <p:to x="100000" y="80000"/>
                                    </p:animScale>
                                    <p:animScale>
                                      <p:cBhvr>
                                        <p:cTn id="100" dur="166" decel="50000">
                                          <p:stCondLst>
                                            <p:cond delay="1338"/>
                                          </p:stCondLst>
                                        </p:cTn>
                                        <p:tgtEl>
                                          <p:spTgt spid="24594"/>
                                        </p:tgtEl>
                                      </p:cBhvr>
                                      <p:to x="100000" y="100000"/>
                                    </p:animScale>
                                    <p:animScale>
                                      <p:cBhvr>
                                        <p:cTn id="101" dur="26">
                                          <p:stCondLst>
                                            <p:cond delay="1642"/>
                                          </p:stCondLst>
                                        </p:cTn>
                                        <p:tgtEl>
                                          <p:spTgt spid="24594"/>
                                        </p:tgtEl>
                                      </p:cBhvr>
                                      <p:to x="100000" y="90000"/>
                                    </p:animScale>
                                    <p:animScale>
                                      <p:cBhvr>
                                        <p:cTn id="102" dur="166" decel="50000">
                                          <p:stCondLst>
                                            <p:cond delay="1668"/>
                                          </p:stCondLst>
                                        </p:cTn>
                                        <p:tgtEl>
                                          <p:spTgt spid="24594"/>
                                        </p:tgtEl>
                                      </p:cBhvr>
                                      <p:to x="100000" y="100000"/>
                                    </p:animScale>
                                    <p:animScale>
                                      <p:cBhvr>
                                        <p:cTn id="103" dur="26">
                                          <p:stCondLst>
                                            <p:cond delay="1808"/>
                                          </p:stCondLst>
                                        </p:cTn>
                                        <p:tgtEl>
                                          <p:spTgt spid="24594"/>
                                        </p:tgtEl>
                                      </p:cBhvr>
                                      <p:to x="100000" y="95000"/>
                                    </p:animScale>
                                    <p:animScale>
                                      <p:cBhvr>
                                        <p:cTn id="104" dur="166" decel="50000">
                                          <p:stCondLst>
                                            <p:cond delay="1834"/>
                                          </p:stCondLst>
                                        </p:cTn>
                                        <p:tgtEl>
                                          <p:spTgt spid="24594"/>
                                        </p:tgtEl>
                                      </p:cBhvr>
                                      <p:to x="100000" y="100000"/>
                                    </p:animScale>
                                  </p:childTnLst>
                                </p:cTn>
                              </p:par>
                            </p:childTnLst>
                          </p:cTn>
                        </p:par>
                      </p:childTnLst>
                    </p:cTn>
                  </p:par>
                  <p:par>
                    <p:cTn id="105" fill="hold" nodeType="clickPar">
                      <p:stCondLst>
                        <p:cond delay="indefinite"/>
                      </p:stCondLst>
                      <p:childTnLst>
                        <p:par>
                          <p:cTn id="106" fill="hold" nodeType="withGroup">
                            <p:stCondLst>
                              <p:cond delay="0"/>
                            </p:stCondLst>
                            <p:childTnLst>
                              <p:par>
                                <p:cTn id="107" presetID="26" presetClass="entr" presetSubtype="0" fill="hold" grpId="0" nodeType="clickEffect">
                                  <p:stCondLst>
                                    <p:cond delay="0"/>
                                  </p:stCondLst>
                                  <p:childTnLst>
                                    <p:set>
                                      <p:cBhvr>
                                        <p:cTn id="108" dur="1" fill="hold">
                                          <p:stCondLst>
                                            <p:cond delay="0"/>
                                          </p:stCondLst>
                                        </p:cTn>
                                        <p:tgtEl>
                                          <p:spTgt spid="14"/>
                                        </p:tgtEl>
                                        <p:attrNameLst>
                                          <p:attrName>style.visibility</p:attrName>
                                        </p:attrNameLst>
                                      </p:cBhvr>
                                      <p:to>
                                        <p:strVal val="visible"/>
                                      </p:to>
                                    </p:set>
                                    <p:animEffect transition="in" filter="wipe(down)">
                                      <p:cBhvr>
                                        <p:cTn id="109" dur="580">
                                          <p:stCondLst>
                                            <p:cond delay="0"/>
                                          </p:stCondLst>
                                        </p:cTn>
                                        <p:tgtEl>
                                          <p:spTgt spid="14"/>
                                        </p:tgtEl>
                                      </p:cBhvr>
                                    </p:animEffect>
                                    <p:anim calcmode="lin" valueType="num">
                                      <p:cBhvr>
                                        <p:cTn id="110" dur="1822" tmFilter="0,0; 0.14,0.36; 0.43,0.73; 0.71,0.91; 1.0,1.0">
                                          <p:stCondLst>
                                            <p:cond delay="0"/>
                                          </p:stCondLst>
                                        </p:cTn>
                                        <p:tgtEl>
                                          <p:spTgt spid="14"/>
                                        </p:tgtEl>
                                        <p:attrNameLst>
                                          <p:attrName>ppt_x</p:attrName>
                                        </p:attrNameLst>
                                      </p:cBhvr>
                                      <p:tavLst>
                                        <p:tav tm="0">
                                          <p:val>
                                            <p:strVal val="#ppt_x-0.25"/>
                                          </p:val>
                                        </p:tav>
                                        <p:tav tm="100000">
                                          <p:val>
                                            <p:strVal val="#ppt_x"/>
                                          </p:val>
                                        </p:tav>
                                      </p:tavLst>
                                    </p:anim>
                                    <p:anim calcmode="lin" valueType="num">
                                      <p:cBhvr>
                                        <p:cTn id="111" dur="664" tmFilter="0.0,0.0; 0.25,0.07; 0.50,0.2; 0.75,0.467; 1.0,1.0">
                                          <p:stCondLst>
                                            <p:cond delay="0"/>
                                          </p:stCondLst>
                                        </p:cTn>
                                        <p:tgtEl>
                                          <p:spTgt spid="14"/>
                                        </p:tgtEl>
                                        <p:attrNameLst>
                                          <p:attrName>ppt_y</p:attrName>
                                        </p:attrNameLst>
                                      </p:cBhvr>
                                      <p:tavLst>
                                        <p:tav tm="0" fmla="#ppt_y-sin(pi*$)/3">
                                          <p:val>
                                            <p:fltVal val="0.5"/>
                                          </p:val>
                                        </p:tav>
                                        <p:tav tm="100000">
                                          <p:val>
                                            <p:fltVal val="1"/>
                                          </p:val>
                                        </p:tav>
                                      </p:tavLst>
                                    </p:anim>
                                    <p:anim calcmode="lin" valueType="num">
                                      <p:cBhvr>
                                        <p:cTn id="112" dur="664" tmFilter="0, 0; 0.125,0.2665; 0.25,0.4; 0.375,0.465; 0.5,0.5;  0.625,0.535; 0.75,0.6; 0.875,0.7335; 1,1">
                                          <p:stCondLst>
                                            <p:cond delay="664"/>
                                          </p:stCondLst>
                                        </p:cTn>
                                        <p:tgtEl>
                                          <p:spTgt spid="14"/>
                                        </p:tgtEl>
                                        <p:attrNameLst>
                                          <p:attrName>ppt_y</p:attrName>
                                        </p:attrNameLst>
                                      </p:cBhvr>
                                      <p:tavLst>
                                        <p:tav tm="0" fmla="#ppt_y-sin(pi*$)/9">
                                          <p:val>
                                            <p:fltVal val="0"/>
                                          </p:val>
                                        </p:tav>
                                        <p:tav tm="100000">
                                          <p:val>
                                            <p:fltVal val="1"/>
                                          </p:val>
                                        </p:tav>
                                      </p:tavLst>
                                    </p:anim>
                                    <p:anim calcmode="lin" valueType="num">
                                      <p:cBhvr>
                                        <p:cTn id="113" dur="332" tmFilter="0, 0; 0.125,0.2665; 0.25,0.4; 0.375,0.465; 0.5,0.5;  0.625,0.535; 0.75,0.6; 0.875,0.7335; 1,1">
                                          <p:stCondLst>
                                            <p:cond delay="1324"/>
                                          </p:stCondLst>
                                        </p:cTn>
                                        <p:tgtEl>
                                          <p:spTgt spid="14"/>
                                        </p:tgtEl>
                                        <p:attrNameLst>
                                          <p:attrName>ppt_y</p:attrName>
                                        </p:attrNameLst>
                                      </p:cBhvr>
                                      <p:tavLst>
                                        <p:tav tm="0" fmla="#ppt_y-sin(pi*$)/27">
                                          <p:val>
                                            <p:fltVal val="0"/>
                                          </p:val>
                                        </p:tav>
                                        <p:tav tm="100000">
                                          <p:val>
                                            <p:fltVal val="1"/>
                                          </p:val>
                                        </p:tav>
                                      </p:tavLst>
                                    </p:anim>
                                    <p:anim calcmode="lin" valueType="num">
                                      <p:cBhvr>
                                        <p:cTn id="114" dur="164" tmFilter="0, 0; 0.125,0.2665; 0.25,0.4; 0.375,0.465; 0.5,0.5;  0.625,0.535; 0.75,0.6; 0.875,0.7335; 1,1">
                                          <p:stCondLst>
                                            <p:cond delay="1656"/>
                                          </p:stCondLst>
                                        </p:cTn>
                                        <p:tgtEl>
                                          <p:spTgt spid="14"/>
                                        </p:tgtEl>
                                        <p:attrNameLst>
                                          <p:attrName>ppt_y</p:attrName>
                                        </p:attrNameLst>
                                      </p:cBhvr>
                                      <p:tavLst>
                                        <p:tav tm="0" fmla="#ppt_y-sin(pi*$)/81">
                                          <p:val>
                                            <p:fltVal val="0"/>
                                          </p:val>
                                        </p:tav>
                                        <p:tav tm="100000">
                                          <p:val>
                                            <p:fltVal val="1"/>
                                          </p:val>
                                        </p:tav>
                                      </p:tavLst>
                                    </p:anim>
                                    <p:animScale>
                                      <p:cBhvr>
                                        <p:cTn id="115" dur="26">
                                          <p:stCondLst>
                                            <p:cond delay="650"/>
                                          </p:stCondLst>
                                        </p:cTn>
                                        <p:tgtEl>
                                          <p:spTgt spid="14"/>
                                        </p:tgtEl>
                                      </p:cBhvr>
                                      <p:to x="100000" y="60000"/>
                                    </p:animScale>
                                    <p:animScale>
                                      <p:cBhvr>
                                        <p:cTn id="116" dur="166" decel="50000">
                                          <p:stCondLst>
                                            <p:cond delay="676"/>
                                          </p:stCondLst>
                                        </p:cTn>
                                        <p:tgtEl>
                                          <p:spTgt spid="14"/>
                                        </p:tgtEl>
                                      </p:cBhvr>
                                      <p:to x="100000" y="100000"/>
                                    </p:animScale>
                                    <p:animScale>
                                      <p:cBhvr>
                                        <p:cTn id="117" dur="26">
                                          <p:stCondLst>
                                            <p:cond delay="1312"/>
                                          </p:stCondLst>
                                        </p:cTn>
                                        <p:tgtEl>
                                          <p:spTgt spid="14"/>
                                        </p:tgtEl>
                                      </p:cBhvr>
                                      <p:to x="100000" y="80000"/>
                                    </p:animScale>
                                    <p:animScale>
                                      <p:cBhvr>
                                        <p:cTn id="118" dur="166" decel="50000">
                                          <p:stCondLst>
                                            <p:cond delay="1338"/>
                                          </p:stCondLst>
                                        </p:cTn>
                                        <p:tgtEl>
                                          <p:spTgt spid="14"/>
                                        </p:tgtEl>
                                      </p:cBhvr>
                                      <p:to x="100000" y="100000"/>
                                    </p:animScale>
                                    <p:animScale>
                                      <p:cBhvr>
                                        <p:cTn id="119" dur="26">
                                          <p:stCondLst>
                                            <p:cond delay="1642"/>
                                          </p:stCondLst>
                                        </p:cTn>
                                        <p:tgtEl>
                                          <p:spTgt spid="14"/>
                                        </p:tgtEl>
                                      </p:cBhvr>
                                      <p:to x="100000" y="90000"/>
                                    </p:animScale>
                                    <p:animScale>
                                      <p:cBhvr>
                                        <p:cTn id="120" dur="166" decel="50000">
                                          <p:stCondLst>
                                            <p:cond delay="1668"/>
                                          </p:stCondLst>
                                        </p:cTn>
                                        <p:tgtEl>
                                          <p:spTgt spid="14"/>
                                        </p:tgtEl>
                                      </p:cBhvr>
                                      <p:to x="100000" y="100000"/>
                                    </p:animScale>
                                    <p:animScale>
                                      <p:cBhvr>
                                        <p:cTn id="121" dur="26">
                                          <p:stCondLst>
                                            <p:cond delay="1808"/>
                                          </p:stCondLst>
                                        </p:cTn>
                                        <p:tgtEl>
                                          <p:spTgt spid="14"/>
                                        </p:tgtEl>
                                      </p:cBhvr>
                                      <p:to x="100000" y="95000"/>
                                    </p:animScale>
                                    <p:animScale>
                                      <p:cBhvr>
                                        <p:cTn id="122" dur="166" decel="50000">
                                          <p:stCondLst>
                                            <p:cond delay="1834"/>
                                          </p:stCondLst>
                                        </p:cTn>
                                        <p:tgtEl>
                                          <p:spTgt spid="14"/>
                                        </p:tgtEl>
                                      </p:cBhvr>
                                      <p:to x="100000" y="100000"/>
                                    </p:animScale>
                                  </p:childTnLst>
                                </p:cTn>
                              </p:par>
                              <p:par>
                                <p:cTn id="123" presetID="26" presetClass="entr" presetSubtype="0" fill="hold" grpId="0" nodeType="withEffect">
                                  <p:stCondLst>
                                    <p:cond delay="0"/>
                                  </p:stCondLst>
                                  <p:childTnLst>
                                    <p:set>
                                      <p:cBhvr>
                                        <p:cTn id="124" dur="1" fill="hold">
                                          <p:stCondLst>
                                            <p:cond delay="0"/>
                                          </p:stCondLst>
                                        </p:cTn>
                                        <p:tgtEl>
                                          <p:spTgt spid="24593"/>
                                        </p:tgtEl>
                                        <p:attrNameLst>
                                          <p:attrName>style.visibility</p:attrName>
                                        </p:attrNameLst>
                                      </p:cBhvr>
                                      <p:to>
                                        <p:strVal val="visible"/>
                                      </p:to>
                                    </p:set>
                                    <p:animEffect transition="in" filter="wipe(down)">
                                      <p:cBhvr>
                                        <p:cTn id="125" dur="580">
                                          <p:stCondLst>
                                            <p:cond delay="0"/>
                                          </p:stCondLst>
                                        </p:cTn>
                                        <p:tgtEl>
                                          <p:spTgt spid="24593"/>
                                        </p:tgtEl>
                                      </p:cBhvr>
                                    </p:animEffect>
                                    <p:anim calcmode="lin" valueType="num">
                                      <p:cBhvr>
                                        <p:cTn id="126" dur="1822" tmFilter="0,0; 0.14,0.36; 0.43,0.73; 0.71,0.91; 1.0,1.0">
                                          <p:stCondLst>
                                            <p:cond delay="0"/>
                                          </p:stCondLst>
                                        </p:cTn>
                                        <p:tgtEl>
                                          <p:spTgt spid="24593"/>
                                        </p:tgtEl>
                                        <p:attrNameLst>
                                          <p:attrName>ppt_x</p:attrName>
                                        </p:attrNameLst>
                                      </p:cBhvr>
                                      <p:tavLst>
                                        <p:tav tm="0">
                                          <p:val>
                                            <p:strVal val="#ppt_x-0.25"/>
                                          </p:val>
                                        </p:tav>
                                        <p:tav tm="100000">
                                          <p:val>
                                            <p:strVal val="#ppt_x"/>
                                          </p:val>
                                        </p:tav>
                                      </p:tavLst>
                                    </p:anim>
                                    <p:anim calcmode="lin" valueType="num">
                                      <p:cBhvr>
                                        <p:cTn id="127" dur="664" tmFilter="0.0,0.0; 0.25,0.07; 0.50,0.2; 0.75,0.467; 1.0,1.0">
                                          <p:stCondLst>
                                            <p:cond delay="0"/>
                                          </p:stCondLst>
                                        </p:cTn>
                                        <p:tgtEl>
                                          <p:spTgt spid="24593"/>
                                        </p:tgtEl>
                                        <p:attrNameLst>
                                          <p:attrName>ppt_y</p:attrName>
                                        </p:attrNameLst>
                                      </p:cBhvr>
                                      <p:tavLst>
                                        <p:tav tm="0" fmla="#ppt_y-sin(pi*$)/3">
                                          <p:val>
                                            <p:fltVal val="0.5"/>
                                          </p:val>
                                        </p:tav>
                                        <p:tav tm="100000">
                                          <p:val>
                                            <p:fltVal val="1"/>
                                          </p:val>
                                        </p:tav>
                                      </p:tavLst>
                                    </p:anim>
                                    <p:anim calcmode="lin" valueType="num">
                                      <p:cBhvr>
                                        <p:cTn id="128" dur="664" tmFilter="0, 0; 0.125,0.2665; 0.25,0.4; 0.375,0.465; 0.5,0.5;  0.625,0.535; 0.75,0.6; 0.875,0.7335; 1,1">
                                          <p:stCondLst>
                                            <p:cond delay="664"/>
                                          </p:stCondLst>
                                        </p:cTn>
                                        <p:tgtEl>
                                          <p:spTgt spid="24593"/>
                                        </p:tgtEl>
                                        <p:attrNameLst>
                                          <p:attrName>ppt_y</p:attrName>
                                        </p:attrNameLst>
                                      </p:cBhvr>
                                      <p:tavLst>
                                        <p:tav tm="0" fmla="#ppt_y-sin(pi*$)/9">
                                          <p:val>
                                            <p:fltVal val="0"/>
                                          </p:val>
                                        </p:tav>
                                        <p:tav tm="100000">
                                          <p:val>
                                            <p:fltVal val="1"/>
                                          </p:val>
                                        </p:tav>
                                      </p:tavLst>
                                    </p:anim>
                                    <p:anim calcmode="lin" valueType="num">
                                      <p:cBhvr>
                                        <p:cTn id="129" dur="332" tmFilter="0, 0; 0.125,0.2665; 0.25,0.4; 0.375,0.465; 0.5,0.5;  0.625,0.535; 0.75,0.6; 0.875,0.7335; 1,1">
                                          <p:stCondLst>
                                            <p:cond delay="1324"/>
                                          </p:stCondLst>
                                        </p:cTn>
                                        <p:tgtEl>
                                          <p:spTgt spid="24593"/>
                                        </p:tgtEl>
                                        <p:attrNameLst>
                                          <p:attrName>ppt_y</p:attrName>
                                        </p:attrNameLst>
                                      </p:cBhvr>
                                      <p:tavLst>
                                        <p:tav tm="0" fmla="#ppt_y-sin(pi*$)/27">
                                          <p:val>
                                            <p:fltVal val="0"/>
                                          </p:val>
                                        </p:tav>
                                        <p:tav tm="100000">
                                          <p:val>
                                            <p:fltVal val="1"/>
                                          </p:val>
                                        </p:tav>
                                      </p:tavLst>
                                    </p:anim>
                                    <p:anim calcmode="lin" valueType="num">
                                      <p:cBhvr>
                                        <p:cTn id="130" dur="164" tmFilter="0, 0; 0.125,0.2665; 0.25,0.4; 0.375,0.465; 0.5,0.5;  0.625,0.535; 0.75,0.6; 0.875,0.7335; 1,1">
                                          <p:stCondLst>
                                            <p:cond delay="1656"/>
                                          </p:stCondLst>
                                        </p:cTn>
                                        <p:tgtEl>
                                          <p:spTgt spid="24593"/>
                                        </p:tgtEl>
                                        <p:attrNameLst>
                                          <p:attrName>ppt_y</p:attrName>
                                        </p:attrNameLst>
                                      </p:cBhvr>
                                      <p:tavLst>
                                        <p:tav tm="0" fmla="#ppt_y-sin(pi*$)/81">
                                          <p:val>
                                            <p:fltVal val="0"/>
                                          </p:val>
                                        </p:tav>
                                        <p:tav tm="100000">
                                          <p:val>
                                            <p:fltVal val="1"/>
                                          </p:val>
                                        </p:tav>
                                      </p:tavLst>
                                    </p:anim>
                                    <p:animScale>
                                      <p:cBhvr>
                                        <p:cTn id="131" dur="26">
                                          <p:stCondLst>
                                            <p:cond delay="650"/>
                                          </p:stCondLst>
                                        </p:cTn>
                                        <p:tgtEl>
                                          <p:spTgt spid="24593"/>
                                        </p:tgtEl>
                                      </p:cBhvr>
                                      <p:to x="100000" y="60000"/>
                                    </p:animScale>
                                    <p:animScale>
                                      <p:cBhvr>
                                        <p:cTn id="132" dur="166" decel="50000">
                                          <p:stCondLst>
                                            <p:cond delay="676"/>
                                          </p:stCondLst>
                                        </p:cTn>
                                        <p:tgtEl>
                                          <p:spTgt spid="24593"/>
                                        </p:tgtEl>
                                      </p:cBhvr>
                                      <p:to x="100000" y="100000"/>
                                    </p:animScale>
                                    <p:animScale>
                                      <p:cBhvr>
                                        <p:cTn id="133" dur="26">
                                          <p:stCondLst>
                                            <p:cond delay="1312"/>
                                          </p:stCondLst>
                                        </p:cTn>
                                        <p:tgtEl>
                                          <p:spTgt spid="24593"/>
                                        </p:tgtEl>
                                      </p:cBhvr>
                                      <p:to x="100000" y="80000"/>
                                    </p:animScale>
                                    <p:animScale>
                                      <p:cBhvr>
                                        <p:cTn id="134" dur="166" decel="50000">
                                          <p:stCondLst>
                                            <p:cond delay="1338"/>
                                          </p:stCondLst>
                                        </p:cTn>
                                        <p:tgtEl>
                                          <p:spTgt spid="24593"/>
                                        </p:tgtEl>
                                      </p:cBhvr>
                                      <p:to x="100000" y="100000"/>
                                    </p:animScale>
                                    <p:animScale>
                                      <p:cBhvr>
                                        <p:cTn id="135" dur="26">
                                          <p:stCondLst>
                                            <p:cond delay="1642"/>
                                          </p:stCondLst>
                                        </p:cTn>
                                        <p:tgtEl>
                                          <p:spTgt spid="24593"/>
                                        </p:tgtEl>
                                      </p:cBhvr>
                                      <p:to x="100000" y="90000"/>
                                    </p:animScale>
                                    <p:animScale>
                                      <p:cBhvr>
                                        <p:cTn id="136" dur="166" decel="50000">
                                          <p:stCondLst>
                                            <p:cond delay="1668"/>
                                          </p:stCondLst>
                                        </p:cTn>
                                        <p:tgtEl>
                                          <p:spTgt spid="24593"/>
                                        </p:tgtEl>
                                      </p:cBhvr>
                                      <p:to x="100000" y="100000"/>
                                    </p:animScale>
                                    <p:animScale>
                                      <p:cBhvr>
                                        <p:cTn id="137" dur="26">
                                          <p:stCondLst>
                                            <p:cond delay="1808"/>
                                          </p:stCondLst>
                                        </p:cTn>
                                        <p:tgtEl>
                                          <p:spTgt spid="24593"/>
                                        </p:tgtEl>
                                      </p:cBhvr>
                                      <p:to x="100000" y="95000"/>
                                    </p:animScale>
                                    <p:animScale>
                                      <p:cBhvr>
                                        <p:cTn id="138" dur="166" decel="50000">
                                          <p:stCondLst>
                                            <p:cond delay="1834"/>
                                          </p:stCondLst>
                                        </p:cTn>
                                        <p:tgtEl>
                                          <p:spTgt spid="24593"/>
                                        </p:tgtEl>
                                      </p:cBhvr>
                                      <p:to x="100000" y="100000"/>
                                    </p:animScale>
                                  </p:childTnLst>
                                </p:cTn>
                              </p:par>
                            </p:childTnLst>
                          </p:cTn>
                        </p:par>
                      </p:childTnLst>
                    </p:cTn>
                  </p:par>
                  <p:par>
                    <p:cTn id="139" fill="hold" nodeType="clickPar">
                      <p:stCondLst>
                        <p:cond delay="indefinite"/>
                      </p:stCondLst>
                      <p:childTnLst>
                        <p:par>
                          <p:cTn id="140" fill="hold" nodeType="withGroup">
                            <p:stCondLst>
                              <p:cond delay="0"/>
                            </p:stCondLst>
                            <p:childTnLst>
                              <p:par>
                                <p:cTn id="141" presetID="26" presetClass="entr" presetSubtype="0" fill="hold" grpId="0" nodeType="clickEffect">
                                  <p:stCondLst>
                                    <p:cond delay="0"/>
                                  </p:stCondLst>
                                  <p:childTnLst>
                                    <p:set>
                                      <p:cBhvr>
                                        <p:cTn id="142" dur="1" fill="hold">
                                          <p:stCondLst>
                                            <p:cond delay="0"/>
                                          </p:stCondLst>
                                        </p:cTn>
                                        <p:tgtEl>
                                          <p:spTgt spid="21"/>
                                        </p:tgtEl>
                                        <p:attrNameLst>
                                          <p:attrName>style.visibility</p:attrName>
                                        </p:attrNameLst>
                                      </p:cBhvr>
                                      <p:to>
                                        <p:strVal val="visible"/>
                                      </p:to>
                                    </p:set>
                                    <p:animEffect transition="in" filter="wipe(down)">
                                      <p:cBhvr>
                                        <p:cTn id="143" dur="580">
                                          <p:stCondLst>
                                            <p:cond delay="0"/>
                                          </p:stCondLst>
                                        </p:cTn>
                                        <p:tgtEl>
                                          <p:spTgt spid="21"/>
                                        </p:tgtEl>
                                      </p:cBhvr>
                                    </p:animEffect>
                                    <p:anim calcmode="lin" valueType="num">
                                      <p:cBhvr>
                                        <p:cTn id="144" dur="1822" tmFilter="0,0; 0.14,0.36; 0.43,0.73; 0.71,0.91; 1.0,1.0">
                                          <p:stCondLst>
                                            <p:cond delay="0"/>
                                          </p:stCondLst>
                                        </p:cTn>
                                        <p:tgtEl>
                                          <p:spTgt spid="21"/>
                                        </p:tgtEl>
                                        <p:attrNameLst>
                                          <p:attrName>ppt_x</p:attrName>
                                        </p:attrNameLst>
                                      </p:cBhvr>
                                      <p:tavLst>
                                        <p:tav tm="0">
                                          <p:val>
                                            <p:strVal val="#ppt_x-0.25"/>
                                          </p:val>
                                        </p:tav>
                                        <p:tav tm="100000">
                                          <p:val>
                                            <p:strVal val="#ppt_x"/>
                                          </p:val>
                                        </p:tav>
                                      </p:tavLst>
                                    </p:anim>
                                    <p:anim calcmode="lin" valueType="num">
                                      <p:cBhvr>
                                        <p:cTn id="145" dur="664" tmFilter="0.0,0.0; 0.25,0.07; 0.50,0.2; 0.75,0.467; 1.0,1.0">
                                          <p:stCondLst>
                                            <p:cond delay="0"/>
                                          </p:stCondLst>
                                        </p:cTn>
                                        <p:tgtEl>
                                          <p:spTgt spid="21"/>
                                        </p:tgtEl>
                                        <p:attrNameLst>
                                          <p:attrName>ppt_y</p:attrName>
                                        </p:attrNameLst>
                                      </p:cBhvr>
                                      <p:tavLst>
                                        <p:tav tm="0" fmla="#ppt_y-sin(pi*$)/3">
                                          <p:val>
                                            <p:fltVal val="0.5"/>
                                          </p:val>
                                        </p:tav>
                                        <p:tav tm="100000">
                                          <p:val>
                                            <p:fltVal val="1"/>
                                          </p:val>
                                        </p:tav>
                                      </p:tavLst>
                                    </p:anim>
                                    <p:anim calcmode="lin" valueType="num">
                                      <p:cBhvr>
                                        <p:cTn id="146" dur="664" tmFilter="0, 0; 0.125,0.2665; 0.25,0.4; 0.375,0.465; 0.5,0.5;  0.625,0.535; 0.75,0.6; 0.875,0.7335; 1,1">
                                          <p:stCondLst>
                                            <p:cond delay="664"/>
                                          </p:stCondLst>
                                        </p:cTn>
                                        <p:tgtEl>
                                          <p:spTgt spid="21"/>
                                        </p:tgtEl>
                                        <p:attrNameLst>
                                          <p:attrName>ppt_y</p:attrName>
                                        </p:attrNameLst>
                                      </p:cBhvr>
                                      <p:tavLst>
                                        <p:tav tm="0" fmla="#ppt_y-sin(pi*$)/9">
                                          <p:val>
                                            <p:fltVal val="0"/>
                                          </p:val>
                                        </p:tav>
                                        <p:tav tm="100000">
                                          <p:val>
                                            <p:fltVal val="1"/>
                                          </p:val>
                                        </p:tav>
                                      </p:tavLst>
                                    </p:anim>
                                    <p:anim calcmode="lin" valueType="num">
                                      <p:cBhvr>
                                        <p:cTn id="147" dur="332" tmFilter="0, 0; 0.125,0.2665; 0.25,0.4; 0.375,0.465; 0.5,0.5;  0.625,0.535; 0.75,0.6; 0.875,0.7335; 1,1">
                                          <p:stCondLst>
                                            <p:cond delay="1324"/>
                                          </p:stCondLst>
                                        </p:cTn>
                                        <p:tgtEl>
                                          <p:spTgt spid="21"/>
                                        </p:tgtEl>
                                        <p:attrNameLst>
                                          <p:attrName>ppt_y</p:attrName>
                                        </p:attrNameLst>
                                      </p:cBhvr>
                                      <p:tavLst>
                                        <p:tav tm="0" fmla="#ppt_y-sin(pi*$)/27">
                                          <p:val>
                                            <p:fltVal val="0"/>
                                          </p:val>
                                        </p:tav>
                                        <p:tav tm="100000">
                                          <p:val>
                                            <p:fltVal val="1"/>
                                          </p:val>
                                        </p:tav>
                                      </p:tavLst>
                                    </p:anim>
                                    <p:anim calcmode="lin" valueType="num">
                                      <p:cBhvr>
                                        <p:cTn id="148" dur="164" tmFilter="0, 0; 0.125,0.2665; 0.25,0.4; 0.375,0.465; 0.5,0.5;  0.625,0.535; 0.75,0.6; 0.875,0.7335; 1,1">
                                          <p:stCondLst>
                                            <p:cond delay="1656"/>
                                          </p:stCondLst>
                                        </p:cTn>
                                        <p:tgtEl>
                                          <p:spTgt spid="21"/>
                                        </p:tgtEl>
                                        <p:attrNameLst>
                                          <p:attrName>ppt_y</p:attrName>
                                        </p:attrNameLst>
                                      </p:cBhvr>
                                      <p:tavLst>
                                        <p:tav tm="0" fmla="#ppt_y-sin(pi*$)/81">
                                          <p:val>
                                            <p:fltVal val="0"/>
                                          </p:val>
                                        </p:tav>
                                        <p:tav tm="100000">
                                          <p:val>
                                            <p:fltVal val="1"/>
                                          </p:val>
                                        </p:tav>
                                      </p:tavLst>
                                    </p:anim>
                                    <p:animScale>
                                      <p:cBhvr>
                                        <p:cTn id="149" dur="26">
                                          <p:stCondLst>
                                            <p:cond delay="650"/>
                                          </p:stCondLst>
                                        </p:cTn>
                                        <p:tgtEl>
                                          <p:spTgt spid="21"/>
                                        </p:tgtEl>
                                      </p:cBhvr>
                                      <p:to x="100000" y="60000"/>
                                    </p:animScale>
                                    <p:animScale>
                                      <p:cBhvr>
                                        <p:cTn id="150" dur="166" decel="50000">
                                          <p:stCondLst>
                                            <p:cond delay="676"/>
                                          </p:stCondLst>
                                        </p:cTn>
                                        <p:tgtEl>
                                          <p:spTgt spid="21"/>
                                        </p:tgtEl>
                                      </p:cBhvr>
                                      <p:to x="100000" y="100000"/>
                                    </p:animScale>
                                    <p:animScale>
                                      <p:cBhvr>
                                        <p:cTn id="151" dur="26">
                                          <p:stCondLst>
                                            <p:cond delay="1312"/>
                                          </p:stCondLst>
                                        </p:cTn>
                                        <p:tgtEl>
                                          <p:spTgt spid="21"/>
                                        </p:tgtEl>
                                      </p:cBhvr>
                                      <p:to x="100000" y="80000"/>
                                    </p:animScale>
                                    <p:animScale>
                                      <p:cBhvr>
                                        <p:cTn id="152" dur="166" decel="50000">
                                          <p:stCondLst>
                                            <p:cond delay="1338"/>
                                          </p:stCondLst>
                                        </p:cTn>
                                        <p:tgtEl>
                                          <p:spTgt spid="21"/>
                                        </p:tgtEl>
                                      </p:cBhvr>
                                      <p:to x="100000" y="100000"/>
                                    </p:animScale>
                                    <p:animScale>
                                      <p:cBhvr>
                                        <p:cTn id="153" dur="26">
                                          <p:stCondLst>
                                            <p:cond delay="1642"/>
                                          </p:stCondLst>
                                        </p:cTn>
                                        <p:tgtEl>
                                          <p:spTgt spid="21"/>
                                        </p:tgtEl>
                                      </p:cBhvr>
                                      <p:to x="100000" y="90000"/>
                                    </p:animScale>
                                    <p:animScale>
                                      <p:cBhvr>
                                        <p:cTn id="154" dur="166" decel="50000">
                                          <p:stCondLst>
                                            <p:cond delay="1668"/>
                                          </p:stCondLst>
                                        </p:cTn>
                                        <p:tgtEl>
                                          <p:spTgt spid="21"/>
                                        </p:tgtEl>
                                      </p:cBhvr>
                                      <p:to x="100000" y="100000"/>
                                    </p:animScale>
                                    <p:animScale>
                                      <p:cBhvr>
                                        <p:cTn id="155" dur="26">
                                          <p:stCondLst>
                                            <p:cond delay="1808"/>
                                          </p:stCondLst>
                                        </p:cTn>
                                        <p:tgtEl>
                                          <p:spTgt spid="21"/>
                                        </p:tgtEl>
                                      </p:cBhvr>
                                      <p:to x="100000" y="95000"/>
                                    </p:animScale>
                                    <p:animScale>
                                      <p:cBhvr>
                                        <p:cTn id="156" dur="166" decel="50000">
                                          <p:stCondLst>
                                            <p:cond delay="1834"/>
                                          </p:stCondLst>
                                        </p:cTn>
                                        <p:tgtEl>
                                          <p:spTgt spid="21"/>
                                        </p:tgtEl>
                                      </p:cBhvr>
                                      <p:to x="100000" y="100000"/>
                                    </p:animScale>
                                  </p:childTnLst>
                                </p:cTn>
                              </p:par>
                              <p:par>
                                <p:cTn id="157" presetID="26" presetClass="entr" presetSubtype="0" fill="hold" grpId="0" nodeType="withEffect">
                                  <p:stCondLst>
                                    <p:cond delay="0"/>
                                  </p:stCondLst>
                                  <p:childTnLst>
                                    <p:set>
                                      <p:cBhvr>
                                        <p:cTn id="158" dur="1" fill="hold">
                                          <p:stCondLst>
                                            <p:cond delay="0"/>
                                          </p:stCondLst>
                                        </p:cTn>
                                        <p:tgtEl>
                                          <p:spTgt spid="24598"/>
                                        </p:tgtEl>
                                        <p:attrNameLst>
                                          <p:attrName>style.visibility</p:attrName>
                                        </p:attrNameLst>
                                      </p:cBhvr>
                                      <p:to>
                                        <p:strVal val="visible"/>
                                      </p:to>
                                    </p:set>
                                    <p:animEffect transition="in" filter="wipe(down)">
                                      <p:cBhvr>
                                        <p:cTn id="159" dur="580">
                                          <p:stCondLst>
                                            <p:cond delay="0"/>
                                          </p:stCondLst>
                                        </p:cTn>
                                        <p:tgtEl>
                                          <p:spTgt spid="24598"/>
                                        </p:tgtEl>
                                      </p:cBhvr>
                                    </p:animEffect>
                                    <p:anim calcmode="lin" valueType="num">
                                      <p:cBhvr>
                                        <p:cTn id="160" dur="1822" tmFilter="0,0; 0.14,0.36; 0.43,0.73; 0.71,0.91; 1.0,1.0">
                                          <p:stCondLst>
                                            <p:cond delay="0"/>
                                          </p:stCondLst>
                                        </p:cTn>
                                        <p:tgtEl>
                                          <p:spTgt spid="24598"/>
                                        </p:tgtEl>
                                        <p:attrNameLst>
                                          <p:attrName>ppt_x</p:attrName>
                                        </p:attrNameLst>
                                      </p:cBhvr>
                                      <p:tavLst>
                                        <p:tav tm="0">
                                          <p:val>
                                            <p:strVal val="#ppt_x-0.25"/>
                                          </p:val>
                                        </p:tav>
                                        <p:tav tm="100000">
                                          <p:val>
                                            <p:strVal val="#ppt_x"/>
                                          </p:val>
                                        </p:tav>
                                      </p:tavLst>
                                    </p:anim>
                                    <p:anim calcmode="lin" valueType="num">
                                      <p:cBhvr>
                                        <p:cTn id="161" dur="664" tmFilter="0.0,0.0; 0.25,0.07; 0.50,0.2; 0.75,0.467; 1.0,1.0">
                                          <p:stCondLst>
                                            <p:cond delay="0"/>
                                          </p:stCondLst>
                                        </p:cTn>
                                        <p:tgtEl>
                                          <p:spTgt spid="24598"/>
                                        </p:tgtEl>
                                        <p:attrNameLst>
                                          <p:attrName>ppt_y</p:attrName>
                                        </p:attrNameLst>
                                      </p:cBhvr>
                                      <p:tavLst>
                                        <p:tav tm="0" fmla="#ppt_y-sin(pi*$)/3">
                                          <p:val>
                                            <p:fltVal val="0.5"/>
                                          </p:val>
                                        </p:tav>
                                        <p:tav tm="100000">
                                          <p:val>
                                            <p:fltVal val="1"/>
                                          </p:val>
                                        </p:tav>
                                      </p:tavLst>
                                    </p:anim>
                                    <p:anim calcmode="lin" valueType="num">
                                      <p:cBhvr>
                                        <p:cTn id="162" dur="664" tmFilter="0, 0; 0.125,0.2665; 0.25,0.4; 0.375,0.465; 0.5,0.5;  0.625,0.535; 0.75,0.6; 0.875,0.7335; 1,1">
                                          <p:stCondLst>
                                            <p:cond delay="664"/>
                                          </p:stCondLst>
                                        </p:cTn>
                                        <p:tgtEl>
                                          <p:spTgt spid="24598"/>
                                        </p:tgtEl>
                                        <p:attrNameLst>
                                          <p:attrName>ppt_y</p:attrName>
                                        </p:attrNameLst>
                                      </p:cBhvr>
                                      <p:tavLst>
                                        <p:tav tm="0" fmla="#ppt_y-sin(pi*$)/9">
                                          <p:val>
                                            <p:fltVal val="0"/>
                                          </p:val>
                                        </p:tav>
                                        <p:tav tm="100000">
                                          <p:val>
                                            <p:fltVal val="1"/>
                                          </p:val>
                                        </p:tav>
                                      </p:tavLst>
                                    </p:anim>
                                    <p:anim calcmode="lin" valueType="num">
                                      <p:cBhvr>
                                        <p:cTn id="163" dur="332" tmFilter="0, 0; 0.125,0.2665; 0.25,0.4; 0.375,0.465; 0.5,0.5;  0.625,0.535; 0.75,0.6; 0.875,0.7335; 1,1">
                                          <p:stCondLst>
                                            <p:cond delay="1324"/>
                                          </p:stCondLst>
                                        </p:cTn>
                                        <p:tgtEl>
                                          <p:spTgt spid="24598"/>
                                        </p:tgtEl>
                                        <p:attrNameLst>
                                          <p:attrName>ppt_y</p:attrName>
                                        </p:attrNameLst>
                                      </p:cBhvr>
                                      <p:tavLst>
                                        <p:tav tm="0" fmla="#ppt_y-sin(pi*$)/27">
                                          <p:val>
                                            <p:fltVal val="0"/>
                                          </p:val>
                                        </p:tav>
                                        <p:tav tm="100000">
                                          <p:val>
                                            <p:fltVal val="1"/>
                                          </p:val>
                                        </p:tav>
                                      </p:tavLst>
                                    </p:anim>
                                    <p:anim calcmode="lin" valueType="num">
                                      <p:cBhvr>
                                        <p:cTn id="164" dur="164" tmFilter="0, 0; 0.125,0.2665; 0.25,0.4; 0.375,0.465; 0.5,0.5;  0.625,0.535; 0.75,0.6; 0.875,0.7335; 1,1">
                                          <p:stCondLst>
                                            <p:cond delay="1656"/>
                                          </p:stCondLst>
                                        </p:cTn>
                                        <p:tgtEl>
                                          <p:spTgt spid="24598"/>
                                        </p:tgtEl>
                                        <p:attrNameLst>
                                          <p:attrName>ppt_y</p:attrName>
                                        </p:attrNameLst>
                                      </p:cBhvr>
                                      <p:tavLst>
                                        <p:tav tm="0" fmla="#ppt_y-sin(pi*$)/81">
                                          <p:val>
                                            <p:fltVal val="0"/>
                                          </p:val>
                                        </p:tav>
                                        <p:tav tm="100000">
                                          <p:val>
                                            <p:fltVal val="1"/>
                                          </p:val>
                                        </p:tav>
                                      </p:tavLst>
                                    </p:anim>
                                    <p:animScale>
                                      <p:cBhvr>
                                        <p:cTn id="165" dur="26">
                                          <p:stCondLst>
                                            <p:cond delay="650"/>
                                          </p:stCondLst>
                                        </p:cTn>
                                        <p:tgtEl>
                                          <p:spTgt spid="24598"/>
                                        </p:tgtEl>
                                      </p:cBhvr>
                                      <p:to x="100000" y="60000"/>
                                    </p:animScale>
                                    <p:animScale>
                                      <p:cBhvr>
                                        <p:cTn id="166" dur="166" decel="50000">
                                          <p:stCondLst>
                                            <p:cond delay="676"/>
                                          </p:stCondLst>
                                        </p:cTn>
                                        <p:tgtEl>
                                          <p:spTgt spid="24598"/>
                                        </p:tgtEl>
                                      </p:cBhvr>
                                      <p:to x="100000" y="100000"/>
                                    </p:animScale>
                                    <p:animScale>
                                      <p:cBhvr>
                                        <p:cTn id="167" dur="26">
                                          <p:stCondLst>
                                            <p:cond delay="1312"/>
                                          </p:stCondLst>
                                        </p:cTn>
                                        <p:tgtEl>
                                          <p:spTgt spid="24598"/>
                                        </p:tgtEl>
                                      </p:cBhvr>
                                      <p:to x="100000" y="80000"/>
                                    </p:animScale>
                                    <p:animScale>
                                      <p:cBhvr>
                                        <p:cTn id="168" dur="166" decel="50000">
                                          <p:stCondLst>
                                            <p:cond delay="1338"/>
                                          </p:stCondLst>
                                        </p:cTn>
                                        <p:tgtEl>
                                          <p:spTgt spid="24598"/>
                                        </p:tgtEl>
                                      </p:cBhvr>
                                      <p:to x="100000" y="100000"/>
                                    </p:animScale>
                                    <p:animScale>
                                      <p:cBhvr>
                                        <p:cTn id="169" dur="26">
                                          <p:stCondLst>
                                            <p:cond delay="1642"/>
                                          </p:stCondLst>
                                        </p:cTn>
                                        <p:tgtEl>
                                          <p:spTgt spid="24598"/>
                                        </p:tgtEl>
                                      </p:cBhvr>
                                      <p:to x="100000" y="90000"/>
                                    </p:animScale>
                                    <p:animScale>
                                      <p:cBhvr>
                                        <p:cTn id="170" dur="166" decel="50000">
                                          <p:stCondLst>
                                            <p:cond delay="1668"/>
                                          </p:stCondLst>
                                        </p:cTn>
                                        <p:tgtEl>
                                          <p:spTgt spid="24598"/>
                                        </p:tgtEl>
                                      </p:cBhvr>
                                      <p:to x="100000" y="100000"/>
                                    </p:animScale>
                                    <p:animScale>
                                      <p:cBhvr>
                                        <p:cTn id="171" dur="26">
                                          <p:stCondLst>
                                            <p:cond delay="1808"/>
                                          </p:stCondLst>
                                        </p:cTn>
                                        <p:tgtEl>
                                          <p:spTgt spid="24598"/>
                                        </p:tgtEl>
                                      </p:cBhvr>
                                      <p:to x="100000" y="95000"/>
                                    </p:animScale>
                                    <p:animScale>
                                      <p:cBhvr>
                                        <p:cTn id="172" dur="166" decel="50000">
                                          <p:stCondLst>
                                            <p:cond delay="1834"/>
                                          </p:stCondLst>
                                        </p:cTn>
                                        <p:tgtEl>
                                          <p:spTgt spid="24598"/>
                                        </p:tgtEl>
                                      </p:cBhvr>
                                      <p:to x="100000" y="100000"/>
                                    </p:animScale>
                                  </p:childTnLst>
                                </p:cTn>
                              </p:par>
                            </p:childTnLst>
                          </p:cTn>
                        </p:par>
                      </p:childTnLst>
                    </p:cTn>
                  </p:par>
                  <p:par>
                    <p:cTn id="173" fill="hold" nodeType="clickPar">
                      <p:stCondLst>
                        <p:cond delay="indefinite"/>
                      </p:stCondLst>
                      <p:childTnLst>
                        <p:par>
                          <p:cTn id="174" fill="hold" nodeType="withGroup">
                            <p:stCondLst>
                              <p:cond delay="0"/>
                            </p:stCondLst>
                            <p:childTnLst>
                              <p:par>
                                <p:cTn id="175" presetID="26" presetClass="entr" presetSubtype="0" fill="hold" grpId="0" nodeType="clickEffect">
                                  <p:stCondLst>
                                    <p:cond delay="0"/>
                                  </p:stCondLst>
                                  <p:childTnLst>
                                    <p:set>
                                      <p:cBhvr>
                                        <p:cTn id="176" dur="1" fill="hold">
                                          <p:stCondLst>
                                            <p:cond delay="0"/>
                                          </p:stCondLst>
                                        </p:cTn>
                                        <p:tgtEl>
                                          <p:spTgt spid="20"/>
                                        </p:tgtEl>
                                        <p:attrNameLst>
                                          <p:attrName>style.visibility</p:attrName>
                                        </p:attrNameLst>
                                      </p:cBhvr>
                                      <p:to>
                                        <p:strVal val="visible"/>
                                      </p:to>
                                    </p:set>
                                    <p:animEffect transition="in" filter="wipe(down)">
                                      <p:cBhvr>
                                        <p:cTn id="177" dur="580">
                                          <p:stCondLst>
                                            <p:cond delay="0"/>
                                          </p:stCondLst>
                                        </p:cTn>
                                        <p:tgtEl>
                                          <p:spTgt spid="20"/>
                                        </p:tgtEl>
                                      </p:cBhvr>
                                    </p:animEffect>
                                    <p:anim calcmode="lin" valueType="num">
                                      <p:cBhvr>
                                        <p:cTn id="178" dur="1822" tmFilter="0,0; 0.14,0.36; 0.43,0.73; 0.71,0.91; 1.0,1.0">
                                          <p:stCondLst>
                                            <p:cond delay="0"/>
                                          </p:stCondLst>
                                        </p:cTn>
                                        <p:tgtEl>
                                          <p:spTgt spid="20"/>
                                        </p:tgtEl>
                                        <p:attrNameLst>
                                          <p:attrName>ppt_x</p:attrName>
                                        </p:attrNameLst>
                                      </p:cBhvr>
                                      <p:tavLst>
                                        <p:tav tm="0">
                                          <p:val>
                                            <p:strVal val="#ppt_x-0.25"/>
                                          </p:val>
                                        </p:tav>
                                        <p:tav tm="100000">
                                          <p:val>
                                            <p:strVal val="#ppt_x"/>
                                          </p:val>
                                        </p:tav>
                                      </p:tavLst>
                                    </p:anim>
                                    <p:anim calcmode="lin" valueType="num">
                                      <p:cBhvr>
                                        <p:cTn id="179" dur="664" tmFilter="0.0,0.0; 0.25,0.07; 0.50,0.2; 0.75,0.467; 1.0,1.0">
                                          <p:stCondLst>
                                            <p:cond delay="0"/>
                                          </p:stCondLst>
                                        </p:cTn>
                                        <p:tgtEl>
                                          <p:spTgt spid="20"/>
                                        </p:tgtEl>
                                        <p:attrNameLst>
                                          <p:attrName>ppt_y</p:attrName>
                                        </p:attrNameLst>
                                      </p:cBhvr>
                                      <p:tavLst>
                                        <p:tav tm="0" fmla="#ppt_y-sin(pi*$)/3">
                                          <p:val>
                                            <p:fltVal val="0.5"/>
                                          </p:val>
                                        </p:tav>
                                        <p:tav tm="100000">
                                          <p:val>
                                            <p:fltVal val="1"/>
                                          </p:val>
                                        </p:tav>
                                      </p:tavLst>
                                    </p:anim>
                                    <p:anim calcmode="lin" valueType="num">
                                      <p:cBhvr>
                                        <p:cTn id="180" dur="664" tmFilter="0, 0; 0.125,0.2665; 0.25,0.4; 0.375,0.465; 0.5,0.5;  0.625,0.535; 0.75,0.6; 0.875,0.7335; 1,1">
                                          <p:stCondLst>
                                            <p:cond delay="664"/>
                                          </p:stCondLst>
                                        </p:cTn>
                                        <p:tgtEl>
                                          <p:spTgt spid="20"/>
                                        </p:tgtEl>
                                        <p:attrNameLst>
                                          <p:attrName>ppt_y</p:attrName>
                                        </p:attrNameLst>
                                      </p:cBhvr>
                                      <p:tavLst>
                                        <p:tav tm="0" fmla="#ppt_y-sin(pi*$)/9">
                                          <p:val>
                                            <p:fltVal val="0"/>
                                          </p:val>
                                        </p:tav>
                                        <p:tav tm="100000">
                                          <p:val>
                                            <p:fltVal val="1"/>
                                          </p:val>
                                        </p:tav>
                                      </p:tavLst>
                                    </p:anim>
                                    <p:anim calcmode="lin" valueType="num">
                                      <p:cBhvr>
                                        <p:cTn id="181" dur="332" tmFilter="0, 0; 0.125,0.2665; 0.25,0.4; 0.375,0.465; 0.5,0.5;  0.625,0.535; 0.75,0.6; 0.875,0.7335; 1,1">
                                          <p:stCondLst>
                                            <p:cond delay="1324"/>
                                          </p:stCondLst>
                                        </p:cTn>
                                        <p:tgtEl>
                                          <p:spTgt spid="20"/>
                                        </p:tgtEl>
                                        <p:attrNameLst>
                                          <p:attrName>ppt_y</p:attrName>
                                        </p:attrNameLst>
                                      </p:cBhvr>
                                      <p:tavLst>
                                        <p:tav tm="0" fmla="#ppt_y-sin(pi*$)/27">
                                          <p:val>
                                            <p:fltVal val="0"/>
                                          </p:val>
                                        </p:tav>
                                        <p:tav tm="100000">
                                          <p:val>
                                            <p:fltVal val="1"/>
                                          </p:val>
                                        </p:tav>
                                      </p:tavLst>
                                    </p:anim>
                                    <p:anim calcmode="lin" valueType="num">
                                      <p:cBhvr>
                                        <p:cTn id="182" dur="164" tmFilter="0, 0; 0.125,0.2665; 0.25,0.4; 0.375,0.465; 0.5,0.5;  0.625,0.535; 0.75,0.6; 0.875,0.7335; 1,1">
                                          <p:stCondLst>
                                            <p:cond delay="1656"/>
                                          </p:stCondLst>
                                        </p:cTn>
                                        <p:tgtEl>
                                          <p:spTgt spid="20"/>
                                        </p:tgtEl>
                                        <p:attrNameLst>
                                          <p:attrName>ppt_y</p:attrName>
                                        </p:attrNameLst>
                                      </p:cBhvr>
                                      <p:tavLst>
                                        <p:tav tm="0" fmla="#ppt_y-sin(pi*$)/81">
                                          <p:val>
                                            <p:fltVal val="0"/>
                                          </p:val>
                                        </p:tav>
                                        <p:tav tm="100000">
                                          <p:val>
                                            <p:fltVal val="1"/>
                                          </p:val>
                                        </p:tav>
                                      </p:tavLst>
                                    </p:anim>
                                    <p:animScale>
                                      <p:cBhvr>
                                        <p:cTn id="183" dur="26">
                                          <p:stCondLst>
                                            <p:cond delay="650"/>
                                          </p:stCondLst>
                                        </p:cTn>
                                        <p:tgtEl>
                                          <p:spTgt spid="20"/>
                                        </p:tgtEl>
                                      </p:cBhvr>
                                      <p:to x="100000" y="60000"/>
                                    </p:animScale>
                                    <p:animScale>
                                      <p:cBhvr>
                                        <p:cTn id="184" dur="166" decel="50000">
                                          <p:stCondLst>
                                            <p:cond delay="676"/>
                                          </p:stCondLst>
                                        </p:cTn>
                                        <p:tgtEl>
                                          <p:spTgt spid="20"/>
                                        </p:tgtEl>
                                      </p:cBhvr>
                                      <p:to x="100000" y="100000"/>
                                    </p:animScale>
                                    <p:animScale>
                                      <p:cBhvr>
                                        <p:cTn id="185" dur="26">
                                          <p:stCondLst>
                                            <p:cond delay="1312"/>
                                          </p:stCondLst>
                                        </p:cTn>
                                        <p:tgtEl>
                                          <p:spTgt spid="20"/>
                                        </p:tgtEl>
                                      </p:cBhvr>
                                      <p:to x="100000" y="80000"/>
                                    </p:animScale>
                                    <p:animScale>
                                      <p:cBhvr>
                                        <p:cTn id="186" dur="166" decel="50000">
                                          <p:stCondLst>
                                            <p:cond delay="1338"/>
                                          </p:stCondLst>
                                        </p:cTn>
                                        <p:tgtEl>
                                          <p:spTgt spid="20"/>
                                        </p:tgtEl>
                                      </p:cBhvr>
                                      <p:to x="100000" y="100000"/>
                                    </p:animScale>
                                    <p:animScale>
                                      <p:cBhvr>
                                        <p:cTn id="187" dur="26">
                                          <p:stCondLst>
                                            <p:cond delay="1642"/>
                                          </p:stCondLst>
                                        </p:cTn>
                                        <p:tgtEl>
                                          <p:spTgt spid="20"/>
                                        </p:tgtEl>
                                      </p:cBhvr>
                                      <p:to x="100000" y="90000"/>
                                    </p:animScale>
                                    <p:animScale>
                                      <p:cBhvr>
                                        <p:cTn id="188" dur="166" decel="50000">
                                          <p:stCondLst>
                                            <p:cond delay="1668"/>
                                          </p:stCondLst>
                                        </p:cTn>
                                        <p:tgtEl>
                                          <p:spTgt spid="20"/>
                                        </p:tgtEl>
                                      </p:cBhvr>
                                      <p:to x="100000" y="100000"/>
                                    </p:animScale>
                                    <p:animScale>
                                      <p:cBhvr>
                                        <p:cTn id="189" dur="26">
                                          <p:stCondLst>
                                            <p:cond delay="1808"/>
                                          </p:stCondLst>
                                        </p:cTn>
                                        <p:tgtEl>
                                          <p:spTgt spid="20"/>
                                        </p:tgtEl>
                                      </p:cBhvr>
                                      <p:to x="100000" y="95000"/>
                                    </p:animScale>
                                    <p:animScale>
                                      <p:cBhvr>
                                        <p:cTn id="190" dur="166" decel="50000">
                                          <p:stCondLst>
                                            <p:cond delay="1834"/>
                                          </p:stCondLst>
                                        </p:cTn>
                                        <p:tgtEl>
                                          <p:spTgt spid="20"/>
                                        </p:tgtEl>
                                      </p:cBhvr>
                                      <p:to x="100000" y="100000"/>
                                    </p:animScale>
                                  </p:childTnLst>
                                </p:cTn>
                              </p:par>
                              <p:par>
                                <p:cTn id="191" presetID="26" presetClass="entr" presetSubtype="0" fill="hold" grpId="0" nodeType="withEffect">
                                  <p:stCondLst>
                                    <p:cond delay="0"/>
                                  </p:stCondLst>
                                  <p:childTnLst>
                                    <p:set>
                                      <p:cBhvr>
                                        <p:cTn id="192" dur="1" fill="hold">
                                          <p:stCondLst>
                                            <p:cond delay="0"/>
                                          </p:stCondLst>
                                        </p:cTn>
                                        <p:tgtEl>
                                          <p:spTgt spid="24597"/>
                                        </p:tgtEl>
                                        <p:attrNameLst>
                                          <p:attrName>style.visibility</p:attrName>
                                        </p:attrNameLst>
                                      </p:cBhvr>
                                      <p:to>
                                        <p:strVal val="visible"/>
                                      </p:to>
                                    </p:set>
                                    <p:animEffect transition="in" filter="wipe(down)">
                                      <p:cBhvr>
                                        <p:cTn id="193" dur="580">
                                          <p:stCondLst>
                                            <p:cond delay="0"/>
                                          </p:stCondLst>
                                        </p:cTn>
                                        <p:tgtEl>
                                          <p:spTgt spid="24597"/>
                                        </p:tgtEl>
                                      </p:cBhvr>
                                    </p:animEffect>
                                    <p:anim calcmode="lin" valueType="num">
                                      <p:cBhvr>
                                        <p:cTn id="194" dur="1822" tmFilter="0,0; 0.14,0.36; 0.43,0.73; 0.71,0.91; 1.0,1.0">
                                          <p:stCondLst>
                                            <p:cond delay="0"/>
                                          </p:stCondLst>
                                        </p:cTn>
                                        <p:tgtEl>
                                          <p:spTgt spid="24597"/>
                                        </p:tgtEl>
                                        <p:attrNameLst>
                                          <p:attrName>ppt_x</p:attrName>
                                        </p:attrNameLst>
                                      </p:cBhvr>
                                      <p:tavLst>
                                        <p:tav tm="0">
                                          <p:val>
                                            <p:strVal val="#ppt_x-0.25"/>
                                          </p:val>
                                        </p:tav>
                                        <p:tav tm="100000">
                                          <p:val>
                                            <p:strVal val="#ppt_x"/>
                                          </p:val>
                                        </p:tav>
                                      </p:tavLst>
                                    </p:anim>
                                    <p:anim calcmode="lin" valueType="num">
                                      <p:cBhvr>
                                        <p:cTn id="195" dur="664" tmFilter="0.0,0.0; 0.25,0.07; 0.50,0.2; 0.75,0.467; 1.0,1.0">
                                          <p:stCondLst>
                                            <p:cond delay="0"/>
                                          </p:stCondLst>
                                        </p:cTn>
                                        <p:tgtEl>
                                          <p:spTgt spid="24597"/>
                                        </p:tgtEl>
                                        <p:attrNameLst>
                                          <p:attrName>ppt_y</p:attrName>
                                        </p:attrNameLst>
                                      </p:cBhvr>
                                      <p:tavLst>
                                        <p:tav tm="0" fmla="#ppt_y-sin(pi*$)/3">
                                          <p:val>
                                            <p:fltVal val="0.5"/>
                                          </p:val>
                                        </p:tav>
                                        <p:tav tm="100000">
                                          <p:val>
                                            <p:fltVal val="1"/>
                                          </p:val>
                                        </p:tav>
                                      </p:tavLst>
                                    </p:anim>
                                    <p:anim calcmode="lin" valueType="num">
                                      <p:cBhvr>
                                        <p:cTn id="196" dur="664" tmFilter="0, 0; 0.125,0.2665; 0.25,0.4; 0.375,0.465; 0.5,0.5;  0.625,0.535; 0.75,0.6; 0.875,0.7335; 1,1">
                                          <p:stCondLst>
                                            <p:cond delay="664"/>
                                          </p:stCondLst>
                                        </p:cTn>
                                        <p:tgtEl>
                                          <p:spTgt spid="24597"/>
                                        </p:tgtEl>
                                        <p:attrNameLst>
                                          <p:attrName>ppt_y</p:attrName>
                                        </p:attrNameLst>
                                      </p:cBhvr>
                                      <p:tavLst>
                                        <p:tav tm="0" fmla="#ppt_y-sin(pi*$)/9">
                                          <p:val>
                                            <p:fltVal val="0"/>
                                          </p:val>
                                        </p:tav>
                                        <p:tav tm="100000">
                                          <p:val>
                                            <p:fltVal val="1"/>
                                          </p:val>
                                        </p:tav>
                                      </p:tavLst>
                                    </p:anim>
                                    <p:anim calcmode="lin" valueType="num">
                                      <p:cBhvr>
                                        <p:cTn id="197" dur="332" tmFilter="0, 0; 0.125,0.2665; 0.25,0.4; 0.375,0.465; 0.5,0.5;  0.625,0.535; 0.75,0.6; 0.875,0.7335; 1,1">
                                          <p:stCondLst>
                                            <p:cond delay="1324"/>
                                          </p:stCondLst>
                                        </p:cTn>
                                        <p:tgtEl>
                                          <p:spTgt spid="24597"/>
                                        </p:tgtEl>
                                        <p:attrNameLst>
                                          <p:attrName>ppt_y</p:attrName>
                                        </p:attrNameLst>
                                      </p:cBhvr>
                                      <p:tavLst>
                                        <p:tav tm="0" fmla="#ppt_y-sin(pi*$)/27">
                                          <p:val>
                                            <p:fltVal val="0"/>
                                          </p:val>
                                        </p:tav>
                                        <p:tav tm="100000">
                                          <p:val>
                                            <p:fltVal val="1"/>
                                          </p:val>
                                        </p:tav>
                                      </p:tavLst>
                                    </p:anim>
                                    <p:anim calcmode="lin" valueType="num">
                                      <p:cBhvr>
                                        <p:cTn id="198" dur="164" tmFilter="0, 0; 0.125,0.2665; 0.25,0.4; 0.375,0.465; 0.5,0.5;  0.625,0.535; 0.75,0.6; 0.875,0.7335; 1,1">
                                          <p:stCondLst>
                                            <p:cond delay="1656"/>
                                          </p:stCondLst>
                                        </p:cTn>
                                        <p:tgtEl>
                                          <p:spTgt spid="24597"/>
                                        </p:tgtEl>
                                        <p:attrNameLst>
                                          <p:attrName>ppt_y</p:attrName>
                                        </p:attrNameLst>
                                      </p:cBhvr>
                                      <p:tavLst>
                                        <p:tav tm="0" fmla="#ppt_y-sin(pi*$)/81">
                                          <p:val>
                                            <p:fltVal val="0"/>
                                          </p:val>
                                        </p:tav>
                                        <p:tav tm="100000">
                                          <p:val>
                                            <p:fltVal val="1"/>
                                          </p:val>
                                        </p:tav>
                                      </p:tavLst>
                                    </p:anim>
                                    <p:animScale>
                                      <p:cBhvr>
                                        <p:cTn id="199" dur="26">
                                          <p:stCondLst>
                                            <p:cond delay="650"/>
                                          </p:stCondLst>
                                        </p:cTn>
                                        <p:tgtEl>
                                          <p:spTgt spid="24597"/>
                                        </p:tgtEl>
                                      </p:cBhvr>
                                      <p:to x="100000" y="60000"/>
                                    </p:animScale>
                                    <p:animScale>
                                      <p:cBhvr>
                                        <p:cTn id="200" dur="166" decel="50000">
                                          <p:stCondLst>
                                            <p:cond delay="676"/>
                                          </p:stCondLst>
                                        </p:cTn>
                                        <p:tgtEl>
                                          <p:spTgt spid="24597"/>
                                        </p:tgtEl>
                                      </p:cBhvr>
                                      <p:to x="100000" y="100000"/>
                                    </p:animScale>
                                    <p:animScale>
                                      <p:cBhvr>
                                        <p:cTn id="201" dur="26">
                                          <p:stCondLst>
                                            <p:cond delay="1312"/>
                                          </p:stCondLst>
                                        </p:cTn>
                                        <p:tgtEl>
                                          <p:spTgt spid="24597"/>
                                        </p:tgtEl>
                                      </p:cBhvr>
                                      <p:to x="100000" y="80000"/>
                                    </p:animScale>
                                    <p:animScale>
                                      <p:cBhvr>
                                        <p:cTn id="202" dur="166" decel="50000">
                                          <p:stCondLst>
                                            <p:cond delay="1338"/>
                                          </p:stCondLst>
                                        </p:cTn>
                                        <p:tgtEl>
                                          <p:spTgt spid="24597"/>
                                        </p:tgtEl>
                                      </p:cBhvr>
                                      <p:to x="100000" y="100000"/>
                                    </p:animScale>
                                    <p:animScale>
                                      <p:cBhvr>
                                        <p:cTn id="203" dur="26">
                                          <p:stCondLst>
                                            <p:cond delay="1642"/>
                                          </p:stCondLst>
                                        </p:cTn>
                                        <p:tgtEl>
                                          <p:spTgt spid="24597"/>
                                        </p:tgtEl>
                                      </p:cBhvr>
                                      <p:to x="100000" y="90000"/>
                                    </p:animScale>
                                    <p:animScale>
                                      <p:cBhvr>
                                        <p:cTn id="204" dur="166" decel="50000">
                                          <p:stCondLst>
                                            <p:cond delay="1668"/>
                                          </p:stCondLst>
                                        </p:cTn>
                                        <p:tgtEl>
                                          <p:spTgt spid="24597"/>
                                        </p:tgtEl>
                                      </p:cBhvr>
                                      <p:to x="100000" y="100000"/>
                                    </p:animScale>
                                    <p:animScale>
                                      <p:cBhvr>
                                        <p:cTn id="205" dur="26">
                                          <p:stCondLst>
                                            <p:cond delay="1808"/>
                                          </p:stCondLst>
                                        </p:cTn>
                                        <p:tgtEl>
                                          <p:spTgt spid="24597"/>
                                        </p:tgtEl>
                                      </p:cBhvr>
                                      <p:to x="100000" y="95000"/>
                                    </p:animScale>
                                    <p:animScale>
                                      <p:cBhvr>
                                        <p:cTn id="206" dur="166" decel="50000">
                                          <p:stCondLst>
                                            <p:cond delay="1834"/>
                                          </p:stCondLst>
                                        </p:cTn>
                                        <p:tgtEl>
                                          <p:spTgt spid="24597"/>
                                        </p:tgtEl>
                                      </p:cBhvr>
                                      <p:to x="100000" y="100000"/>
                                    </p:animScale>
                                  </p:childTnLst>
                                </p:cTn>
                              </p:par>
                            </p:childTnLst>
                          </p:cTn>
                        </p:par>
                      </p:childTnLst>
                    </p:cTn>
                  </p:par>
                  <p:par>
                    <p:cTn id="207" fill="hold" nodeType="clickPar">
                      <p:stCondLst>
                        <p:cond delay="indefinite"/>
                      </p:stCondLst>
                      <p:childTnLst>
                        <p:par>
                          <p:cTn id="208" fill="hold" nodeType="withGroup">
                            <p:stCondLst>
                              <p:cond delay="0"/>
                            </p:stCondLst>
                            <p:childTnLst>
                              <p:par>
                                <p:cTn id="209" presetID="26" presetClass="entr" presetSubtype="0" fill="hold" grpId="0" nodeType="clickEffect">
                                  <p:stCondLst>
                                    <p:cond delay="0"/>
                                  </p:stCondLst>
                                  <p:childTnLst>
                                    <p:set>
                                      <p:cBhvr>
                                        <p:cTn id="210" dur="1" fill="hold">
                                          <p:stCondLst>
                                            <p:cond delay="0"/>
                                          </p:stCondLst>
                                        </p:cTn>
                                        <p:tgtEl>
                                          <p:spTgt spid="6"/>
                                        </p:tgtEl>
                                        <p:attrNameLst>
                                          <p:attrName>style.visibility</p:attrName>
                                        </p:attrNameLst>
                                      </p:cBhvr>
                                      <p:to>
                                        <p:strVal val="visible"/>
                                      </p:to>
                                    </p:set>
                                    <p:animEffect transition="in" filter="wipe(down)">
                                      <p:cBhvr>
                                        <p:cTn id="211" dur="580">
                                          <p:stCondLst>
                                            <p:cond delay="0"/>
                                          </p:stCondLst>
                                        </p:cTn>
                                        <p:tgtEl>
                                          <p:spTgt spid="6"/>
                                        </p:tgtEl>
                                      </p:cBhvr>
                                    </p:animEffect>
                                    <p:anim calcmode="lin" valueType="num">
                                      <p:cBhvr>
                                        <p:cTn id="212" dur="1822"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213" dur="664"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214" dur="664" tmFilter="0, 0; 0.125,0.2665; 0.25,0.4; 0.375,0.465; 0.5,0.5;  0.625,0.535; 0.75,0.6; 0.875,0.7335; 1,1">
                                          <p:stCondLst>
                                            <p:cond delay="664"/>
                                          </p:stCondLst>
                                        </p:cTn>
                                        <p:tgtEl>
                                          <p:spTgt spid="6"/>
                                        </p:tgtEl>
                                        <p:attrNameLst>
                                          <p:attrName>ppt_y</p:attrName>
                                        </p:attrNameLst>
                                      </p:cBhvr>
                                      <p:tavLst>
                                        <p:tav tm="0" fmla="#ppt_y-sin(pi*$)/9">
                                          <p:val>
                                            <p:fltVal val="0"/>
                                          </p:val>
                                        </p:tav>
                                        <p:tav tm="100000">
                                          <p:val>
                                            <p:fltVal val="1"/>
                                          </p:val>
                                        </p:tav>
                                      </p:tavLst>
                                    </p:anim>
                                    <p:anim calcmode="lin" valueType="num">
                                      <p:cBhvr>
                                        <p:cTn id="215" dur="332" tmFilter="0, 0; 0.125,0.2665; 0.25,0.4; 0.375,0.465; 0.5,0.5;  0.625,0.535; 0.75,0.6; 0.875,0.7335; 1,1">
                                          <p:stCondLst>
                                            <p:cond delay="1324"/>
                                          </p:stCondLst>
                                        </p:cTn>
                                        <p:tgtEl>
                                          <p:spTgt spid="6"/>
                                        </p:tgtEl>
                                        <p:attrNameLst>
                                          <p:attrName>ppt_y</p:attrName>
                                        </p:attrNameLst>
                                      </p:cBhvr>
                                      <p:tavLst>
                                        <p:tav tm="0" fmla="#ppt_y-sin(pi*$)/27">
                                          <p:val>
                                            <p:fltVal val="0"/>
                                          </p:val>
                                        </p:tav>
                                        <p:tav tm="100000">
                                          <p:val>
                                            <p:fltVal val="1"/>
                                          </p:val>
                                        </p:tav>
                                      </p:tavLst>
                                    </p:anim>
                                    <p:anim calcmode="lin" valueType="num">
                                      <p:cBhvr>
                                        <p:cTn id="216" dur="164" tmFilter="0, 0; 0.125,0.2665; 0.25,0.4; 0.375,0.465; 0.5,0.5;  0.625,0.535; 0.75,0.6; 0.875,0.7335; 1,1">
                                          <p:stCondLst>
                                            <p:cond delay="1656"/>
                                          </p:stCondLst>
                                        </p:cTn>
                                        <p:tgtEl>
                                          <p:spTgt spid="6"/>
                                        </p:tgtEl>
                                        <p:attrNameLst>
                                          <p:attrName>ppt_y</p:attrName>
                                        </p:attrNameLst>
                                      </p:cBhvr>
                                      <p:tavLst>
                                        <p:tav tm="0" fmla="#ppt_y-sin(pi*$)/81">
                                          <p:val>
                                            <p:fltVal val="0"/>
                                          </p:val>
                                        </p:tav>
                                        <p:tav tm="100000">
                                          <p:val>
                                            <p:fltVal val="1"/>
                                          </p:val>
                                        </p:tav>
                                      </p:tavLst>
                                    </p:anim>
                                    <p:animScale>
                                      <p:cBhvr>
                                        <p:cTn id="217" dur="26">
                                          <p:stCondLst>
                                            <p:cond delay="650"/>
                                          </p:stCondLst>
                                        </p:cTn>
                                        <p:tgtEl>
                                          <p:spTgt spid="6"/>
                                        </p:tgtEl>
                                      </p:cBhvr>
                                      <p:to x="100000" y="60000"/>
                                    </p:animScale>
                                    <p:animScale>
                                      <p:cBhvr>
                                        <p:cTn id="218" dur="166" decel="50000">
                                          <p:stCondLst>
                                            <p:cond delay="676"/>
                                          </p:stCondLst>
                                        </p:cTn>
                                        <p:tgtEl>
                                          <p:spTgt spid="6"/>
                                        </p:tgtEl>
                                      </p:cBhvr>
                                      <p:to x="100000" y="100000"/>
                                    </p:animScale>
                                    <p:animScale>
                                      <p:cBhvr>
                                        <p:cTn id="219" dur="26">
                                          <p:stCondLst>
                                            <p:cond delay="1312"/>
                                          </p:stCondLst>
                                        </p:cTn>
                                        <p:tgtEl>
                                          <p:spTgt spid="6"/>
                                        </p:tgtEl>
                                      </p:cBhvr>
                                      <p:to x="100000" y="80000"/>
                                    </p:animScale>
                                    <p:animScale>
                                      <p:cBhvr>
                                        <p:cTn id="220" dur="166" decel="50000">
                                          <p:stCondLst>
                                            <p:cond delay="1338"/>
                                          </p:stCondLst>
                                        </p:cTn>
                                        <p:tgtEl>
                                          <p:spTgt spid="6"/>
                                        </p:tgtEl>
                                      </p:cBhvr>
                                      <p:to x="100000" y="100000"/>
                                    </p:animScale>
                                    <p:animScale>
                                      <p:cBhvr>
                                        <p:cTn id="221" dur="26">
                                          <p:stCondLst>
                                            <p:cond delay="1642"/>
                                          </p:stCondLst>
                                        </p:cTn>
                                        <p:tgtEl>
                                          <p:spTgt spid="6"/>
                                        </p:tgtEl>
                                      </p:cBhvr>
                                      <p:to x="100000" y="90000"/>
                                    </p:animScale>
                                    <p:animScale>
                                      <p:cBhvr>
                                        <p:cTn id="222" dur="166" decel="50000">
                                          <p:stCondLst>
                                            <p:cond delay="1668"/>
                                          </p:stCondLst>
                                        </p:cTn>
                                        <p:tgtEl>
                                          <p:spTgt spid="6"/>
                                        </p:tgtEl>
                                      </p:cBhvr>
                                      <p:to x="100000" y="100000"/>
                                    </p:animScale>
                                    <p:animScale>
                                      <p:cBhvr>
                                        <p:cTn id="223" dur="26">
                                          <p:stCondLst>
                                            <p:cond delay="1808"/>
                                          </p:stCondLst>
                                        </p:cTn>
                                        <p:tgtEl>
                                          <p:spTgt spid="6"/>
                                        </p:tgtEl>
                                      </p:cBhvr>
                                      <p:to x="100000" y="95000"/>
                                    </p:animScale>
                                    <p:animScale>
                                      <p:cBhvr>
                                        <p:cTn id="224" dur="166" decel="50000">
                                          <p:stCondLst>
                                            <p:cond delay="1834"/>
                                          </p:stCondLst>
                                        </p:cTn>
                                        <p:tgtEl>
                                          <p:spTgt spid="6"/>
                                        </p:tgtEl>
                                      </p:cBhvr>
                                      <p:to x="100000" y="100000"/>
                                    </p:animScale>
                                  </p:childTnLst>
                                </p:cTn>
                              </p:par>
                              <p:par>
                                <p:cTn id="225" presetID="26" presetClass="entr" presetSubtype="0" fill="hold" grpId="0" nodeType="withEffect">
                                  <p:stCondLst>
                                    <p:cond delay="0"/>
                                  </p:stCondLst>
                                  <p:childTnLst>
                                    <p:set>
                                      <p:cBhvr>
                                        <p:cTn id="226" dur="1" fill="hold">
                                          <p:stCondLst>
                                            <p:cond delay="0"/>
                                          </p:stCondLst>
                                        </p:cTn>
                                        <p:tgtEl>
                                          <p:spTgt spid="24586"/>
                                        </p:tgtEl>
                                        <p:attrNameLst>
                                          <p:attrName>style.visibility</p:attrName>
                                        </p:attrNameLst>
                                      </p:cBhvr>
                                      <p:to>
                                        <p:strVal val="visible"/>
                                      </p:to>
                                    </p:set>
                                    <p:animEffect transition="in" filter="wipe(down)">
                                      <p:cBhvr>
                                        <p:cTn id="227" dur="580">
                                          <p:stCondLst>
                                            <p:cond delay="0"/>
                                          </p:stCondLst>
                                        </p:cTn>
                                        <p:tgtEl>
                                          <p:spTgt spid="24586"/>
                                        </p:tgtEl>
                                      </p:cBhvr>
                                    </p:animEffect>
                                    <p:anim calcmode="lin" valueType="num">
                                      <p:cBhvr>
                                        <p:cTn id="228" dur="1822" tmFilter="0,0; 0.14,0.36; 0.43,0.73; 0.71,0.91; 1.0,1.0">
                                          <p:stCondLst>
                                            <p:cond delay="0"/>
                                          </p:stCondLst>
                                        </p:cTn>
                                        <p:tgtEl>
                                          <p:spTgt spid="24586"/>
                                        </p:tgtEl>
                                        <p:attrNameLst>
                                          <p:attrName>ppt_x</p:attrName>
                                        </p:attrNameLst>
                                      </p:cBhvr>
                                      <p:tavLst>
                                        <p:tav tm="0">
                                          <p:val>
                                            <p:strVal val="#ppt_x-0.25"/>
                                          </p:val>
                                        </p:tav>
                                        <p:tav tm="100000">
                                          <p:val>
                                            <p:strVal val="#ppt_x"/>
                                          </p:val>
                                        </p:tav>
                                      </p:tavLst>
                                    </p:anim>
                                    <p:anim calcmode="lin" valueType="num">
                                      <p:cBhvr>
                                        <p:cTn id="229" dur="664" tmFilter="0.0,0.0; 0.25,0.07; 0.50,0.2; 0.75,0.467; 1.0,1.0">
                                          <p:stCondLst>
                                            <p:cond delay="0"/>
                                          </p:stCondLst>
                                        </p:cTn>
                                        <p:tgtEl>
                                          <p:spTgt spid="24586"/>
                                        </p:tgtEl>
                                        <p:attrNameLst>
                                          <p:attrName>ppt_y</p:attrName>
                                        </p:attrNameLst>
                                      </p:cBhvr>
                                      <p:tavLst>
                                        <p:tav tm="0" fmla="#ppt_y-sin(pi*$)/3">
                                          <p:val>
                                            <p:fltVal val="0.5"/>
                                          </p:val>
                                        </p:tav>
                                        <p:tav tm="100000">
                                          <p:val>
                                            <p:fltVal val="1"/>
                                          </p:val>
                                        </p:tav>
                                      </p:tavLst>
                                    </p:anim>
                                    <p:anim calcmode="lin" valueType="num">
                                      <p:cBhvr>
                                        <p:cTn id="230" dur="664" tmFilter="0, 0; 0.125,0.2665; 0.25,0.4; 0.375,0.465; 0.5,0.5;  0.625,0.535; 0.75,0.6; 0.875,0.7335; 1,1">
                                          <p:stCondLst>
                                            <p:cond delay="664"/>
                                          </p:stCondLst>
                                        </p:cTn>
                                        <p:tgtEl>
                                          <p:spTgt spid="24586"/>
                                        </p:tgtEl>
                                        <p:attrNameLst>
                                          <p:attrName>ppt_y</p:attrName>
                                        </p:attrNameLst>
                                      </p:cBhvr>
                                      <p:tavLst>
                                        <p:tav tm="0" fmla="#ppt_y-sin(pi*$)/9">
                                          <p:val>
                                            <p:fltVal val="0"/>
                                          </p:val>
                                        </p:tav>
                                        <p:tav tm="100000">
                                          <p:val>
                                            <p:fltVal val="1"/>
                                          </p:val>
                                        </p:tav>
                                      </p:tavLst>
                                    </p:anim>
                                    <p:anim calcmode="lin" valueType="num">
                                      <p:cBhvr>
                                        <p:cTn id="231" dur="332" tmFilter="0, 0; 0.125,0.2665; 0.25,0.4; 0.375,0.465; 0.5,0.5;  0.625,0.535; 0.75,0.6; 0.875,0.7335; 1,1">
                                          <p:stCondLst>
                                            <p:cond delay="1324"/>
                                          </p:stCondLst>
                                        </p:cTn>
                                        <p:tgtEl>
                                          <p:spTgt spid="24586"/>
                                        </p:tgtEl>
                                        <p:attrNameLst>
                                          <p:attrName>ppt_y</p:attrName>
                                        </p:attrNameLst>
                                      </p:cBhvr>
                                      <p:tavLst>
                                        <p:tav tm="0" fmla="#ppt_y-sin(pi*$)/27">
                                          <p:val>
                                            <p:fltVal val="0"/>
                                          </p:val>
                                        </p:tav>
                                        <p:tav tm="100000">
                                          <p:val>
                                            <p:fltVal val="1"/>
                                          </p:val>
                                        </p:tav>
                                      </p:tavLst>
                                    </p:anim>
                                    <p:anim calcmode="lin" valueType="num">
                                      <p:cBhvr>
                                        <p:cTn id="232" dur="164" tmFilter="0, 0; 0.125,0.2665; 0.25,0.4; 0.375,0.465; 0.5,0.5;  0.625,0.535; 0.75,0.6; 0.875,0.7335; 1,1">
                                          <p:stCondLst>
                                            <p:cond delay="1656"/>
                                          </p:stCondLst>
                                        </p:cTn>
                                        <p:tgtEl>
                                          <p:spTgt spid="24586"/>
                                        </p:tgtEl>
                                        <p:attrNameLst>
                                          <p:attrName>ppt_y</p:attrName>
                                        </p:attrNameLst>
                                      </p:cBhvr>
                                      <p:tavLst>
                                        <p:tav tm="0" fmla="#ppt_y-sin(pi*$)/81">
                                          <p:val>
                                            <p:fltVal val="0"/>
                                          </p:val>
                                        </p:tav>
                                        <p:tav tm="100000">
                                          <p:val>
                                            <p:fltVal val="1"/>
                                          </p:val>
                                        </p:tav>
                                      </p:tavLst>
                                    </p:anim>
                                    <p:animScale>
                                      <p:cBhvr>
                                        <p:cTn id="233" dur="26">
                                          <p:stCondLst>
                                            <p:cond delay="650"/>
                                          </p:stCondLst>
                                        </p:cTn>
                                        <p:tgtEl>
                                          <p:spTgt spid="24586"/>
                                        </p:tgtEl>
                                      </p:cBhvr>
                                      <p:to x="100000" y="60000"/>
                                    </p:animScale>
                                    <p:animScale>
                                      <p:cBhvr>
                                        <p:cTn id="234" dur="166" decel="50000">
                                          <p:stCondLst>
                                            <p:cond delay="676"/>
                                          </p:stCondLst>
                                        </p:cTn>
                                        <p:tgtEl>
                                          <p:spTgt spid="24586"/>
                                        </p:tgtEl>
                                      </p:cBhvr>
                                      <p:to x="100000" y="100000"/>
                                    </p:animScale>
                                    <p:animScale>
                                      <p:cBhvr>
                                        <p:cTn id="235" dur="26">
                                          <p:stCondLst>
                                            <p:cond delay="1312"/>
                                          </p:stCondLst>
                                        </p:cTn>
                                        <p:tgtEl>
                                          <p:spTgt spid="24586"/>
                                        </p:tgtEl>
                                      </p:cBhvr>
                                      <p:to x="100000" y="80000"/>
                                    </p:animScale>
                                    <p:animScale>
                                      <p:cBhvr>
                                        <p:cTn id="236" dur="166" decel="50000">
                                          <p:stCondLst>
                                            <p:cond delay="1338"/>
                                          </p:stCondLst>
                                        </p:cTn>
                                        <p:tgtEl>
                                          <p:spTgt spid="24586"/>
                                        </p:tgtEl>
                                      </p:cBhvr>
                                      <p:to x="100000" y="100000"/>
                                    </p:animScale>
                                    <p:animScale>
                                      <p:cBhvr>
                                        <p:cTn id="237" dur="26">
                                          <p:stCondLst>
                                            <p:cond delay="1642"/>
                                          </p:stCondLst>
                                        </p:cTn>
                                        <p:tgtEl>
                                          <p:spTgt spid="24586"/>
                                        </p:tgtEl>
                                      </p:cBhvr>
                                      <p:to x="100000" y="90000"/>
                                    </p:animScale>
                                    <p:animScale>
                                      <p:cBhvr>
                                        <p:cTn id="238" dur="166" decel="50000">
                                          <p:stCondLst>
                                            <p:cond delay="1668"/>
                                          </p:stCondLst>
                                        </p:cTn>
                                        <p:tgtEl>
                                          <p:spTgt spid="24586"/>
                                        </p:tgtEl>
                                      </p:cBhvr>
                                      <p:to x="100000" y="100000"/>
                                    </p:animScale>
                                    <p:animScale>
                                      <p:cBhvr>
                                        <p:cTn id="239" dur="26">
                                          <p:stCondLst>
                                            <p:cond delay="1808"/>
                                          </p:stCondLst>
                                        </p:cTn>
                                        <p:tgtEl>
                                          <p:spTgt spid="24586"/>
                                        </p:tgtEl>
                                      </p:cBhvr>
                                      <p:to x="100000" y="95000"/>
                                    </p:animScale>
                                    <p:animScale>
                                      <p:cBhvr>
                                        <p:cTn id="240" dur="166" decel="50000">
                                          <p:stCondLst>
                                            <p:cond delay="1834"/>
                                          </p:stCondLst>
                                        </p:cTn>
                                        <p:tgtEl>
                                          <p:spTgt spid="24586"/>
                                        </p:tgtEl>
                                      </p:cBhvr>
                                      <p:to x="100000" y="100000"/>
                                    </p:animScale>
                                  </p:childTnLst>
                                </p:cTn>
                              </p:par>
                            </p:childTnLst>
                          </p:cTn>
                        </p:par>
                      </p:childTnLst>
                    </p:cTn>
                  </p:par>
                  <p:par>
                    <p:cTn id="241" fill="hold" nodeType="clickPar">
                      <p:stCondLst>
                        <p:cond delay="indefinite"/>
                      </p:stCondLst>
                      <p:childTnLst>
                        <p:par>
                          <p:cTn id="242" fill="hold" nodeType="withGroup">
                            <p:stCondLst>
                              <p:cond delay="0"/>
                            </p:stCondLst>
                            <p:childTnLst>
                              <p:par>
                                <p:cTn id="243" presetID="21" presetClass="entr" presetSubtype="1" fill="hold" grpId="0" nodeType="clickEffect">
                                  <p:stCondLst>
                                    <p:cond delay="0"/>
                                  </p:stCondLst>
                                  <p:childTnLst>
                                    <p:set>
                                      <p:cBhvr>
                                        <p:cTn id="244" dur="1" fill="hold">
                                          <p:stCondLst>
                                            <p:cond delay="0"/>
                                          </p:stCondLst>
                                        </p:cTn>
                                        <p:tgtEl>
                                          <p:spTgt spid="11"/>
                                        </p:tgtEl>
                                        <p:attrNameLst>
                                          <p:attrName>style.visibility</p:attrName>
                                        </p:attrNameLst>
                                      </p:cBhvr>
                                      <p:to>
                                        <p:strVal val="visible"/>
                                      </p:to>
                                    </p:set>
                                    <p:animEffect transition="in" filter="wheel(1)">
                                      <p:cBhvr>
                                        <p:cTn id="245" dur="2000"/>
                                        <p:tgtEl>
                                          <p:spTgt spid="11"/>
                                        </p:tgtEl>
                                      </p:cBhvr>
                                    </p:animEffect>
                                  </p:childTnLst>
                                </p:cTn>
                              </p:par>
                              <p:par>
                                <p:cTn id="246" presetID="21" presetClass="entr" presetSubtype="1" fill="hold" grpId="0" nodeType="withEffect">
                                  <p:stCondLst>
                                    <p:cond delay="0"/>
                                  </p:stCondLst>
                                  <p:childTnLst>
                                    <p:set>
                                      <p:cBhvr>
                                        <p:cTn id="247" dur="1" fill="hold">
                                          <p:stCondLst>
                                            <p:cond delay="0"/>
                                          </p:stCondLst>
                                        </p:cTn>
                                        <p:tgtEl>
                                          <p:spTgt spid="24600"/>
                                        </p:tgtEl>
                                        <p:attrNameLst>
                                          <p:attrName>style.visibility</p:attrName>
                                        </p:attrNameLst>
                                      </p:cBhvr>
                                      <p:to>
                                        <p:strVal val="visible"/>
                                      </p:to>
                                    </p:set>
                                    <p:animEffect transition="in" filter="wheel(1)">
                                      <p:cBhvr>
                                        <p:cTn id="248" dur="2000"/>
                                        <p:tgtEl>
                                          <p:spTgt spid="246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4586" grpId="0"/>
      <p:bldP spid="12" grpId="0" animBg="1"/>
      <p:bldP spid="13" grpId="0" animBg="1"/>
      <p:bldP spid="14" grpId="0" animBg="1"/>
      <p:bldP spid="15" grpId="0" animBg="1"/>
      <p:bldP spid="24591" grpId="0"/>
      <p:bldP spid="24592" grpId="0"/>
      <p:bldP spid="24593" grpId="0"/>
      <p:bldP spid="24594" grpId="0"/>
      <p:bldP spid="20" grpId="0" animBg="1"/>
      <p:bldP spid="21" grpId="0" animBg="1"/>
      <p:bldP spid="24597" grpId="0"/>
      <p:bldP spid="24598" grpId="0"/>
      <p:bldP spid="11" grpId="0" animBg="1"/>
      <p:bldP spid="2460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ZoneTexte 1">
            <a:extLst>
              <a:ext uri="{FF2B5EF4-FFF2-40B4-BE49-F238E27FC236}">
                <a16:creationId xmlns="" xmlns:a16="http://schemas.microsoft.com/office/drawing/2014/main" id="{28703C60-A8A5-4AB7-8159-788E2CB709F9}"/>
              </a:ext>
            </a:extLst>
          </p:cNvPr>
          <p:cNvSpPr txBox="1">
            <a:spLocks noChangeArrowheads="1"/>
          </p:cNvSpPr>
          <p:nvPr/>
        </p:nvSpPr>
        <p:spPr bwMode="auto">
          <a:xfrm>
            <a:off x="1358900" y="2205038"/>
            <a:ext cx="6481763" cy="630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eaLnBrk="1" hangingPunct="1">
              <a:spcBef>
                <a:spcPct val="0"/>
              </a:spcBef>
              <a:buFontTx/>
              <a:buNone/>
            </a:pPr>
            <a:r>
              <a:rPr lang="fr-FR" altLang="fr-FR" sz="3500" dirty="0">
                <a:solidFill>
                  <a:srgbClr val="0070C0"/>
                </a:solidFill>
                <a:latin typeface="Calibri" panose="020F0502020204030204" pitchFamily="34" charset="0"/>
              </a:rPr>
              <a:t>MERCI DE VOTRE ATTENTION</a:t>
            </a:r>
          </a:p>
        </p:txBody>
      </p:sp>
      <p:sp>
        <p:nvSpPr>
          <p:cNvPr id="26627" name="ZoneTexte 1">
            <a:extLst>
              <a:ext uri="{FF2B5EF4-FFF2-40B4-BE49-F238E27FC236}">
                <a16:creationId xmlns="" xmlns:a16="http://schemas.microsoft.com/office/drawing/2014/main" id="{4F9C52E9-0FD4-43E0-9C2D-1E4D93B3585A}"/>
              </a:ext>
            </a:extLst>
          </p:cNvPr>
          <p:cNvSpPr txBox="1">
            <a:spLocks noChangeArrowheads="1"/>
          </p:cNvSpPr>
          <p:nvPr/>
        </p:nvSpPr>
        <p:spPr bwMode="auto">
          <a:xfrm>
            <a:off x="900113" y="4005263"/>
            <a:ext cx="7559675"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eaLnBrk="1" hangingPunct="1">
              <a:spcBef>
                <a:spcPct val="0"/>
              </a:spcBef>
              <a:buFontTx/>
              <a:buNone/>
            </a:pPr>
            <a:r>
              <a:rPr lang="fr-FR" altLang="fr-FR" sz="3000">
                <a:latin typeface="Calibri" panose="020F0502020204030204" pitchFamily="34" charset="0"/>
              </a:rPr>
              <a:t>mdph.reponse.accompagnee@aisne.fr</a:t>
            </a:r>
          </a:p>
        </p:txBody>
      </p:sp>
    </p:spTree>
  </p:cSld>
  <p:clrMapOvr>
    <a:masterClrMapping/>
  </p:clrMapOvr>
  <p:transition spd="slow">
    <p:cove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Object 29" hidden="1">
            <a:extLst>
              <a:ext uri="{FF2B5EF4-FFF2-40B4-BE49-F238E27FC236}">
                <a16:creationId xmlns="" xmlns:a16="http://schemas.microsoft.com/office/drawing/2014/main" id="{A83DF7CF-F86F-4DBF-BE49-C376A813C57B}"/>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9" name="Diapositive think-cell" r:id="rId5" imgW="360" imgH="360" progId="TCLayout.ActiveDocument.1">
                  <p:embed/>
                </p:oleObj>
              </mc:Choice>
              <mc:Fallback>
                <p:oleObj name="Diapositive think-cell" r:id="rId5" imgW="360" imgH="360" progId="TCLayout.ActiveDocument.1">
                  <p:embed/>
                  <p:pic>
                    <p:nvPicPr>
                      <p:cNvPr id="9218" name="Object 29" hidden="1">
                        <a:extLst>
                          <a:ext uri="{FF2B5EF4-FFF2-40B4-BE49-F238E27FC236}">
                            <a16:creationId xmlns="" xmlns:a16="http://schemas.microsoft.com/office/drawing/2014/main" id="{A83DF7CF-F86F-4DBF-BE49-C376A813C5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a:extLst>
              <a:ext uri="{FF2B5EF4-FFF2-40B4-BE49-F238E27FC236}">
                <a16:creationId xmlns="" xmlns:a16="http://schemas.microsoft.com/office/drawing/2014/main" id="{2246F0F8-EB6D-4127-A09F-32CE628D9E47}"/>
              </a:ext>
            </a:extLst>
          </p:cNvPr>
          <p:cNvSpPr>
            <a:spLocks noGrp="1"/>
          </p:cNvSpPr>
          <p:nvPr>
            <p:ph type="title"/>
          </p:nvPr>
        </p:nvSpPr>
        <p:spPr>
          <a:xfrm>
            <a:off x="454025" y="466725"/>
            <a:ext cx="8221663" cy="595313"/>
          </a:xfrm>
        </p:spPr>
        <p:txBody>
          <a:bodyPr>
            <a:normAutofit fontScale="90000"/>
          </a:bodyPr>
          <a:lstStyle/>
          <a:p>
            <a:pPr algn="ctr" eaLnBrk="1" fontAlgn="auto" hangingPunct="1">
              <a:spcAft>
                <a:spcPts val="0"/>
              </a:spcAft>
              <a:defRPr/>
            </a:pPr>
            <a:r>
              <a:rPr lang="fr-FR" sz="2200" dirty="0">
                <a:solidFill>
                  <a:srgbClr val="0070C0"/>
                </a:solidFill>
              </a:rPr>
              <a:t>« Une réponse accompagnée pour tous » : </a:t>
            </a:r>
            <a:br>
              <a:rPr lang="fr-FR" sz="2200" dirty="0">
                <a:solidFill>
                  <a:srgbClr val="0070C0"/>
                </a:solidFill>
              </a:rPr>
            </a:br>
            <a:r>
              <a:rPr lang="fr-FR" sz="2200" dirty="0">
                <a:solidFill>
                  <a:srgbClr val="0070C0"/>
                </a:solidFill>
              </a:rPr>
              <a:t>l’aboutissement d’une longue réflexion</a:t>
            </a:r>
          </a:p>
        </p:txBody>
      </p:sp>
      <p:sp>
        <p:nvSpPr>
          <p:cNvPr id="27" name="Freihandform 11">
            <a:extLst>
              <a:ext uri="{FF2B5EF4-FFF2-40B4-BE49-F238E27FC236}">
                <a16:creationId xmlns="" xmlns:a16="http://schemas.microsoft.com/office/drawing/2014/main" id="{E18C87A6-95D4-4CC6-8F3A-C1394FD07721}"/>
              </a:ext>
            </a:extLst>
          </p:cNvPr>
          <p:cNvSpPr/>
          <p:nvPr/>
        </p:nvSpPr>
        <p:spPr bwMode="gray">
          <a:xfrm rot="10800000">
            <a:off x="185738" y="1700213"/>
            <a:ext cx="8094662" cy="3357562"/>
          </a:xfrm>
          <a:custGeom>
            <a:avLst/>
            <a:gdLst/>
            <a:ahLst/>
            <a:cxnLst/>
            <a:rect l="l" t="t" r="r" b="b"/>
            <a:pathLst>
              <a:path w="9144000" h="3944893">
                <a:moveTo>
                  <a:pt x="9144000" y="0"/>
                </a:moveTo>
                <a:lnTo>
                  <a:pt x="9144000" y="247935"/>
                </a:lnTo>
                <a:lnTo>
                  <a:pt x="1064423" y="3944893"/>
                </a:lnTo>
                <a:lnTo>
                  <a:pt x="0" y="3944893"/>
                </a:lnTo>
                <a:lnTo>
                  <a:pt x="0" y="2813685"/>
                </a:lnTo>
                <a:close/>
              </a:path>
            </a:pathLst>
          </a:custGeom>
          <a:solidFill>
            <a:schemeClr val="accent2">
              <a:lumMod val="75000"/>
            </a:schemeClr>
          </a:solidFill>
          <a:ln w="12700">
            <a:noFill/>
            <a:round/>
            <a:headEnd/>
            <a:tailEnd/>
          </a:ln>
          <a:effectLst/>
        </p:spPr>
        <p:txBody>
          <a:bodyPr lIns="91224" tIns="45624" rIns="91224" bIns="45624" anchor="ctr"/>
          <a:lstStyle/>
          <a:p>
            <a:pPr algn="ctr">
              <a:defRPr/>
            </a:pPr>
            <a:endParaRPr lang="en-US" dirty="0">
              <a:solidFill>
                <a:srgbClr val="000000"/>
              </a:solidFill>
            </a:endParaRPr>
          </a:p>
        </p:txBody>
      </p:sp>
      <p:cxnSp>
        <p:nvCxnSpPr>
          <p:cNvPr id="9221" name="Gerade Verbindung 168">
            <a:extLst>
              <a:ext uri="{FF2B5EF4-FFF2-40B4-BE49-F238E27FC236}">
                <a16:creationId xmlns="" xmlns:a16="http://schemas.microsoft.com/office/drawing/2014/main" id="{F220E6F7-8E7D-45B4-BA63-A7B0C95571DD}"/>
              </a:ext>
            </a:extLst>
          </p:cNvPr>
          <p:cNvCxnSpPr>
            <a:cxnSpLocks noChangeShapeType="1"/>
          </p:cNvCxnSpPr>
          <p:nvPr/>
        </p:nvCxnSpPr>
        <p:spPr bwMode="gray">
          <a:xfrm flipH="1" flipV="1">
            <a:off x="4643438" y="2420938"/>
            <a:ext cx="0" cy="414337"/>
          </a:xfrm>
          <a:prstGeom prst="line">
            <a:avLst/>
          </a:prstGeom>
          <a:noFill/>
          <a:ln w="19050">
            <a:solidFill>
              <a:schemeClr val="bg1"/>
            </a:solidFill>
            <a:prstDash val="sysDot"/>
            <a:round/>
            <a:headEnd/>
            <a:tailEnd/>
          </a:ln>
          <a:extLst>
            <a:ext uri="{909E8E84-426E-40DD-AFC4-6F175D3DCCD1}">
              <a14:hiddenFill xmlns:a14="http://schemas.microsoft.com/office/drawing/2010/main">
                <a:noFill/>
              </a14:hiddenFill>
            </a:ext>
          </a:extLst>
        </p:spPr>
      </p:cxnSp>
      <p:cxnSp>
        <p:nvCxnSpPr>
          <p:cNvPr id="9222" name="Gerade Verbindung 169">
            <a:extLst>
              <a:ext uri="{FF2B5EF4-FFF2-40B4-BE49-F238E27FC236}">
                <a16:creationId xmlns="" xmlns:a16="http://schemas.microsoft.com/office/drawing/2014/main" id="{E16F752F-A3B7-4656-8BA0-3FEA89A1B57C}"/>
              </a:ext>
            </a:extLst>
          </p:cNvPr>
          <p:cNvCxnSpPr>
            <a:cxnSpLocks noChangeShapeType="1"/>
          </p:cNvCxnSpPr>
          <p:nvPr/>
        </p:nvCxnSpPr>
        <p:spPr bwMode="gray">
          <a:xfrm flipV="1">
            <a:off x="1763713" y="3327400"/>
            <a:ext cx="0" cy="677863"/>
          </a:xfrm>
          <a:prstGeom prst="line">
            <a:avLst/>
          </a:prstGeom>
          <a:noFill/>
          <a:ln w="19050">
            <a:solidFill>
              <a:schemeClr val="bg1"/>
            </a:solidFill>
            <a:prstDash val="sysDot"/>
            <a:round/>
            <a:headEnd/>
            <a:tailEnd/>
          </a:ln>
          <a:extLst>
            <a:ext uri="{909E8E84-426E-40DD-AFC4-6F175D3DCCD1}">
              <a14:hiddenFill xmlns:a14="http://schemas.microsoft.com/office/drawing/2010/main">
                <a:noFill/>
              </a14:hiddenFill>
            </a:ext>
          </a:extLst>
        </p:spPr>
      </p:cxnSp>
      <p:cxnSp>
        <p:nvCxnSpPr>
          <p:cNvPr id="9223" name="Gerade Verbindung 172">
            <a:extLst>
              <a:ext uri="{FF2B5EF4-FFF2-40B4-BE49-F238E27FC236}">
                <a16:creationId xmlns="" xmlns:a16="http://schemas.microsoft.com/office/drawing/2014/main" id="{F724F5B8-3AF7-40B0-A945-A7D6ADD06744}"/>
              </a:ext>
            </a:extLst>
          </p:cNvPr>
          <p:cNvCxnSpPr>
            <a:cxnSpLocks noChangeShapeType="1"/>
          </p:cNvCxnSpPr>
          <p:nvPr/>
        </p:nvCxnSpPr>
        <p:spPr bwMode="gray">
          <a:xfrm flipV="1">
            <a:off x="635000" y="4929188"/>
            <a:ext cx="0" cy="346075"/>
          </a:xfrm>
          <a:prstGeom prst="line">
            <a:avLst/>
          </a:prstGeom>
          <a:noFill/>
          <a:ln w="19050">
            <a:solidFill>
              <a:schemeClr val="bg1"/>
            </a:solidFill>
            <a:prstDash val="sysDot"/>
            <a:round/>
            <a:headEnd/>
            <a:tailEnd/>
          </a:ln>
          <a:extLst>
            <a:ext uri="{909E8E84-426E-40DD-AFC4-6F175D3DCCD1}">
              <a14:hiddenFill xmlns:a14="http://schemas.microsoft.com/office/drawing/2010/main">
                <a:noFill/>
              </a14:hiddenFill>
            </a:ext>
          </a:extLst>
        </p:spPr>
      </p:cxnSp>
      <p:sp>
        <p:nvSpPr>
          <p:cNvPr id="9224" name="Rechteck 177">
            <a:extLst>
              <a:ext uri="{FF2B5EF4-FFF2-40B4-BE49-F238E27FC236}">
                <a16:creationId xmlns="" xmlns:a16="http://schemas.microsoft.com/office/drawing/2014/main" id="{D813F9C0-5B8F-4CF1-9DC9-DED6C98DF6D1}"/>
              </a:ext>
            </a:extLst>
          </p:cNvPr>
          <p:cNvSpPr>
            <a:spLocks noChangeArrowheads="1"/>
          </p:cNvSpPr>
          <p:nvPr/>
        </p:nvSpPr>
        <p:spPr bwMode="gray">
          <a:xfrm>
            <a:off x="288330" y="5229225"/>
            <a:ext cx="1403350" cy="846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5928" tIns="35928" rIns="35928" bIns="35928"/>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lnSpc>
                <a:spcPct val="95000"/>
              </a:lnSpc>
              <a:spcBef>
                <a:spcPct val="0"/>
              </a:spcBef>
              <a:spcAft>
                <a:spcPts val="800"/>
              </a:spcAft>
              <a:buClr>
                <a:srgbClr val="808080"/>
              </a:buClr>
              <a:buFontTx/>
              <a:buNone/>
            </a:pPr>
            <a:r>
              <a:rPr lang="fr-FR" altLang="fr-FR" sz="1400" dirty="0">
                <a:solidFill>
                  <a:srgbClr val="262626"/>
                </a:solidFill>
                <a:latin typeface="EYInterstate Light"/>
              </a:rPr>
              <a:t>Octobre 2013 </a:t>
            </a:r>
          </a:p>
          <a:p>
            <a:pPr eaLnBrk="1" hangingPunct="1">
              <a:lnSpc>
                <a:spcPct val="95000"/>
              </a:lnSpc>
              <a:spcBef>
                <a:spcPct val="0"/>
              </a:spcBef>
              <a:spcAft>
                <a:spcPts val="800"/>
              </a:spcAft>
              <a:buClr>
                <a:srgbClr val="808080"/>
              </a:buClr>
              <a:buFontTx/>
              <a:buNone/>
            </a:pPr>
            <a:r>
              <a:rPr lang="fr-FR" altLang="fr-FR" sz="1400" b="0" noProof="1">
                <a:solidFill>
                  <a:srgbClr val="262626"/>
                </a:solidFill>
                <a:latin typeface="EYInterstate Light"/>
              </a:rPr>
              <a:t>« Affaire Amélie Loquet »</a:t>
            </a:r>
          </a:p>
        </p:txBody>
      </p:sp>
      <p:sp>
        <p:nvSpPr>
          <p:cNvPr id="37" name="Ellipse 21">
            <a:extLst>
              <a:ext uri="{FF2B5EF4-FFF2-40B4-BE49-F238E27FC236}">
                <a16:creationId xmlns="" xmlns:a16="http://schemas.microsoft.com/office/drawing/2014/main" id="{8E4A187E-B774-4405-A816-3B84BA6F6BAE}"/>
              </a:ext>
            </a:extLst>
          </p:cNvPr>
          <p:cNvSpPr/>
          <p:nvPr/>
        </p:nvSpPr>
        <p:spPr bwMode="gray">
          <a:xfrm>
            <a:off x="4233863" y="2801938"/>
            <a:ext cx="1008062" cy="971550"/>
          </a:xfrm>
          <a:prstGeom prst="ellipse">
            <a:avLst/>
          </a:prstGeom>
          <a:solidFill>
            <a:schemeClr val="bg1"/>
          </a:solidFill>
          <a:ln>
            <a:noFill/>
            <a:headEnd/>
            <a:tailEnd/>
          </a:ln>
        </p:spPr>
        <p:style>
          <a:lnRef idx="2">
            <a:schemeClr val="dk1"/>
          </a:lnRef>
          <a:fillRef idx="1">
            <a:schemeClr val="lt1"/>
          </a:fillRef>
          <a:effectRef idx="0">
            <a:schemeClr val="dk1"/>
          </a:effectRef>
          <a:fontRef idx="minor">
            <a:schemeClr val="dk1"/>
          </a:fontRef>
        </p:style>
        <p:txBody>
          <a:bodyPr lIns="0" tIns="0" rIns="0" bIns="0" anchor="ctr"/>
          <a:lstStyle/>
          <a:p>
            <a:pPr indent="-190044" algn="ctr">
              <a:lnSpc>
                <a:spcPct val="95000"/>
              </a:lnSpc>
              <a:spcAft>
                <a:spcPts val="800"/>
              </a:spcAft>
              <a:buClr>
                <a:srgbClr val="808080"/>
              </a:buClr>
              <a:defRPr/>
            </a:pPr>
            <a:r>
              <a:rPr lang="en-US" sz="3600" b="1" noProof="1">
                <a:solidFill>
                  <a:srgbClr val="FFFFFF"/>
                </a:solidFill>
                <a:cs typeface="Arial" charset="0"/>
              </a:rPr>
              <a:t>4</a:t>
            </a:r>
          </a:p>
        </p:txBody>
      </p:sp>
      <p:sp>
        <p:nvSpPr>
          <p:cNvPr id="38" name="Ellipse 23">
            <a:extLst>
              <a:ext uri="{FF2B5EF4-FFF2-40B4-BE49-F238E27FC236}">
                <a16:creationId xmlns="" xmlns:a16="http://schemas.microsoft.com/office/drawing/2014/main" id="{9AA5C520-0619-4838-956F-52CB5184F4E5}"/>
              </a:ext>
            </a:extLst>
          </p:cNvPr>
          <p:cNvSpPr/>
          <p:nvPr/>
        </p:nvSpPr>
        <p:spPr bwMode="gray">
          <a:xfrm>
            <a:off x="2824163" y="3414713"/>
            <a:ext cx="792162" cy="823912"/>
          </a:xfrm>
          <a:prstGeom prst="ellipse">
            <a:avLst/>
          </a:prstGeom>
          <a:solidFill>
            <a:schemeClr val="bg1"/>
          </a:solidFill>
          <a:ln>
            <a:noFill/>
            <a:headEnd/>
            <a:tailEnd/>
          </a:ln>
        </p:spPr>
        <p:style>
          <a:lnRef idx="2">
            <a:schemeClr val="dk1"/>
          </a:lnRef>
          <a:fillRef idx="1">
            <a:schemeClr val="lt1"/>
          </a:fillRef>
          <a:effectRef idx="0">
            <a:schemeClr val="dk1"/>
          </a:effectRef>
          <a:fontRef idx="minor">
            <a:schemeClr val="dk1"/>
          </a:fontRef>
        </p:style>
        <p:txBody>
          <a:bodyPr lIns="0" tIns="0" rIns="0" bIns="0" anchor="ctr"/>
          <a:lstStyle/>
          <a:p>
            <a:pPr indent="-190044" algn="ctr">
              <a:lnSpc>
                <a:spcPct val="95000"/>
              </a:lnSpc>
              <a:spcAft>
                <a:spcPts val="800"/>
              </a:spcAft>
              <a:buClr>
                <a:srgbClr val="808080"/>
              </a:buClr>
              <a:defRPr/>
            </a:pPr>
            <a:r>
              <a:rPr lang="en-US" sz="2800" b="1" noProof="1">
                <a:solidFill>
                  <a:srgbClr val="FFFFFF"/>
                </a:solidFill>
                <a:cs typeface="Arial" charset="0"/>
              </a:rPr>
              <a:t>3</a:t>
            </a:r>
          </a:p>
        </p:txBody>
      </p:sp>
      <p:sp>
        <p:nvSpPr>
          <p:cNvPr id="39" name="Ellipse 24">
            <a:extLst>
              <a:ext uri="{FF2B5EF4-FFF2-40B4-BE49-F238E27FC236}">
                <a16:creationId xmlns="" xmlns:a16="http://schemas.microsoft.com/office/drawing/2014/main" id="{BBCECD66-C064-42D7-BDD8-19CA5A963DC2}"/>
              </a:ext>
            </a:extLst>
          </p:cNvPr>
          <p:cNvSpPr/>
          <p:nvPr/>
        </p:nvSpPr>
        <p:spPr bwMode="gray">
          <a:xfrm>
            <a:off x="1492250" y="3971925"/>
            <a:ext cx="714375" cy="666750"/>
          </a:xfrm>
          <a:prstGeom prst="ellipse">
            <a:avLst/>
          </a:prstGeom>
          <a:solidFill>
            <a:schemeClr val="bg1"/>
          </a:solidFill>
          <a:ln>
            <a:noFill/>
            <a:headEnd/>
            <a:tailEnd/>
          </a:ln>
        </p:spPr>
        <p:style>
          <a:lnRef idx="2">
            <a:schemeClr val="dk1"/>
          </a:lnRef>
          <a:fillRef idx="1">
            <a:schemeClr val="lt1"/>
          </a:fillRef>
          <a:effectRef idx="0">
            <a:schemeClr val="dk1"/>
          </a:effectRef>
          <a:fontRef idx="minor">
            <a:schemeClr val="dk1"/>
          </a:fontRef>
        </p:style>
        <p:txBody>
          <a:bodyPr lIns="0" tIns="0" rIns="0" bIns="0" anchor="ctr"/>
          <a:lstStyle/>
          <a:p>
            <a:pPr indent="-190044" algn="ctr">
              <a:lnSpc>
                <a:spcPct val="95000"/>
              </a:lnSpc>
              <a:spcAft>
                <a:spcPts val="800"/>
              </a:spcAft>
              <a:buClr>
                <a:srgbClr val="808080"/>
              </a:buClr>
              <a:defRPr/>
            </a:pPr>
            <a:r>
              <a:rPr lang="en-US" sz="2400" b="1" noProof="1">
                <a:solidFill>
                  <a:srgbClr val="FFFFFF"/>
                </a:solidFill>
                <a:cs typeface="Arial" charset="0"/>
              </a:rPr>
              <a:t>2</a:t>
            </a:r>
          </a:p>
        </p:txBody>
      </p:sp>
      <p:sp>
        <p:nvSpPr>
          <p:cNvPr id="40" name="Ellipse 25">
            <a:extLst>
              <a:ext uri="{FF2B5EF4-FFF2-40B4-BE49-F238E27FC236}">
                <a16:creationId xmlns="" xmlns:a16="http://schemas.microsoft.com/office/drawing/2014/main" id="{53EF47CD-8D31-4FF7-8230-9686D48E7770}"/>
              </a:ext>
            </a:extLst>
          </p:cNvPr>
          <p:cNvSpPr/>
          <p:nvPr/>
        </p:nvSpPr>
        <p:spPr bwMode="gray">
          <a:xfrm>
            <a:off x="395288" y="4513263"/>
            <a:ext cx="481012" cy="484187"/>
          </a:xfrm>
          <a:prstGeom prst="ellipse">
            <a:avLst/>
          </a:prstGeom>
          <a:solidFill>
            <a:schemeClr val="bg1"/>
          </a:solidFill>
          <a:ln>
            <a:noFill/>
            <a:headEnd/>
            <a:tailEnd/>
          </a:ln>
        </p:spPr>
        <p:style>
          <a:lnRef idx="2">
            <a:schemeClr val="dk1"/>
          </a:lnRef>
          <a:fillRef idx="1">
            <a:schemeClr val="lt1"/>
          </a:fillRef>
          <a:effectRef idx="0">
            <a:schemeClr val="dk1"/>
          </a:effectRef>
          <a:fontRef idx="minor">
            <a:schemeClr val="dk1"/>
          </a:fontRef>
        </p:style>
        <p:txBody>
          <a:bodyPr lIns="0" tIns="0" rIns="0" bIns="0" anchor="ctr"/>
          <a:lstStyle/>
          <a:p>
            <a:pPr indent="-190044" algn="ctr">
              <a:lnSpc>
                <a:spcPct val="95000"/>
              </a:lnSpc>
              <a:spcAft>
                <a:spcPts val="800"/>
              </a:spcAft>
              <a:buClr>
                <a:srgbClr val="808080"/>
              </a:buClr>
              <a:defRPr/>
            </a:pPr>
            <a:r>
              <a:rPr lang="en-US" b="1" noProof="1">
                <a:solidFill>
                  <a:srgbClr val="FFFFFF"/>
                </a:solidFill>
                <a:cs typeface="Arial" charset="0"/>
              </a:rPr>
              <a:t>1</a:t>
            </a:r>
          </a:p>
        </p:txBody>
      </p:sp>
      <p:sp>
        <p:nvSpPr>
          <p:cNvPr id="9229" name="Rechteck 177">
            <a:extLst>
              <a:ext uri="{FF2B5EF4-FFF2-40B4-BE49-F238E27FC236}">
                <a16:creationId xmlns="" xmlns:a16="http://schemas.microsoft.com/office/drawing/2014/main" id="{3A842C6D-F5BC-4A03-83CD-7EB1DF856E3A}"/>
              </a:ext>
            </a:extLst>
          </p:cNvPr>
          <p:cNvSpPr>
            <a:spLocks noChangeArrowheads="1"/>
          </p:cNvSpPr>
          <p:nvPr/>
        </p:nvSpPr>
        <p:spPr bwMode="gray">
          <a:xfrm>
            <a:off x="2411413" y="4525963"/>
            <a:ext cx="1695450" cy="158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5928" tIns="35928" rIns="35928" bIns="35928"/>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lnSpc>
                <a:spcPct val="95000"/>
              </a:lnSpc>
              <a:spcBef>
                <a:spcPct val="0"/>
              </a:spcBef>
              <a:spcAft>
                <a:spcPts val="800"/>
              </a:spcAft>
              <a:buClr>
                <a:srgbClr val="808080"/>
              </a:buClr>
              <a:buFontTx/>
              <a:buNone/>
            </a:pPr>
            <a:r>
              <a:rPr lang="fr-FR" altLang="fr-FR" sz="1400" dirty="0">
                <a:solidFill>
                  <a:srgbClr val="262626"/>
                </a:solidFill>
                <a:latin typeface="EYInterstate Light"/>
              </a:rPr>
              <a:t>Décembre 2014</a:t>
            </a:r>
          </a:p>
          <a:p>
            <a:pPr eaLnBrk="1" hangingPunct="1">
              <a:lnSpc>
                <a:spcPct val="95000"/>
              </a:lnSpc>
              <a:spcBef>
                <a:spcPct val="0"/>
              </a:spcBef>
              <a:spcAft>
                <a:spcPts val="800"/>
              </a:spcAft>
              <a:buClr>
                <a:srgbClr val="808080"/>
              </a:buClr>
              <a:buFontTx/>
              <a:buNone/>
            </a:pPr>
            <a:r>
              <a:rPr lang="fr-FR" altLang="fr-FR" sz="1400" b="0" noProof="1">
                <a:solidFill>
                  <a:srgbClr val="262626"/>
                </a:solidFill>
                <a:latin typeface="EYInterstate Light"/>
              </a:rPr>
              <a:t>Le gouvernement missionne Marie-Sophie Desaulle pour mettre en œuvre le rapport Piveteau</a:t>
            </a:r>
          </a:p>
        </p:txBody>
      </p:sp>
      <p:sp>
        <p:nvSpPr>
          <p:cNvPr id="9230" name="Rechteck 177">
            <a:extLst>
              <a:ext uri="{FF2B5EF4-FFF2-40B4-BE49-F238E27FC236}">
                <a16:creationId xmlns="" xmlns:a16="http://schemas.microsoft.com/office/drawing/2014/main" id="{4AC51C1D-51CF-45B2-A94F-D0AF00636BD0}"/>
              </a:ext>
            </a:extLst>
          </p:cNvPr>
          <p:cNvSpPr>
            <a:spLocks noChangeArrowheads="1"/>
          </p:cNvSpPr>
          <p:nvPr/>
        </p:nvSpPr>
        <p:spPr bwMode="gray">
          <a:xfrm>
            <a:off x="3694113" y="1276350"/>
            <a:ext cx="1489075"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5928" tIns="35928" rIns="35928" bIns="35928" anchor="b"/>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lnSpc>
                <a:spcPct val="95000"/>
              </a:lnSpc>
              <a:spcBef>
                <a:spcPct val="0"/>
              </a:spcBef>
              <a:spcAft>
                <a:spcPts val="800"/>
              </a:spcAft>
              <a:buClr>
                <a:srgbClr val="808080"/>
              </a:buClr>
              <a:buFontTx/>
              <a:buNone/>
            </a:pPr>
            <a:r>
              <a:rPr lang="en-US" altLang="fr-FR" sz="1400">
                <a:solidFill>
                  <a:srgbClr val="262626"/>
                </a:solidFill>
                <a:latin typeface="EYInterstate Light"/>
              </a:rPr>
              <a:t>Juillet 2015</a:t>
            </a:r>
          </a:p>
          <a:p>
            <a:pPr eaLnBrk="1" hangingPunct="1">
              <a:lnSpc>
                <a:spcPct val="95000"/>
              </a:lnSpc>
              <a:spcBef>
                <a:spcPct val="0"/>
              </a:spcBef>
              <a:spcAft>
                <a:spcPts val="800"/>
              </a:spcAft>
              <a:buClr>
                <a:srgbClr val="808080"/>
              </a:buClr>
              <a:buFontTx/>
              <a:buNone/>
            </a:pPr>
            <a:r>
              <a:rPr lang="en-US" altLang="fr-FR" sz="1400" b="0" noProof="1">
                <a:solidFill>
                  <a:srgbClr val="262626"/>
                </a:solidFill>
                <a:latin typeface="EYInterstate Light"/>
              </a:rPr>
              <a:t>Un appel à candidature est lancé</a:t>
            </a:r>
          </a:p>
        </p:txBody>
      </p:sp>
      <p:sp>
        <p:nvSpPr>
          <p:cNvPr id="43" name="Ellipse 21">
            <a:extLst>
              <a:ext uri="{FF2B5EF4-FFF2-40B4-BE49-F238E27FC236}">
                <a16:creationId xmlns="" xmlns:a16="http://schemas.microsoft.com/office/drawing/2014/main" id="{0500B3C4-E09D-43A1-A603-6A8C8101EFEA}"/>
              </a:ext>
            </a:extLst>
          </p:cNvPr>
          <p:cNvSpPr/>
          <p:nvPr/>
        </p:nvSpPr>
        <p:spPr bwMode="gray">
          <a:xfrm>
            <a:off x="5857875" y="2063750"/>
            <a:ext cx="1193800" cy="1206500"/>
          </a:xfrm>
          <a:prstGeom prst="ellipse">
            <a:avLst/>
          </a:prstGeom>
          <a:solidFill>
            <a:schemeClr val="bg1"/>
          </a:solidFill>
          <a:ln>
            <a:noFill/>
            <a:headEnd/>
            <a:tailEnd/>
          </a:ln>
        </p:spPr>
        <p:style>
          <a:lnRef idx="2">
            <a:schemeClr val="dk1"/>
          </a:lnRef>
          <a:fillRef idx="1">
            <a:schemeClr val="lt1"/>
          </a:fillRef>
          <a:effectRef idx="0">
            <a:schemeClr val="dk1"/>
          </a:effectRef>
          <a:fontRef idx="minor">
            <a:schemeClr val="dk1"/>
          </a:fontRef>
        </p:style>
        <p:txBody>
          <a:bodyPr lIns="0" tIns="0" rIns="0" bIns="0" anchor="ctr"/>
          <a:lstStyle/>
          <a:p>
            <a:pPr indent="-190044" algn="ctr">
              <a:lnSpc>
                <a:spcPct val="95000"/>
              </a:lnSpc>
              <a:spcAft>
                <a:spcPts val="800"/>
              </a:spcAft>
              <a:buClr>
                <a:srgbClr val="808080"/>
              </a:buClr>
              <a:defRPr/>
            </a:pPr>
            <a:r>
              <a:rPr lang="en-US" sz="3600" b="1" noProof="1">
                <a:solidFill>
                  <a:srgbClr val="FFFFFF"/>
                </a:solidFill>
                <a:cs typeface="Arial" charset="0"/>
              </a:rPr>
              <a:t>5</a:t>
            </a:r>
          </a:p>
        </p:txBody>
      </p:sp>
      <p:cxnSp>
        <p:nvCxnSpPr>
          <p:cNvPr id="9232" name="Gerade Verbindung 169">
            <a:extLst>
              <a:ext uri="{FF2B5EF4-FFF2-40B4-BE49-F238E27FC236}">
                <a16:creationId xmlns="" xmlns:a16="http://schemas.microsoft.com/office/drawing/2014/main" id="{A7EF7A6E-0789-4BCE-BB22-2051ABCE81A1}"/>
              </a:ext>
            </a:extLst>
          </p:cNvPr>
          <p:cNvCxnSpPr>
            <a:cxnSpLocks noChangeShapeType="1"/>
          </p:cNvCxnSpPr>
          <p:nvPr/>
        </p:nvCxnSpPr>
        <p:spPr bwMode="gray">
          <a:xfrm flipV="1">
            <a:off x="6465888" y="3240088"/>
            <a:ext cx="0" cy="444500"/>
          </a:xfrm>
          <a:prstGeom prst="line">
            <a:avLst/>
          </a:prstGeom>
          <a:noFill/>
          <a:ln w="19050">
            <a:solidFill>
              <a:schemeClr val="bg1"/>
            </a:solidFill>
            <a:prstDash val="sysDot"/>
            <a:round/>
            <a:headEnd/>
            <a:tailEnd/>
          </a:ln>
          <a:extLst>
            <a:ext uri="{909E8E84-426E-40DD-AFC4-6F175D3DCCD1}">
              <a14:hiddenFill xmlns:a14="http://schemas.microsoft.com/office/drawing/2010/main">
                <a:noFill/>
              </a14:hiddenFill>
            </a:ext>
          </a:extLst>
        </p:spPr>
      </p:cxnSp>
      <p:sp>
        <p:nvSpPr>
          <p:cNvPr id="9233" name="Rechteck 177">
            <a:extLst>
              <a:ext uri="{FF2B5EF4-FFF2-40B4-BE49-F238E27FC236}">
                <a16:creationId xmlns="" xmlns:a16="http://schemas.microsoft.com/office/drawing/2014/main" id="{A4335DAF-D426-490D-A0E3-DAB79B6B7262}"/>
              </a:ext>
            </a:extLst>
          </p:cNvPr>
          <p:cNvSpPr>
            <a:spLocks noChangeArrowheads="1"/>
          </p:cNvSpPr>
          <p:nvPr/>
        </p:nvSpPr>
        <p:spPr bwMode="gray">
          <a:xfrm>
            <a:off x="4881563" y="4022725"/>
            <a:ext cx="1584325" cy="172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5928" tIns="35928" rIns="35928" bIns="35928"/>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lnSpc>
                <a:spcPct val="95000"/>
              </a:lnSpc>
              <a:spcBef>
                <a:spcPct val="0"/>
              </a:spcBef>
              <a:spcAft>
                <a:spcPts val="800"/>
              </a:spcAft>
              <a:buClr>
                <a:srgbClr val="808080"/>
              </a:buClr>
              <a:buFontTx/>
              <a:buNone/>
            </a:pPr>
            <a:r>
              <a:rPr lang="fr-FR" altLang="fr-FR" sz="1400" dirty="0">
                <a:solidFill>
                  <a:srgbClr val="262626"/>
                </a:solidFill>
                <a:latin typeface="EYInterstate Light"/>
              </a:rPr>
              <a:t>10 novembre 2015</a:t>
            </a:r>
          </a:p>
          <a:p>
            <a:pPr eaLnBrk="1" hangingPunct="1">
              <a:lnSpc>
                <a:spcPct val="95000"/>
              </a:lnSpc>
              <a:spcBef>
                <a:spcPct val="0"/>
              </a:spcBef>
              <a:spcAft>
                <a:spcPts val="800"/>
              </a:spcAft>
              <a:buClr>
                <a:srgbClr val="808080"/>
              </a:buClr>
              <a:buFontTx/>
              <a:buNone/>
            </a:pPr>
            <a:r>
              <a:rPr lang="fr-FR" altLang="fr-FR" sz="1400" b="0" noProof="1">
                <a:solidFill>
                  <a:srgbClr val="262626"/>
                </a:solidFill>
                <a:latin typeface="EYInterstate Light"/>
              </a:rPr>
              <a:t>Lancement de la démarche « Une réponse accompagnée pour tous »</a:t>
            </a:r>
          </a:p>
        </p:txBody>
      </p:sp>
      <p:grpSp>
        <p:nvGrpSpPr>
          <p:cNvPr id="9234" name="Groupe 45">
            <a:extLst>
              <a:ext uri="{FF2B5EF4-FFF2-40B4-BE49-F238E27FC236}">
                <a16:creationId xmlns="" xmlns:a16="http://schemas.microsoft.com/office/drawing/2014/main" id="{DB886EDC-59E5-4595-8749-D6DE18EC331A}"/>
              </a:ext>
            </a:extLst>
          </p:cNvPr>
          <p:cNvGrpSpPr>
            <a:grpSpLocks/>
          </p:cNvGrpSpPr>
          <p:nvPr/>
        </p:nvGrpSpPr>
        <p:grpSpPr bwMode="auto">
          <a:xfrm>
            <a:off x="804863" y="1458913"/>
            <a:ext cx="2016125" cy="2249487"/>
            <a:chOff x="827816" y="1370796"/>
            <a:chExt cx="2015992" cy="2248387"/>
          </a:xfrm>
        </p:grpSpPr>
        <p:sp>
          <p:nvSpPr>
            <p:cNvPr id="9243" name="Rechteck 177">
              <a:extLst>
                <a:ext uri="{FF2B5EF4-FFF2-40B4-BE49-F238E27FC236}">
                  <a16:creationId xmlns="" xmlns:a16="http://schemas.microsoft.com/office/drawing/2014/main" id="{6BCA0506-968C-42A3-9EB7-CD20C68CE821}"/>
                </a:ext>
              </a:extLst>
            </p:cNvPr>
            <p:cNvSpPr>
              <a:spLocks noChangeArrowheads="1"/>
            </p:cNvSpPr>
            <p:nvPr/>
          </p:nvSpPr>
          <p:spPr bwMode="gray">
            <a:xfrm>
              <a:off x="827816" y="1370796"/>
              <a:ext cx="2015992" cy="1458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6000" tIns="36000" rIns="36000" bIns="36000"/>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lnSpc>
                  <a:spcPct val="95000"/>
                </a:lnSpc>
                <a:spcBef>
                  <a:spcPct val="0"/>
                </a:spcBef>
                <a:spcAft>
                  <a:spcPts val="800"/>
                </a:spcAft>
                <a:buClr>
                  <a:srgbClr val="808080"/>
                </a:buClr>
                <a:buFontTx/>
                <a:buNone/>
              </a:pPr>
              <a:r>
                <a:rPr lang="fr-FR" altLang="fr-FR" sz="1400" dirty="0">
                  <a:solidFill>
                    <a:srgbClr val="262626"/>
                  </a:solidFill>
                  <a:latin typeface="EYInterstate Light"/>
                </a:rPr>
                <a:t>Décembre 2013</a:t>
              </a:r>
            </a:p>
            <a:p>
              <a:pPr eaLnBrk="1" hangingPunct="1">
                <a:lnSpc>
                  <a:spcPct val="95000"/>
                </a:lnSpc>
                <a:spcBef>
                  <a:spcPct val="0"/>
                </a:spcBef>
                <a:spcAft>
                  <a:spcPts val="800"/>
                </a:spcAft>
                <a:buClr>
                  <a:srgbClr val="808080"/>
                </a:buClr>
                <a:buFontTx/>
                <a:buNone/>
              </a:pPr>
              <a:r>
                <a:rPr lang="fr-FR" altLang="fr-FR" sz="1400" b="0" noProof="1">
                  <a:solidFill>
                    <a:srgbClr val="262626"/>
                  </a:solidFill>
                  <a:latin typeface="EYInterstate Light"/>
                </a:rPr>
                <a:t>Le gouvernement missionne Denis Piveteau pour améliorer les parcours des personnes en situation de handicap</a:t>
              </a:r>
              <a:endParaRPr lang="en-IN" altLang="fr-FR" sz="1200" b="0" dirty="0">
                <a:solidFill>
                  <a:srgbClr val="262626"/>
                </a:solidFill>
                <a:latin typeface="EYInterstate Light"/>
              </a:endParaRPr>
            </a:p>
          </p:txBody>
        </p:sp>
        <p:sp>
          <p:nvSpPr>
            <p:cNvPr id="9244" name="Rectangle 47">
              <a:extLst>
                <a:ext uri="{FF2B5EF4-FFF2-40B4-BE49-F238E27FC236}">
                  <a16:creationId xmlns="" xmlns:a16="http://schemas.microsoft.com/office/drawing/2014/main" id="{272189C2-74CA-47A6-AC6F-E9A2DF16BE43}"/>
                </a:ext>
              </a:extLst>
            </p:cNvPr>
            <p:cNvSpPr>
              <a:spLocks noChangeArrowheads="1"/>
            </p:cNvSpPr>
            <p:nvPr/>
          </p:nvSpPr>
          <p:spPr bwMode="auto">
            <a:xfrm>
              <a:off x="827816" y="2972852"/>
              <a:ext cx="201599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200" b="0">
                  <a:solidFill>
                    <a:srgbClr val="000000"/>
                  </a:solidFill>
                  <a:latin typeface="EYInterstate"/>
                </a:rPr>
                <a:t>10 juin 2014 - Le rapport « Zéro sans solution » est remis au gouvernement</a:t>
              </a:r>
            </a:p>
          </p:txBody>
        </p:sp>
      </p:grpSp>
      <p:sp>
        <p:nvSpPr>
          <p:cNvPr id="9235" name="Rectangle 48">
            <a:extLst>
              <a:ext uri="{FF2B5EF4-FFF2-40B4-BE49-F238E27FC236}">
                <a16:creationId xmlns="" xmlns:a16="http://schemas.microsoft.com/office/drawing/2014/main" id="{622F4A68-E612-421E-98DA-FC7811F7C4B1}"/>
              </a:ext>
            </a:extLst>
          </p:cNvPr>
          <p:cNvSpPr>
            <a:spLocks noChangeArrowheads="1"/>
          </p:cNvSpPr>
          <p:nvPr/>
        </p:nvSpPr>
        <p:spPr bwMode="auto">
          <a:xfrm>
            <a:off x="3694113" y="2220913"/>
            <a:ext cx="1871662"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24" tIns="45624" rIns="91224" bIns="45624">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200" b="0">
                <a:solidFill>
                  <a:srgbClr val="000000"/>
                </a:solidFill>
                <a:latin typeface="EYInterstate"/>
              </a:rPr>
              <a:t>Octobre 2015 - 23 sites pionniers retenus</a:t>
            </a:r>
          </a:p>
        </p:txBody>
      </p:sp>
      <p:cxnSp>
        <p:nvCxnSpPr>
          <p:cNvPr id="9236" name="Gerade Verbindung 169">
            <a:extLst>
              <a:ext uri="{FF2B5EF4-FFF2-40B4-BE49-F238E27FC236}">
                <a16:creationId xmlns="" xmlns:a16="http://schemas.microsoft.com/office/drawing/2014/main" id="{8CA2070A-E559-4F18-8FCA-871492CC3BB2}"/>
              </a:ext>
            </a:extLst>
          </p:cNvPr>
          <p:cNvCxnSpPr>
            <a:cxnSpLocks noChangeShapeType="1"/>
          </p:cNvCxnSpPr>
          <p:nvPr/>
        </p:nvCxnSpPr>
        <p:spPr bwMode="gray">
          <a:xfrm flipV="1">
            <a:off x="3276600" y="4221163"/>
            <a:ext cx="0" cy="436562"/>
          </a:xfrm>
          <a:prstGeom prst="line">
            <a:avLst/>
          </a:prstGeom>
          <a:noFill/>
          <a:ln w="19050">
            <a:solidFill>
              <a:schemeClr val="bg1"/>
            </a:solidFill>
            <a:prstDash val="sysDot"/>
            <a:round/>
            <a:headEnd/>
            <a:tailEnd/>
          </a:ln>
          <a:extLst>
            <a:ext uri="{909E8E84-426E-40DD-AFC4-6F175D3DCCD1}">
              <a14:hiddenFill xmlns:a14="http://schemas.microsoft.com/office/drawing/2010/main">
                <a:noFill/>
              </a14:hiddenFill>
            </a:ext>
          </a:extLst>
        </p:spPr>
      </p:cxnSp>
      <p:sp>
        <p:nvSpPr>
          <p:cNvPr id="53" name="Flèche courbée vers la droite 52">
            <a:extLst>
              <a:ext uri="{FF2B5EF4-FFF2-40B4-BE49-F238E27FC236}">
                <a16:creationId xmlns="" xmlns:a16="http://schemas.microsoft.com/office/drawing/2014/main" id="{84293824-F6FF-4500-8153-14D68537FE1A}"/>
              </a:ext>
            </a:extLst>
          </p:cNvPr>
          <p:cNvSpPr/>
          <p:nvPr/>
        </p:nvSpPr>
        <p:spPr>
          <a:xfrm>
            <a:off x="223838" y="2638425"/>
            <a:ext cx="504825" cy="877888"/>
          </a:xfrm>
          <a:prstGeom prst="curvedRightArrow">
            <a:avLst/>
          </a:prstGeom>
          <a:solidFill>
            <a:schemeClr val="accent2"/>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a:lstStyle/>
          <a:p>
            <a:pPr algn="ctr">
              <a:defRPr/>
            </a:pPr>
            <a:endParaRPr lang="fr-FR" sz="1200" dirty="0">
              <a:solidFill>
                <a:srgbClr val="000000"/>
              </a:solidFill>
            </a:endParaRPr>
          </a:p>
        </p:txBody>
      </p:sp>
      <p:sp>
        <p:nvSpPr>
          <p:cNvPr id="54" name="Flèche courbée vers la droite 53">
            <a:extLst>
              <a:ext uri="{FF2B5EF4-FFF2-40B4-BE49-F238E27FC236}">
                <a16:creationId xmlns="" xmlns:a16="http://schemas.microsoft.com/office/drawing/2014/main" id="{BA412EFA-6A74-4E65-B871-99269500DDB8}"/>
              </a:ext>
            </a:extLst>
          </p:cNvPr>
          <p:cNvSpPr/>
          <p:nvPr/>
        </p:nvSpPr>
        <p:spPr>
          <a:xfrm>
            <a:off x="3122613" y="1700213"/>
            <a:ext cx="504825" cy="785812"/>
          </a:xfrm>
          <a:prstGeom prst="curvedRightArrow">
            <a:avLst/>
          </a:prstGeom>
          <a:solidFill>
            <a:schemeClr val="accent2"/>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a:lstStyle/>
          <a:p>
            <a:pPr algn="ctr">
              <a:defRPr/>
            </a:pPr>
            <a:endParaRPr lang="fr-FR" sz="1200" dirty="0">
              <a:solidFill>
                <a:srgbClr val="000000"/>
              </a:solidFill>
            </a:endParaRPr>
          </a:p>
        </p:txBody>
      </p:sp>
      <p:sp>
        <p:nvSpPr>
          <p:cNvPr id="9239" name="Rechteck 177">
            <a:extLst>
              <a:ext uri="{FF2B5EF4-FFF2-40B4-BE49-F238E27FC236}">
                <a16:creationId xmlns="" xmlns:a16="http://schemas.microsoft.com/office/drawing/2014/main" id="{D178796A-FD8D-41A6-BD3E-4955920D1C49}"/>
              </a:ext>
            </a:extLst>
          </p:cNvPr>
          <p:cNvSpPr>
            <a:spLocks noChangeArrowheads="1"/>
          </p:cNvSpPr>
          <p:nvPr/>
        </p:nvSpPr>
        <p:spPr bwMode="gray">
          <a:xfrm>
            <a:off x="6732588" y="3890963"/>
            <a:ext cx="1547812" cy="2214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5928" tIns="35928" rIns="35928" bIns="35928"/>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lnSpc>
                <a:spcPct val="95000"/>
              </a:lnSpc>
              <a:spcBef>
                <a:spcPct val="0"/>
              </a:spcBef>
              <a:spcAft>
                <a:spcPts val="800"/>
              </a:spcAft>
              <a:buClr>
                <a:srgbClr val="808080"/>
              </a:buClr>
              <a:buFontTx/>
              <a:buNone/>
            </a:pPr>
            <a:r>
              <a:rPr lang="fr-FR" altLang="fr-FR" sz="1400">
                <a:solidFill>
                  <a:srgbClr val="262626"/>
                </a:solidFill>
                <a:latin typeface="EYInterstate Light"/>
              </a:rPr>
              <a:t>26 janvier 2016</a:t>
            </a:r>
          </a:p>
          <a:p>
            <a:pPr eaLnBrk="1" hangingPunct="1">
              <a:lnSpc>
                <a:spcPct val="95000"/>
              </a:lnSpc>
              <a:spcBef>
                <a:spcPct val="0"/>
              </a:spcBef>
              <a:spcAft>
                <a:spcPts val="800"/>
              </a:spcAft>
              <a:buClr>
                <a:srgbClr val="808080"/>
              </a:buClr>
              <a:buFontTx/>
              <a:buNone/>
            </a:pPr>
            <a:r>
              <a:rPr lang="fr-FR" altLang="fr-FR" sz="1400" b="0" noProof="1">
                <a:solidFill>
                  <a:srgbClr val="262626"/>
                </a:solidFill>
                <a:latin typeface="EYInterstate Light"/>
              </a:rPr>
              <a:t>Promulgation de la loi de modernisation de notre système de santé dont l’article 89 définie le dispositif d’orientation permanent</a:t>
            </a:r>
          </a:p>
        </p:txBody>
      </p:sp>
      <p:sp>
        <p:nvSpPr>
          <p:cNvPr id="4" name="Rectangle à coins arrondis 3">
            <a:extLst>
              <a:ext uri="{FF2B5EF4-FFF2-40B4-BE49-F238E27FC236}">
                <a16:creationId xmlns="" xmlns:a16="http://schemas.microsoft.com/office/drawing/2014/main" id="{41F41008-3A0C-4267-96E6-86ADE8390DF9}"/>
              </a:ext>
            </a:extLst>
          </p:cNvPr>
          <p:cNvSpPr/>
          <p:nvPr/>
        </p:nvSpPr>
        <p:spPr>
          <a:xfrm>
            <a:off x="7307263" y="2963863"/>
            <a:ext cx="1657350" cy="552450"/>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fr-FR"/>
          </a:p>
        </p:txBody>
      </p:sp>
      <p:sp>
        <p:nvSpPr>
          <p:cNvPr id="9241" name="ZoneTexte 2">
            <a:extLst>
              <a:ext uri="{FF2B5EF4-FFF2-40B4-BE49-F238E27FC236}">
                <a16:creationId xmlns="" xmlns:a16="http://schemas.microsoft.com/office/drawing/2014/main" id="{2C99239D-1575-4E0F-921F-85AEA174FFDF}"/>
              </a:ext>
            </a:extLst>
          </p:cNvPr>
          <p:cNvSpPr txBox="1">
            <a:spLocks noChangeArrowheads="1"/>
          </p:cNvSpPr>
          <p:nvPr/>
        </p:nvSpPr>
        <p:spPr bwMode="auto">
          <a:xfrm>
            <a:off x="7378700" y="2947988"/>
            <a:ext cx="15144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a:solidFill>
                  <a:schemeClr val="bg1"/>
                </a:solidFill>
                <a:latin typeface="Calibri" panose="020F0502020204030204" pitchFamily="34" charset="0"/>
              </a:rPr>
              <a:t>…… et jusqu’au </a:t>
            </a:r>
          </a:p>
          <a:p>
            <a:pPr eaLnBrk="1" hangingPunct="1">
              <a:spcBef>
                <a:spcPct val="0"/>
              </a:spcBef>
              <a:buFontTx/>
              <a:buNone/>
            </a:pPr>
            <a:r>
              <a:rPr lang="fr-FR" altLang="fr-FR">
                <a:solidFill>
                  <a:schemeClr val="bg1"/>
                </a:solidFill>
                <a:latin typeface="Calibri" panose="020F0502020204030204" pitchFamily="34" charset="0"/>
              </a:rPr>
              <a:t>1</a:t>
            </a:r>
            <a:r>
              <a:rPr lang="fr-FR" altLang="fr-FR" baseline="30000">
                <a:solidFill>
                  <a:schemeClr val="bg1"/>
                </a:solidFill>
                <a:latin typeface="Calibri" panose="020F0502020204030204" pitchFamily="34" charset="0"/>
              </a:rPr>
              <a:t>er</a:t>
            </a:r>
            <a:r>
              <a:rPr lang="fr-FR" altLang="fr-FR">
                <a:solidFill>
                  <a:schemeClr val="bg1"/>
                </a:solidFill>
                <a:latin typeface="Calibri" panose="020F0502020204030204" pitchFamily="34" charset="0"/>
              </a:rPr>
              <a:t> janvier 2018</a:t>
            </a:r>
          </a:p>
        </p:txBody>
      </p:sp>
      <p:sp>
        <p:nvSpPr>
          <p:cNvPr id="28" name="Flèche courbée vers la droite 27">
            <a:extLst>
              <a:ext uri="{FF2B5EF4-FFF2-40B4-BE49-F238E27FC236}">
                <a16:creationId xmlns="" xmlns:a16="http://schemas.microsoft.com/office/drawing/2014/main" id="{86979734-DC38-479A-8C37-62E5398AE751}"/>
              </a:ext>
            </a:extLst>
          </p:cNvPr>
          <p:cNvSpPr/>
          <p:nvPr/>
        </p:nvSpPr>
        <p:spPr>
          <a:xfrm rot="2603737" flipV="1">
            <a:off x="6480175" y="3109913"/>
            <a:ext cx="504825" cy="785812"/>
          </a:xfrm>
          <a:prstGeom prst="curvedRightArrow">
            <a:avLst/>
          </a:prstGeom>
          <a:solidFill>
            <a:schemeClr val="accent2"/>
          </a:solidFill>
          <a:ln w="952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224" tIns="45624" rIns="91224" bIns="45624"/>
          <a:lstStyle/>
          <a:p>
            <a:pPr algn="ctr">
              <a:defRPr/>
            </a:pPr>
            <a:endParaRPr lang="fr-FR" sz="1200" dirty="0">
              <a:solidFill>
                <a:srgbClr val="000000"/>
              </a:solidFill>
            </a:endParaRPr>
          </a:p>
        </p:txBody>
      </p:sp>
    </p:spTree>
  </p:cSld>
  <p:clrMapOvr>
    <a:masterClrMapping/>
  </p:clrMapOvr>
  <p:transition spd="slow">
    <p:cove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224"/>
                                        </p:tgtEl>
                                        <p:attrNameLst>
                                          <p:attrName>style.visibility</p:attrName>
                                        </p:attrNameLst>
                                      </p:cBhvr>
                                      <p:to>
                                        <p:strVal val="visible"/>
                                      </p:to>
                                    </p:set>
                                    <p:animEffect transition="in" filter="fade">
                                      <p:cBhvr>
                                        <p:cTn id="7" dur="1000"/>
                                        <p:tgtEl>
                                          <p:spTgt spid="9224"/>
                                        </p:tgtEl>
                                      </p:cBhvr>
                                    </p:animEffect>
                                    <p:anim calcmode="lin" valueType="num">
                                      <p:cBhvr>
                                        <p:cTn id="8" dur="1000" fill="hold"/>
                                        <p:tgtEl>
                                          <p:spTgt spid="9224"/>
                                        </p:tgtEl>
                                        <p:attrNameLst>
                                          <p:attrName>ppt_x</p:attrName>
                                        </p:attrNameLst>
                                      </p:cBhvr>
                                      <p:tavLst>
                                        <p:tav tm="0">
                                          <p:val>
                                            <p:strVal val="#ppt_x"/>
                                          </p:val>
                                        </p:tav>
                                        <p:tav tm="100000">
                                          <p:val>
                                            <p:strVal val="#ppt_x"/>
                                          </p:val>
                                        </p:tav>
                                      </p:tavLst>
                                    </p:anim>
                                    <p:anim calcmode="lin" valueType="num">
                                      <p:cBhvr>
                                        <p:cTn id="9" dur="1000" fill="hold"/>
                                        <p:tgtEl>
                                          <p:spTgt spid="9224"/>
                                        </p:tgtEl>
                                        <p:attrNameLst>
                                          <p:attrName>ppt_y</p:attrName>
                                        </p:attrNameLst>
                                      </p:cBhvr>
                                      <p:tavLst>
                                        <p:tav tm="0">
                                          <p:val>
                                            <p:strVal val="#ppt_y+.1"/>
                                          </p:val>
                                        </p:tav>
                                        <p:tav tm="100000">
                                          <p:val>
                                            <p:strVal val="#ppt_y"/>
                                          </p:val>
                                        </p:tav>
                                      </p:tavLst>
                                    </p:anim>
                                  </p:childTnLst>
                                </p:cTn>
                              </p:par>
                            </p:childTnLst>
                          </p:cTn>
                        </p:par>
                      </p:childTnLst>
                    </p:cTn>
                  </p:par>
                  <p:par>
                    <p:cTn id="10" fill="hold" nodeType="clickPar">
                      <p:stCondLst>
                        <p:cond delay="indefinite"/>
                      </p:stCondLst>
                      <p:childTnLst>
                        <p:par>
                          <p:cTn id="11" fill="hold" nodeType="withGroup">
                            <p:stCondLst>
                              <p:cond delay="0"/>
                            </p:stCondLst>
                            <p:childTnLst>
                              <p:par>
                                <p:cTn id="12" presetID="42" presetClass="entr" presetSubtype="0" fill="hold" nodeType="clickEffect">
                                  <p:stCondLst>
                                    <p:cond delay="0"/>
                                  </p:stCondLst>
                                  <p:childTnLst>
                                    <p:set>
                                      <p:cBhvr>
                                        <p:cTn id="13" dur="1" fill="hold">
                                          <p:stCondLst>
                                            <p:cond delay="0"/>
                                          </p:stCondLst>
                                        </p:cTn>
                                        <p:tgtEl>
                                          <p:spTgt spid="9234"/>
                                        </p:tgtEl>
                                        <p:attrNameLst>
                                          <p:attrName>style.visibility</p:attrName>
                                        </p:attrNameLst>
                                      </p:cBhvr>
                                      <p:to>
                                        <p:strVal val="visible"/>
                                      </p:to>
                                    </p:set>
                                    <p:animEffect transition="in" filter="fade">
                                      <p:cBhvr>
                                        <p:cTn id="14" dur="1000"/>
                                        <p:tgtEl>
                                          <p:spTgt spid="9234"/>
                                        </p:tgtEl>
                                      </p:cBhvr>
                                    </p:animEffect>
                                    <p:anim calcmode="lin" valueType="num">
                                      <p:cBhvr>
                                        <p:cTn id="15" dur="1000" fill="hold"/>
                                        <p:tgtEl>
                                          <p:spTgt spid="9234"/>
                                        </p:tgtEl>
                                        <p:attrNameLst>
                                          <p:attrName>ppt_x</p:attrName>
                                        </p:attrNameLst>
                                      </p:cBhvr>
                                      <p:tavLst>
                                        <p:tav tm="0">
                                          <p:val>
                                            <p:strVal val="#ppt_x"/>
                                          </p:val>
                                        </p:tav>
                                        <p:tav tm="100000">
                                          <p:val>
                                            <p:strVal val="#ppt_x"/>
                                          </p:val>
                                        </p:tav>
                                      </p:tavLst>
                                    </p:anim>
                                    <p:anim calcmode="lin" valueType="num">
                                      <p:cBhvr>
                                        <p:cTn id="16" dur="1000" fill="hold"/>
                                        <p:tgtEl>
                                          <p:spTgt spid="9234"/>
                                        </p:tgtEl>
                                        <p:attrNameLst>
                                          <p:attrName>ppt_y</p:attrName>
                                        </p:attrNameLst>
                                      </p:cBhvr>
                                      <p:tavLst>
                                        <p:tav tm="0">
                                          <p:val>
                                            <p:strVal val="#ppt_y+.1"/>
                                          </p:val>
                                        </p:tav>
                                        <p:tav tm="100000">
                                          <p:val>
                                            <p:strVal val="#ppt_y"/>
                                          </p:val>
                                        </p:tav>
                                      </p:tavLst>
                                    </p:anim>
                                  </p:childTnLst>
                                </p:cTn>
                              </p:par>
                            </p:childTnLst>
                          </p:cTn>
                        </p:par>
                      </p:childTnLst>
                    </p:cTn>
                  </p:par>
                  <p:par>
                    <p:cTn id="17" fill="hold" nodeType="clickPar">
                      <p:stCondLst>
                        <p:cond delay="indefinite"/>
                      </p:stCondLst>
                      <p:childTnLst>
                        <p:par>
                          <p:cTn id="18" fill="hold" nodeType="withGroup">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9229"/>
                                        </p:tgtEl>
                                        <p:attrNameLst>
                                          <p:attrName>style.visibility</p:attrName>
                                        </p:attrNameLst>
                                      </p:cBhvr>
                                      <p:to>
                                        <p:strVal val="visible"/>
                                      </p:to>
                                    </p:set>
                                    <p:animEffect transition="in" filter="fade">
                                      <p:cBhvr>
                                        <p:cTn id="21" dur="1000"/>
                                        <p:tgtEl>
                                          <p:spTgt spid="9229"/>
                                        </p:tgtEl>
                                      </p:cBhvr>
                                    </p:animEffect>
                                    <p:anim calcmode="lin" valueType="num">
                                      <p:cBhvr>
                                        <p:cTn id="22" dur="1000" fill="hold"/>
                                        <p:tgtEl>
                                          <p:spTgt spid="9229"/>
                                        </p:tgtEl>
                                        <p:attrNameLst>
                                          <p:attrName>ppt_x</p:attrName>
                                        </p:attrNameLst>
                                      </p:cBhvr>
                                      <p:tavLst>
                                        <p:tav tm="0">
                                          <p:val>
                                            <p:strVal val="#ppt_x"/>
                                          </p:val>
                                        </p:tav>
                                        <p:tav tm="100000">
                                          <p:val>
                                            <p:strVal val="#ppt_x"/>
                                          </p:val>
                                        </p:tav>
                                      </p:tavLst>
                                    </p:anim>
                                    <p:anim calcmode="lin" valueType="num">
                                      <p:cBhvr>
                                        <p:cTn id="23" dur="1000" fill="hold"/>
                                        <p:tgtEl>
                                          <p:spTgt spid="9229"/>
                                        </p:tgtEl>
                                        <p:attrNameLst>
                                          <p:attrName>ppt_y</p:attrName>
                                        </p:attrNameLst>
                                      </p:cBhvr>
                                      <p:tavLst>
                                        <p:tav tm="0">
                                          <p:val>
                                            <p:strVal val="#ppt_y+.1"/>
                                          </p:val>
                                        </p:tav>
                                        <p:tav tm="100000">
                                          <p:val>
                                            <p:strVal val="#ppt_y"/>
                                          </p:val>
                                        </p:tav>
                                      </p:tavLst>
                                    </p:anim>
                                  </p:childTnLst>
                                </p:cTn>
                              </p:par>
                            </p:childTnLst>
                          </p:cTn>
                        </p:par>
                      </p:childTnLst>
                    </p:cTn>
                  </p:par>
                  <p:par>
                    <p:cTn id="24" fill="hold" nodeType="clickPar">
                      <p:stCondLst>
                        <p:cond delay="indefinite"/>
                      </p:stCondLst>
                      <p:childTnLst>
                        <p:par>
                          <p:cTn id="25" fill="hold" nodeType="withGroup">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9230"/>
                                        </p:tgtEl>
                                        <p:attrNameLst>
                                          <p:attrName>style.visibility</p:attrName>
                                        </p:attrNameLst>
                                      </p:cBhvr>
                                      <p:to>
                                        <p:strVal val="visible"/>
                                      </p:to>
                                    </p:set>
                                    <p:animEffect transition="in" filter="fade">
                                      <p:cBhvr>
                                        <p:cTn id="28" dur="1000"/>
                                        <p:tgtEl>
                                          <p:spTgt spid="9230"/>
                                        </p:tgtEl>
                                      </p:cBhvr>
                                    </p:animEffect>
                                    <p:anim calcmode="lin" valueType="num">
                                      <p:cBhvr>
                                        <p:cTn id="29" dur="1000" fill="hold"/>
                                        <p:tgtEl>
                                          <p:spTgt spid="9230"/>
                                        </p:tgtEl>
                                        <p:attrNameLst>
                                          <p:attrName>ppt_x</p:attrName>
                                        </p:attrNameLst>
                                      </p:cBhvr>
                                      <p:tavLst>
                                        <p:tav tm="0">
                                          <p:val>
                                            <p:strVal val="#ppt_x"/>
                                          </p:val>
                                        </p:tav>
                                        <p:tav tm="100000">
                                          <p:val>
                                            <p:strVal val="#ppt_x"/>
                                          </p:val>
                                        </p:tav>
                                      </p:tavLst>
                                    </p:anim>
                                    <p:anim calcmode="lin" valueType="num">
                                      <p:cBhvr>
                                        <p:cTn id="30" dur="1000" fill="hold"/>
                                        <p:tgtEl>
                                          <p:spTgt spid="9230"/>
                                        </p:tgtEl>
                                        <p:attrNameLst>
                                          <p:attrName>ppt_y</p:attrName>
                                        </p:attrNameLst>
                                      </p:cBhvr>
                                      <p:tavLst>
                                        <p:tav tm="0">
                                          <p:val>
                                            <p:strVal val="#ppt_y+.1"/>
                                          </p:val>
                                        </p:tav>
                                        <p:tav tm="100000">
                                          <p:val>
                                            <p:strVal val="#ppt_y"/>
                                          </p:val>
                                        </p:tav>
                                      </p:tavLst>
                                    </p:anim>
                                  </p:childTnLst>
                                </p:cTn>
                              </p:par>
                            </p:childTnLst>
                          </p:cTn>
                        </p:par>
                      </p:childTnLst>
                    </p:cTn>
                  </p:par>
                  <p:par>
                    <p:cTn id="31" fill="hold" nodeType="clickPar">
                      <p:stCondLst>
                        <p:cond delay="indefinite"/>
                      </p:stCondLst>
                      <p:childTnLst>
                        <p:par>
                          <p:cTn id="32" fill="hold" nodeType="withGroup">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9235"/>
                                        </p:tgtEl>
                                        <p:attrNameLst>
                                          <p:attrName>style.visibility</p:attrName>
                                        </p:attrNameLst>
                                      </p:cBhvr>
                                      <p:to>
                                        <p:strVal val="visible"/>
                                      </p:to>
                                    </p:set>
                                    <p:animEffect transition="in" filter="fade">
                                      <p:cBhvr>
                                        <p:cTn id="35" dur="1000"/>
                                        <p:tgtEl>
                                          <p:spTgt spid="9235"/>
                                        </p:tgtEl>
                                      </p:cBhvr>
                                    </p:animEffect>
                                    <p:anim calcmode="lin" valueType="num">
                                      <p:cBhvr>
                                        <p:cTn id="36" dur="1000" fill="hold"/>
                                        <p:tgtEl>
                                          <p:spTgt spid="9235"/>
                                        </p:tgtEl>
                                        <p:attrNameLst>
                                          <p:attrName>ppt_x</p:attrName>
                                        </p:attrNameLst>
                                      </p:cBhvr>
                                      <p:tavLst>
                                        <p:tav tm="0">
                                          <p:val>
                                            <p:strVal val="#ppt_x"/>
                                          </p:val>
                                        </p:tav>
                                        <p:tav tm="100000">
                                          <p:val>
                                            <p:strVal val="#ppt_x"/>
                                          </p:val>
                                        </p:tav>
                                      </p:tavLst>
                                    </p:anim>
                                    <p:anim calcmode="lin" valueType="num">
                                      <p:cBhvr>
                                        <p:cTn id="37" dur="1000" fill="hold"/>
                                        <p:tgtEl>
                                          <p:spTgt spid="9235"/>
                                        </p:tgtEl>
                                        <p:attrNameLst>
                                          <p:attrName>ppt_y</p:attrName>
                                        </p:attrNameLst>
                                      </p:cBhvr>
                                      <p:tavLst>
                                        <p:tav tm="0">
                                          <p:val>
                                            <p:strVal val="#ppt_y+.1"/>
                                          </p:val>
                                        </p:tav>
                                        <p:tav tm="100000">
                                          <p:val>
                                            <p:strVal val="#ppt_y"/>
                                          </p:val>
                                        </p:tav>
                                      </p:tavLst>
                                    </p:anim>
                                  </p:childTnLst>
                                </p:cTn>
                              </p:par>
                            </p:childTnLst>
                          </p:cTn>
                        </p:par>
                      </p:childTnLst>
                    </p:cTn>
                  </p:par>
                  <p:par>
                    <p:cTn id="38" fill="hold" nodeType="clickPar">
                      <p:stCondLst>
                        <p:cond delay="indefinite"/>
                      </p:stCondLst>
                      <p:childTnLst>
                        <p:par>
                          <p:cTn id="39" fill="hold" nodeType="withGroup">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9233"/>
                                        </p:tgtEl>
                                        <p:attrNameLst>
                                          <p:attrName>style.visibility</p:attrName>
                                        </p:attrNameLst>
                                      </p:cBhvr>
                                      <p:to>
                                        <p:strVal val="visible"/>
                                      </p:to>
                                    </p:set>
                                    <p:animEffect transition="in" filter="fade">
                                      <p:cBhvr>
                                        <p:cTn id="42" dur="1000"/>
                                        <p:tgtEl>
                                          <p:spTgt spid="9233"/>
                                        </p:tgtEl>
                                      </p:cBhvr>
                                    </p:animEffect>
                                    <p:anim calcmode="lin" valueType="num">
                                      <p:cBhvr>
                                        <p:cTn id="43" dur="1000" fill="hold"/>
                                        <p:tgtEl>
                                          <p:spTgt spid="9233"/>
                                        </p:tgtEl>
                                        <p:attrNameLst>
                                          <p:attrName>ppt_x</p:attrName>
                                        </p:attrNameLst>
                                      </p:cBhvr>
                                      <p:tavLst>
                                        <p:tav tm="0">
                                          <p:val>
                                            <p:strVal val="#ppt_x"/>
                                          </p:val>
                                        </p:tav>
                                        <p:tav tm="100000">
                                          <p:val>
                                            <p:strVal val="#ppt_x"/>
                                          </p:val>
                                        </p:tav>
                                      </p:tavLst>
                                    </p:anim>
                                    <p:anim calcmode="lin" valueType="num">
                                      <p:cBhvr>
                                        <p:cTn id="44" dur="1000" fill="hold"/>
                                        <p:tgtEl>
                                          <p:spTgt spid="9233"/>
                                        </p:tgtEl>
                                        <p:attrNameLst>
                                          <p:attrName>ppt_y</p:attrName>
                                        </p:attrNameLst>
                                      </p:cBhvr>
                                      <p:tavLst>
                                        <p:tav tm="0">
                                          <p:val>
                                            <p:strVal val="#ppt_y+.1"/>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9239"/>
                                        </p:tgtEl>
                                        <p:attrNameLst>
                                          <p:attrName>style.visibility</p:attrName>
                                        </p:attrNameLst>
                                      </p:cBhvr>
                                      <p:to>
                                        <p:strVal val="visible"/>
                                      </p:to>
                                    </p:set>
                                    <p:animEffect transition="in" filter="fade">
                                      <p:cBhvr>
                                        <p:cTn id="49" dur="1000"/>
                                        <p:tgtEl>
                                          <p:spTgt spid="9239"/>
                                        </p:tgtEl>
                                      </p:cBhvr>
                                    </p:animEffect>
                                    <p:anim calcmode="lin" valueType="num">
                                      <p:cBhvr>
                                        <p:cTn id="50" dur="1000" fill="hold"/>
                                        <p:tgtEl>
                                          <p:spTgt spid="9239"/>
                                        </p:tgtEl>
                                        <p:attrNameLst>
                                          <p:attrName>ppt_x</p:attrName>
                                        </p:attrNameLst>
                                      </p:cBhvr>
                                      <p:tavLst>
                                        <p:tav tm="0">
                                          <p:val>
                                            <p:strVal val="#ppt_x"/>
                                          </p:val>
                                        </p:tav>
                                        <p:tav tm="100000">
                                          <p:val>
                                            <p:strVal val="#ppt_x"/>
                                          </p:val>
                                        </p:tav>
                                      </p:tavLst>
                                    </p:anim>
                                    <p:anim calcmode="lin" valueType="num">
                                      <p:cBhvr>
                                        <p:cTn id="51" dur="1000" fill="hold"/>
                                        <p:tgtEl>
                                          <p:spTgt spid="9239"/>
                                        </p:tgtEl>
                                        <p:attrNameLst>
                                          <p:attrName>ppt_y</p:attrName>
                                        </p:attrNameLst>
                                      </p:cBhvr>
                                      <p:tavLst>
                                        <p:tav tm="0">
                                          <p:val>
                                            <p:strVal val="#ppt_y+.1"/>
                                          </p:val>
                                        </p:tav>
                                        <p:tav tm="100000">
                                          <p:val>
                                            <p:strVal val="#ppt_y"/>
                                          </p:val>
                                        </p:tav>
                                      </p:tavLst>
                                    </p:anim>
                                  </p:childTnLst>
                                </p:cTn>
                              </p:par>
                            </p:childTnLst>
                          </p:cTn>
                        </p:par>
                      </p:childTnLst>
                    </p:cTn>
                  </p:par>
                  <p:par>
                    <p:cTn id="52" fill="hold" nodeType="clickPar">
                      <p:stCondLst>
                        <p:cond delay="indefinite"/>
                      </p:stCondLst>
                      <p:childTnLst>
                        <p:par>
                          <p:cTn id="53" fill="hold" nodeType="withGroup">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9241"/>
                                        </p:tgtEl>
                                        <p:attrNameLst>
                                          <p:attrName>style.visibility</p:attrName>
                                        </p:attrNameLst>
                                      </p:cBhvr>
                                      <p:to>
                                        <p:strVal val="visible"/>
                                      </p:to>
                                    </p:set>
                                    <p:animEffect transition="in" filter="fade">
                                      <p:cBhvr>
                                        <p:cTn id="56" dur="1000"/>
                                        <p:tgtEl>
                                          <p:spTgt spid="9241"/>
                                        </p:tgtEl>
                                      </p:cBhvr>
                                    </p:animEffect>
                                    <p:anim calcmode="lin" valueType="num">
                                      <p:cBhvr>
                                        <p:cTn id="57" dur="1000" fill="hold"/>
                                        <p:tgtEl>
                                          <p:spTgt spid="9241"/>
                                        </p:tgtEl>
                                        <p:attrNameLst>
                                          <p:attrName>ppt_x</p:attrName>
                                        </p:attrNameLst>
                                      </p:cBhvr>
                                      <p:tavLst>
                                        <p:tav tm="0">
                                          <p:val>
                                            <p:strVal val="#ppt_x"/>
                                          </p:val>
                                        </p:tav>
                                        <p:tav tm="100000">
                                          <p:val>
                                            <p:strVal val="#ppt_x"/>
                                          </p:val>
                                        </p:tav>
                                      </p:tavLst>
                                    </p:anim>
                                    <p:anim calcmode="lin" valueType="num">
                                      <p:cBhvr>
                                        <p:cTn id="58" dur="1000" fill="hold"/>
                                        <p:tgtEl>
                                          <p:spTgt spid="924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24" grpId="0"/>
      <p:bldP spid="9229" grpId="0"/>
      <p:bldP spid="9230" grpId="0"/>
      <p:bldP spid="9233" grpId="0"/>
      <p:bldP spid="9235" grpId="0"/>
      <p:bldP spid="9239" grpId="0"/>
      <p:bldP spid="924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Rectangle à coins arrondis 135">
            <a:extLst>
              <a:ext uri="{FF2B5EF4-FFF2-40B4-BE49-F238E27FC236}">
                <a16:creationId xmlns="" xmlns:a16="http://schemas.microsoft.com/office/drawing/2014/main" id="{EBC740B6-C540-4C64-81DF-BF728BD8B49D}"/>
              </a:ext>
            </a:extLst>
          </p:cNvPr>
          <p:cNvSpPr/>
          <p:nvPr/>
        </p:nvSpPr>
        <p:spPr>
          <a:xfrm>
            <a:off x="141288" y="928688"/>
            <a:ext cx="1730375" cy="552450"/>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fr-FR"/>
          </a:p>
        </p:txBody>
      </p:sp>
      <p:sp>
        <p:nvSpPr>
          <p:cNvPr id="2" name="Title 1">
            <a:extLst>
              <a:ext uri="{FF2B5EF4-FFF2-40B4-BE49-F238E27FC236}">
                <a16:creationId xmlns="" xmlns:a16="http://schemas.microsoft.com/office/drawing/2014/main" id="{6CD12D96-6192-4CCF-A88A-CBCA6733B408}"/>
              </a:ext>
            </a:extLst>
          </p:cNvPr>
          <p:cNvSpPr>
            <a:spLocks noGrp="1"/>
          </p:cNvSpPr>
          <p:nvPr>
            <p:ph type="title"/>
          </p:nvPr>
        </p:nvSpPr>
        <p:spPr>
          <a:xfrm>
            <a:off x="782615" y="369797"/>
            <a:ext cx="6347713" cy="692573"/>
          </a:xfrm>
        </p:spPr>
        <p:txBody>
          <a:bodyPr lIns="0" tIns="0" rIns="0" bIns="0" anchor="t" anchorCtr="0"/>
          <a:lstStyle/>
          <a:p>
            <a:pPr algn="ctr" defTabSz="912602" eaLnBrk="1" fontAlgn="auto" hangingPunct="1">
              <a:spcAft>
                <a:spcPts val="0"/>
              </a:spcAft>
              <a:defRPr/>
            </a:pPr>
            <a:r>
              <a:rPr lang="fr-FR" sz="2200" dirty="0">
                <a:solidFill>
                  <a:srgbClr val="0070C0"/>
                </a:solidFill>
                <a:ea typeface="+mn-ea"/>
              </a:rPr>
              <a:t>23 départements pionniers repartis</a:t>
            </a:r>
            <a:br>
              <a:rPr lang="fr-FR" sz="2200" dirty="0">
                <a:solidFill>
                  <a:srgbClr val="0070C0"/>
                </a:solidFill>
                <a:ea typeface="+mn-ea"/>
              </a:rPr>
            </a:br>
            <a:r>
              <a:rPr lang="fr-FR" sz="2200" dirty="0">
                <a:solidFill>
                  <a:srgbClr val="0070C0"/>
                </a:solidFill>
                <a:ea typeface="+mn-ea"/>
              </a:rPr>
              <a:t>sur l’ensemble du territoire </a:t>
            </a:r>
          </a:p>
        </p:txBody>
      </p:sp>
      <p:sp>
        <p:nvSpPr>
          <p:cNvPr id="126" name="Chevron 125">
            <a:extLst>
              <a:ext uri="{FF2B5EF4-FFF2-40B4-BE49-F238E27FC236}">
                <a16:creationId xmlns="" xmlns:a16="http://schemas.microsoft.com/office/drawing/2014/main" id="{948A7CEC-3B9C-43CC-AB3E-063D77422481}"/>
              </a:ext>
            </a:extLst>
          </p:cNvPr>
          <p:cNvSpPr/>
          <p:nvPr/>
        </p:nvSpPr>
        <p:spPr>
          <a:xfrm>
            <a:off x="5300663" y="3384550"/>
            <a:ext cx="576262" cy="546100"/>
          </a:xfrm>
          <a:prstGeom prst="chevron">
            <a:avLst/>
          </a:prstGeom>
          <a:solidFill>
            <a:schemeClr val="tx2">
              <a:lumMod val="85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323" tIns="45668" rIns="91323" bIns="45668" anchor="ctr"/>
          <a:lstStyle/>
          <a:p>
            <a:pPr marL="171229" indent="-171229" algn="ctr" defTabSz="913204" fontAlgn="auto">
              <a:spcBef>
                <a:spcPts val="0"/>
              </a:spcBef>
              <a:spcAft>
                <a:spcPts val="0"/>
              </a:spcAft>
              <a:buClr>
                <a:srgbClr val="FFC000"/>
              </a:buClr>
              <a:buFont typeface="Wingdings" panose="05000000000000000000" pitchFamily="2" charset="2"/>
              <a:buChar char="Ø"/>
              <a:defRPr/>
            </a:pPr>
            <a:endParaRPr lang="fr-FR" sz="1400" dirty="0">
              <a:solidFill>
                <a:srgbClr val="000000"/>
              </a:solidFill>
            </a:endParaRPr>
          </a:p>
        </p:txBody>
      </p:sp>
      <p:sp>
        <p:nvSpPr>
          <p:cNvPr id="127" name="Rectangle 126">
            <a:extLst>
              <a:ext uri="{FF2B5EF4-FFF2-40B4-BE49-F238E27FC236}">
                <a16:creationId xmlns="" xmlns:a16="http://schemas.microsoft.com/office/drawing/2014/main" id="{BA9A1489-6084-4E50-AF74-02F754B87FA3}"/>
              </a:ext>
            </a:extLst>
          </p:cNvPr>
          <p:cNvSpPr/>
          <p:nvPr/>
        </p:nvSpPr>
        <p:spPr>
          <a:xfrm>
            <a:off x="5845175" y="1141413"/>
            <a:ext cx="2598738" cy="489585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323" tIns="45668" rIns="91323" bIns="45668" anchor="ctr"/>
          <a:lstStyle/>
          <a:p>
            <a:pPr marL="171229" indent="-171229" algn="just" defTabSz="913204" fontAlgn="auto">
              <a:lnSpc>
                <a:spcPct val="95000"/>
              </a:lnSpc>
              <a:spcBef>
                <a:spcPts val="0"/>
              </a:spcBef>
              <a:spcAft>
                <a:spcPts val="1200"/>
              </a:spcAft>
              <a:buSzPct val="70000"/>
              <a:buFont typeface="Arial" pitchFamily="34" charset="0"/>
              <a:buChar char="►"/>
              <a:defRPr/>
            </a:pPr>
            <a:r>
              <a:rPr lang="fr-FR" sz="1400" b="1" kern="0" dirty="0">
                <a:solidFill>
                  <a:srgbClr val="000000">
                    <a:lumMod val="85000"/>
                    <a:lumOff val="15000"/>
                  </a:srgbClr>
                </a:solidFill>
              </a:rPr>
              <a:t>La quasi-totalité des régions métropolitaines sont représentées.</a:t>
            </a:r>
          </a:p>
          <a:p>
            <a:pPr marL="171229" indent="-171229" algn="just" defTabSz="913204" fontAlgn="auto">
              <a:lnSpc>
                <a:spcPct val="95000"/>
              </a:lnSpc>
              <a:spcBef>
                <a:spcPts val="0"/>
              </a:spcBef>
              <a:spcAft>
                <a:spcPts val="1200"/>
              </a:spcAft>
              <a:buSzPct val="70000"/>
              <a:buFont typeface="Arial" pitchFamily="34" charset="0"/>
              <a:buChar char="►"/>
              <a:defRPr/>
            </a:pPr>
            <a:r>
              <a:rPr lang="fr-FR" sz="1400" b="1" kern="0" dirty="0">
                <a:solidFill>
                  <a:srgbClr val="000000">
                    <a:lumMod val="85000"/>
                    <a:lumOff val="15000"/>
                  </a:srgbClr>
                </a:solidFill>
              </a:rPr>
              <a:t>Sur le territoire métropolitain, seuls les régions de Corse et Centre-Val de Loire ne font pas parties de cette première vague 2015.</a:t>
            </a:r>
          </a:p>
          <a:p>
            <a:pPr marL="171229" indent="-171229" algn="just" defTabSz="913204" fontAlgn="auto">
              <a:lnSpc>
                <a:spcPct val="95000"/>
              </a:lnSpc>
              <a:spcBef>
                <a:spcPts val="0"/>
              </a:spcBef>
              <a:spcAft>
                <a:spcPts val="1200"/>
              </a:spcAft>
              <a:buSzPct val="70000"/>
              <a:buFont typeface="Arial" pitchFamily="34" charset="0"/>
              <a:buChar char="►"/>
              <a:defRPr/>
            </a:pPr>
            <a:r>
              <a:rPr lang="fr-FR" sz="1400" b="1" kern="0" dirty="0">
                <a:solidFill>
                  <a:srgbClr val="000000">
                    <a:lumMod val="85000"/>
                    <a:lumOff val="15000"/>
                  </a:srgbClr>
                </a:solidFill>
              </a:rPr>
              <a:t>Un territoire d’Outre mer participe également au déploiement.</a:t>
            </a:r>
          </a:p>
        </p:txBody>
      </p:sp>
      <p:sp>
        <p:nvSpPr>
          <p:cNvPr id="12294" name="ZoneTexte 166">
            <a:extLst>
              <a:ext uri="{FF2B5EF4-FFF2-40B4-BE49-F238E27FC236}">
                <a16:creationId xmlns="" xmlns:a16="http://schemas.microsoft.com/office/drawing/2014/main" id="{F8B51880-4C7A-4B1B-98E3-4B9F15BF0D29}"/>
              </a:ext>
            </a:extLst>
          </p:cNvPr>
          <p:cNvSpPr txBox="1">
            <a:spLocks noChangeArrowheads="1"/>
          </p:cNvSpPr>
          <p:nvPr/>
        </p:nvSpPr>
        <p:spPr bwMode="auto">
          <a:xfrm>
            <a:off x="804863" y="5292725"/>
            <a:ext cx="658812"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569" rIns="0" bIns="0">
            <a:spAutoFit/>
          </a:bodyPr>
          <a:lstStyle>
            <a:lvl1pPr defTabSz="912813"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defTabSz="912813"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defTabSz="912813"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defTabSz="912813"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defTabSz="912813"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defTabSz="912813"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defTabSz="912813"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defTabSz="912813"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defTabSz="912813"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eaLnBrk="1" hangingPunct="1">
              <a:lnSpc>
                <a:spcPct val="85000"/>
              </a:lnSpc>
              <a:spcBef>
                <a:spcPct val="0"/>
              </a:spcBef>
              <a:spcAft>
                <a:spcPts val="600"/>
              </a:spcAft>
              <a:buClr>
                <a:srgbClr val="FFE600"/>
              </a:buClr>
              <a:buSzPct val="70000"/>
              <a:buFontTx/>
              <a:buNone/>
            </a:pPr>
            <a:r>
              <a:rPr lang="fr-FR" altLang="fr-FR" sz="1200" b="0">
                <a:solidFill>
                  <a:srgbClr val="000000"/>
                </a:solidFill>
                <a:latin typeface="EYInterstate Light"/>
              </a:rPr>
              <a:t>Guyane</a:t>
            </a:r>
          </a:p>
        </p:txBody>
      </p:sp>
      <p:grpSp>
        <p:nvGrpSpPr>
          <p:cNvPr id="12295" name="Groupe 128">
            <a:extLst>
              <a:ext uri="{FF2B5EF4-FFF2-40B4-BE49-F238E27FC236}">
                <a16:creationId xmlns="" xmlns:a16="http://schemas.microsoft.com/office/drawing/2014/main" id="{BDDE1D6E-99E6-4BDA-8617-C9232247F3E3}"/>
              </a:ext>
            </a:extLst>
          </p:cNvPr>
          <p:cNvGrpSpPr>
            <a:grpSpLocks/>
          </p:cNvGrpSpPr>
          <p:nvPr/>
        </p:nvGrpSpPr>
        <p:grpSpPr bwMode="auto">
          <a:xfrm>
            <a:off x="728663" y="1168400"/>
            <a:ext cx="4630737" cy="4575175"/>
            <a:chOff x="764513" y="1197041"/>
            <a:chExt cx="4721863" cy="4879953"/>
          </a:xfrm>
        </p:grpSpPr>
        <p:grpSp>
          <p:nvGrpSpPr>
            <p:cNvPr id="5" name="Group 194">
              <a:extLst>
                <a:ext uri="{FF2B5EF4-FFF2-40B4-BE49-F238E27FC236}">
                  <a16:creationId xmlns="" xmlns:a16="http://schemas.microsoft.com/office/drawing/2014/main" id="{534A9930-2202-45E1-98BC-9E2F7EAFD85E}"/>
                </a:ext>
              </a:extLst>
            </p:cNvPr>
            <p:cNvGrpSpPr>
              <a:grpSpLocks noChangeAspect="1"/>
            </p:cNvGrpSpPr>
            <p:nvPr/>
          </p:nvGrpSpPr>
          <p:grpSpPr bwMode="auto">
            <a:xfrm>
              <a:off x="1719157" y="4203700"/>
              <a:ext cx="1948169" cy="1753884"/>
              <a:chOff x="2632" y="2669"/>
              <a:chExt cx="1262" cy="1132"/>
            </a:xfrm>
            <a:solidFill>
              <a:schemeClr val="bg1">
                <a:lumMod val="20000"/>
                <a:lumOff val="80000"/>
              </a:schemeClr>
            </a:solidFill>
          </p:grpSpPr>
          <p:grpSp>
            <p:nvGrpSpPr>
              <p:cNvPr id="111" name="Group 195">
                <a:extLst>
                  <a:ext uri="{FF2B5EF4-FFF2-40B4-BE49-F238E27FC236}">
                    <a16:creationId xmlns="" xmlns:a16="http://schemas.microsoft.com/office/drawing/2014/main" id="{34FBF6D5-3FAD-4FC9-9591-74C778910F38}"/>
                  </a:ext>
                </a:extLst>
              </p:cNvPr>
              <p:cNvGrpSpPr>
                <a:grpSpLocks noChangeAspect="1"/>
              </p:cNvGrpSpPr>
              <p:nvPr/>
            </p:nvGrpSpPr>
            <p:grpSpPr bwMode="auto">
              <a:xfrm>
                <a:off x="2632" y="2669"/>
                <a:ext cx="786" cy="1047"/>
                <a:chOff x="1304" y="2559"/>
                <a:chExt cx="1084" cy="1332"/>
              </a:xfrm>
              <a:grpFill/>
            </p:grpSpPr>
            <p:sp>
              <p:nvSpPr>
                <p:cNvPr id="121" name="Freeform 196">
                  <a:extLst>
                    <a:ext uri="{FF2B5EF4-FFF2-40B4-BE49-F238E27FC236}">
                      <a16:creationId xmlns="" xmlns:a16="http://schemas.microsoft.com/office/drawing/2014/main" id="{E0D85F61-8757-443B-B2DE-2947EF3E89EB}"/>
                    </a:ext>
                  </a:extLst>
                </p:cNvPr>
                <p:cNvSpPr>
                  <a:spLocks noChangeAspect="1"/>
                </p:cNvSpPr>
                <p:nvPr/>
              </p:nvSpPr>
              <p:spPr bwMode="auto">
                <a:xfrm>
                  <a:off x="1386" y="3095"/>
                  <a:ext cx="555" cy="459"/>
                </a:xfrm>
                <a:custGeom>
                  <a:avLst/>
                  <a:gdLst>
                    <a:gd name="T0" fmla="*/ 542 w 555"/>
                    <a:gd name="T1" fmla="*/ 255 h 459"/>
                    <a:gd name="T2" fmla="*/ 533 w 555"/>
                    <a:gd name="T3" fmla="*/ 269 h 459"/>
                    <a:gd name="T4" fmla="*/ 514 w 555"/>
                    <a:gd name="T5" fmla="*/ 269 h 459"/>
                    <a:gd name="T6" fmla="*/ 496 w 555"/>
                    <a:gd name="T7" fmla="*/ 255 h 459"/>
                    <a:gd name="T8" fmla="*/ 478 w 555"/>
                    <a:gd name="T9" fmla="*/ 250 h 459"/>
                    <a:gd name="T10" fmla="*/ 469 w 555"/>
                    <a:gd name="T11" fmla="*/ 255 h 459"/>
                    <a:gd name="T12" fmla="*/ 455 w 555"/>
                    <a:gd name="T13" fmla="*/ 269 h 459"/>
                    <a:gd name="T14" fmla="*/ 455 w 555"/>
                    <a:gd name="T15" fmla="*/ 282 h 459"/>
                    <a:gd name="T16" fmla="*/ 451 w 555"/>
                    <a:gd name="T17" fmla="*/ 323 h 459"/>
                    <a:gd name="T18" fmla="*/ 432 w 555"/>
                    <a:gd name="T19" fmla="*/ 382 h 459"/>
                    <a:gd name="T20" fmla="*/ 428 w 555"/>
                    <a:gd name="T21" fmla="*/ 419 h 459"/>
                    <a:gd name="T22" fmla="*/ 432 w 555"/>
                    <a:gd name="T23" fmla="*/ 423 h 459"/>
                    <a:gd name="T24" fmla="*/ 419 w 555"/>
                    <a:gd name="T25" fmla="*/ 432 h 459"/>
                    <a:gd name="T26" fmla="*/ 391 w 555"/>
                    <a:gd name="T27" fmla="*/ 437 h 459"/>
                    <a:gd name="T28" fmla="*/ 346 w 555"/>
                    <a:gd name="T29" fmla="*/ 437 h 459"/>
                    <a:gd name="T30" fmla="*/ 291 w 555"/>
                    <a:gd name="T31" fmla="*/ 437 h 459"/>
                    <a:gd name="T32" fmla="*/ 246 w 555"/>
                    <a:gd name="T33" fmla="*/ 437 h 459"/>
                    <a:gd name="T34" fmla="*/ 214 w 555"/>
                    <a:gd name="T35" fmla="*/ 432 h 459"/>
                    <a:gd name="T36" fmla="*/ 186 w 555"/>
                    <a:gd name="T37" fmla="*/ 441 h 459"/>
                    <a:gd name="T38" fmla="*/ 168 w 555"/>
                    <a:gd name="T39" fmla="*/ 455 h 459"/>
                    <a:gd name="T40" fmla="*/ 141 w 555"/>
                    <a:gd name="T41" fmla="*/ 459 h 459"/>
                    <a:gd name="T42" fmla="*/ 118 w 555"/>
                    <a:gd name="T43" fmla="*/ 450 h 459"/>
                    <a:gd name="T44" fmla="*/ 109 w 555"/>
                    <a:gd name="T45" fmla="*/ 446 h 459"/>
                    <a:gd name="T46" fmla="*/ 54 w 555"/>
                    <a:gd name="T47" fmla="*/ 446 h 459"/>
                    <a:gd name="T48" fmla="*/ 27 w 555"/>
                    <a:gd name="T49" fmla="*/ 441 h 459"/>
                    <a:gd name="T50" fmla="*/ 0 w 555"/>
                    <a:gd name="T51" fmla="*/ 437 h 459"/>
                    <a:gd name="T52" fmla="*/ 27 w 555"/>
                    <a:gd name="T53" fmla="*/ 378 h 459"/>
                    <a:gd name="T54" fmla="*/ 45 w 555"/>
                    <a:gd name="T55" fmla="*/ 314 h 459"/>
                    <a:gd name="T56" fmla="*/ 50 w 555"/>
                    <a:gd name="T57" fmla="*/ 273 h 459"/>
                    <a:gd name="T58" fmla="*/ 54 w 555"/>
                    <a:gd name="T59" fmla="*/ 237 h 459"/>
                    <a:gd name="T60" fmla="*/ 63 w 555"/>
                    <a:gd name="T61" fmla="*/ 196 h 459"/>
                    <a:gd name="T62" fmla="*/ 72 w 555"/>
                    <a:gd name="T63" fmla="*/ 159 h 459"/>
                    <a:gd name="T64" fmla="*/ 95 w 555"/>
                    <a:gd name="T65" fmla="*/ 109 h 459"/>
                    <a:gd name="T66" fmla="*/ 104 w 555"/>
                    <a:gd name="T67" fmla="*/ 50 h 459"/>
                    <a:gd name="T68" fmla="*/ 109 w 555"/>
                    <a:gd name="T69" fmla="*/ 32 h 459"/>
                    <a:gd name="T70" fmla="*/ 109 w 555"/>
                    <a:gd name="T71" fmla="*/ 14 h 459"/>
                    <a:gd name="T72" fmla="*/ 132 w 555"/>
                    <a:gd name="T73" fmla="*/ 5 h 459"/>
                    <a:gd name="T74" fmla="*/ 154 w 555"/>
                    <a:gd name="T75" fmla="*/ 0 h 459"/>
                    <a:gd name="T76" fmla="*/ 182 w 555"/>
                    <a:gd name="T77" fmla="*/ 14 h 459"/>
                    <a:gd name="T78" fmla="*/ 205 w 555"/>
                    <a:gd name="T79" fmla="*/ 28 h 459"/>
                    <a:gd name="T80" fmla="*/ 227 w 555"/>
                    <a:gd name="T81" fmla="*/ 28 h 459"/>
                    <a:gd name="T82" fmla="*/ 273 w 555"/>
                    <a:gd name="T83" fmla="*/ 28 h 459"/>
                    <a:gd name="T84" fmla="*/ 328 w 555"/>
                    <a:gd name="T85" fmla="*/ 50 h 459"/>
                    <a:gd name="T86" fmla="*/ 369 w 555"/>
                    <a:gd name="T87" fmla="*/ 82 h 459"/>
                    <a:gd name="T88" fmla="*/ 396 w 555"/>
                    <a:gd name="T89" fmla="*/ 119 h 459"/>
                    <a:gd name="T90" fmla="*/ 432 w 555"/>
                    <a:gd name="T91" fmla="*/ 141 h 459"/>
                    <a:gd name="T92" fmla="*/ 446 w 555"/>
                    <a:gd name="T93" fmla="*/ 128 h 459"/>
                    <a:gd name="T94" fmla="*/ 455 w 555"/>
                    <a:gd name="T95" fmla="*/ 119 h 459"/>
                    <a:gd name="T96" fmla="*/ 469 w 555"/>
                    <a:gd name="T97" fmla="*/ 123 h 459"/>
                    <a:gd name="T98" fmla="*/ 478 w 555"/>
                    <a:gd name="T99" fmla="*/ 128 h 459"/>
                    <a:gd name="T100" fmla="*/ 482 w 555"/>
                    <a:gd name="T101" fmla="*/ 155 h 459"/>
                    <a:gd name="T102" fmla="*/ 496 w 555"/>
                    <a:gd name="T103" fmla="*/ 173 h 459"/>
                    <a:gd name="T104" fmla="*/ 533 w 555"/>
                    <a:gd name="T105" fmla="*/ 178 h 459"/>
                    <a:gd name="T106" fmla="*/ 555 w 555"/>
                    <a:gd name="T107" fmla="*/ 196 h 459"/>
                    <a:gd name="T108" fmla="*/ 551 w 555"/>
                    <a:gd name="T109" fmla="*/ 214 h 459"/>
                    <a:gd name="T110" fmla="*/ 542 w 555"/>
                    <a:gd name="T111" fmla="*/ 232 h 459"/>
                    <a:gd name="T112" fmla="*/ 542 w 555"/>
                    <a:gd name="T113" fmla="*/ 241 h 459"/>
                    <a:gd name="T114" fmla="*/ 546 w 555"/>
                    <a:gd name="T115" fmla="*/ 246 h 459"/>
                    <a:gd name="T116" fmla="*/ 546 w 555"/>
                    <a:gd name="T117" fmla="*/ 246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5" h="459">
                      <a:moveTo>
                        <a:pt x="546" y="246"/>
                      </a:moveTo>
                      <a:lnTo>
                        <a:pt x="542" y="255"/>
                      </a:lnTo>
                      <a:lnTo>
                        <a:pt x="537" y="264"/>
                      </a:lnTo>
                      <a:lnTo>
                        <a:pt x="533" y="269"/>
                      </a:lnTo>
                      <a:lnTo>
                        <a:pt x="523" y="273"/>
                      </a:lnTo>
                      <a:lnTo>
                        <a:pt x="514" y="269"/>
                      </a:lnTo>
                      <a:lnTo>
                        <a:pt x="505" y="259"/>
                      </a:lnTo>
                      <a:lnTo>
                        <a:pt x="496" y="255"/>
                      </a:lnTo>
                      <a:lnTo>
                        <a:pt x="487" y="250"/>
                      </a:lnTo>
                      <a:lnTo>
                        <a:pt x="478" y="250"/>
                      </a:lnTo>
                      <a:lnTo>
                        <a:pt x="473" y="255"/>
                      </a:lnTo>
                      <a:lnTo>
                        <a:pt x="469" y="255"/>
                      </a:lnTo>
                      <a:lnTo>
                        <a:pt x="464" y="259"/>
                      </a:lnTo>
                      <a:lnTo>
                        <a:pt x="455" y="269"/>
                      </a:lnTo>
                      <a:lnTo>
                        <a:pt x="455" y="273"/>
                      </a:lnTo>
                      <a:lnTo>
                        <a:pt x="455" y="282"/>
                      </a:lnTo>
                      <a:lnTo>
                        <a:pt x="455" y="291"/>
                      </a:lnTo>
                      <a:lnTo>
                        <a:pt x="451" y="323"/>
                      </a:lnTo>
                      <a:lnTo>
                        <a:pt x="441" y="355"/>
                      </a:lnTo>
                      <a:lnTo>
                        <a:pt x="432" y="382"/>
                      </a:lnTo>
                      <a:lnTo>
                        <a:pt x="428" y="414"/>
                      </a:lnTo>
                      <a:lnTo>
                        <a:pt x="428" y="419"/>
                      </a:lnTo>
                      <a:lnTo>
                        <a:pt x="432" y="423"/>
                      </a:lnTo>
                      <a:lnTo>
                        <a:pt x="432" y="423"/>
                      </a:lnTo>
                      <a:lnTo>
                        <a:pt x="432" y="428"/>
                      </a:lnTo>
                      <a:lnTo>
                        <a:pt x="419" y="432"/>
                      </a:lnTo>
                      <a:lnTo>
                        <a:pt x="405" y="437"/>
                      </a:lnTo>
                      <a:lnTo>
                        <a:pt x="391" y="437"/>
                      </a:lnTo>
                      <a:lnTo>
                        <a:pt x="373" y="437"/>
                      </a:lnTo>
                      <a:lnTo>
                        <a:pt x="346" y="437"/>
                      </a:lnTo>
                      <a:lnTo>
                        <a:pt x="318" y="437"/>
                      </a:lnTo>
                      <a:lnTo>
                        <a:pt x="291" y="437"/>
                      </a:lnTo>
                      <a:lnTo>
                        <a:pt x="264" y="437"/>
                      </a:lnTo>
                      <a:lnTo>
                        <a:pt x="246" y="437"/>
                      </a:lnTo>
                      <a:lnTo>
                        <a:pt x="232" y="432"/>
                      </a:lnTo>
                      <a:lnTo>
                        <a:pt x="214" y="432"/>
                      </a:lnTo>
                      <a:lnTo>
                        <a:pt x="195" y="437"/>
                      </a:lnTo>
                      <a:lnTo>
                        <a:pt x="186" y="441"/>
                      </a:lnTo>
                      <a:lnTo>
                        <a:pt x="177" y="450"/>
                      </a:lnTo>
                      <a:lnTo>
                        <a:pt x="168" y="455"/>
                      </a:lnTo>
                      <a:lnTo>
                        <a:pt x="154" y="459"/>
                      </a:lnTo>
                      <a:lnTo>
                        <a:pt x="141" y="459"/>
                      </a:lnTo>
                      <a:lnTo>
                        <a:pt x="132" y="455"/>
                      </a:lnTo>
                      <a:lnTo>
                        <a:pt x="118" y="450"/>
                      </a:lnTo>
                      <a:lnTo>
                        <a:pt x="109" y="446"/>
                      </a:lnTo>
                      <a:lnTo>
                        <a:pt x="109" y="446"/>
                      </a:lnTo>
                      <a:lnTo>
                        <a:pt x="54" y="446"/>
                      </a:lnTo>
                      <a:lnTo>
                        <a:pt x="54" y="446"/>
                      </a:lnTo>
                      <a:lnTo>
                        <a:pt x="41" y="441"/>
                      </a:lnTo>
                      <a:lnTo>
                        <a:pt x="27" y="441"/>
                      </a:lnTo>
                      <a:lnTo>
                        <a:pt x="13" y="437"/>
                      </a:lnTo>
                      <a:lnTo>
                        <a:pt x="0" y="437"/>
                      </a:lnTo>
                      <a:lnTo>
                        <a:pt x="13" y="409"/>
                      </a:lnTo>
                      <a:lnTo>
                        <a:pt x="27" y="378"/>
                      </a:lnTo>
                      <a:lnTo>
                        <a:pt x="36" y="346"/>
                      </a:lnTo>
                      <a:lnTo>
                        <a:pt x="45" y="314"/>
                      </a:lnTo>
                      <a:lnTo>
                        <a:pt x="45" y="296"/>
                      </a:lnTo>
                      <a:lnTo>
                        <a:pt x="50" y="273"/>
                      </a:lnTo>
                      <a:lnTo>
                        <a:pt x="50" y="255"/>
                      </a:lnTo>
                      <a:lnTo>
                        <a:pt x="54" y="237"/>
                      </a:lnTo>
                      <a:lnTo>
                        <a:pt x="59" y="214"/>
                      </a:lnTo>
                      <a:lnTo>
                        <a:pt x="63" y="196"/>
                      </a:lnTo>
                      <a:lnTo>
                        <a:pt x="68" y="178"/>
                      </a:lnTo>
                      <a:lnTo>
                        <a:pt x="72" y="159"/>
                      </a:lnTo>
                      <a:lnTo>
                        <a:pt x="82" y="137"/>
                      </a:lnTo>
                      <a:lnTo>
                        <a:pt x="95" y="109"/>
                      </a:lnTo>
                      <a:lnTo>
                        <a:pt x="100" y="82"/>
                      </a:lnTo>
                      <a:lnTo>
                        <a:pt x="104" y="50"/>
                      </a:lnTo>
                      <a:lnTo>
                        <a:pt x="104" y="41"/>
                      </a:lnTo>
                      <a:lnTo>
                        <a:pt x="109" y="32"/>
                      </a:lnTo>
                      <a:lnTo>
                        <a:pt x="109" y="23"/>
                      </a:lnTo>
                      <a:lnTo>
                        <a:pt x="109" y="14"/>
                      </a:lnTo>
                      <a:lnTo>
                        <a:pt x="118" y="9"/>
                      </a:lnTo>
                      <a:lnTo>
                        <a:pt x="132" y="5"/>
                      </a:lnTo>
                      <a:lnTo>
                        <a:pt x="141" y="0"/>
                      </a:lnTo>
                      <a:lnTo>
                        <a:pt x="154" y="0"/>
                      </a:lnTo>
                      <a:lnTo>
                        <a:pt x="168" y="5"/>
                      </a:lnTo>
                      <a:lnTo>
                        <a:pt x="182" y="14"/>
                      </a:lnTo>
                      <a:lnTo>
                        <a:pt x="191" y="23"/>
                      </a:lnTo>
                      <a:lnTo>
                        <a:pt x="205" y="28"/>
                      </a:lnTo>
                      <a:lnTo>
                        <a:pt x="218" y="28"/>
                      </a:lnTo>
                      <a:lnTo>
                        <a:pt x="227" y="28"/>
                      </a:lnTo>
                      <a:lnTo>
                        <a:pt x="241" y="28"/>
                      </a:lnTo>
                      <a:lnTo>
                        <a:pt x="273" y="28"/>
                      </a:lnTo>
                      <a:lnTo>
                        <a:pt x="300" y="37"/>
                      </a:lnTo>
                      <a:lnTo>
                        <a:pt x="328" y="50"/>
                      </a:lnTo>
                      <a:lnTo>
                        <a:pt x="350" y="64"/>
                      </a:lnTo>
                      <a:lnTo>
                        <a:pt x="369" y="82"/>
                      </a:lnTo>
                      <a:lnTo>
                        <a:pt x="382" y="100"/>
                      </a:lnTo>
                      <a:lnTo>
                        <a:pt x="396" y="119"/>
                      </a:lnTo>
                      <a:lnTo>
                        <a:pt x="410" y="137"/>
                      </a:lnTo>
                      <a:lnTo>
                        <a:pt x="432" y="141"/>
                      </a:lnTo>
                      <a:lnTo>
                        <a:pt x="441" y="137"/>
                      </a:lnTo>
                      <a:lnTo>
                        <a:pt x="446" y="128"/>
                      </a:lnTo>
                      <a:lnTo>
                        <a:pt x="451" y="123"/>
                      </a:lnTo>
                      <a:lnTo>
                        <a:pt x="455" y="119"/>
                      </a:lnTo>
                      <a:lnTo>
                        <a:pt x="460" y="119"/>
                      </a:lnTo>
                      <a:lnTo>
                        <a:pt x="469" y="123"/>
                      </a:lnTo>
                      <a:lnTo>
                        <a:pt x="473" y="123"/>
                      </a:lnTo>
                      <a:lnTo>
                        <a:pt x="478" y="128"/>
                      </a:lnTo>
                      <a:lnTo>
                        <a:pt x="478" y="141"/>
                      </a:lnTo>
                      <a:lnTo>
                        <a:pt x="482" y="155"/>
                      </a:lnTo>
                      <a:lnTo>
                        <a:pt x="492" y="169"/>
                      </a:lnTo>
                      <a:lnTo>
                        <a:pt x="496" y="173"/>
                      </a:lnTo>
                      <a:lnTo>
                        <a:pt x="514" y="178"/>
                      </a:lnTo>
                      <a:lnTo>
                        <a:pt x="533" y="178"/>
                      </a:lnTo>
                      <a:lnTo>
                        <a:pt x="551" y="182"/>
                      </a:lnTo>
                      <a:lnTo>
                        <a:pt x="555" y="196"/>
                      </a:lnTo>
                      <a:lnTo>
                        <a:pt x="555" y="205"/>
                      </a:lnTo>
                      <a:lnTo>
                        <a:pt x="551" y="214"/>
                      </a:lnTo>
                      <a:lnTo>
                        <a:pt x="542" y="223"/>
                      </a:lnTo>
                      <a:lnTo>
                        <a:pt x="542" y="232"/>
                      </a:lnTo>
                      <a:lnTo>
                        <a:pt x="542" y="237"/>
                      </a:lnTo>
                      <a:lnTo>
                        <a:pt x="542" y="241"/>
                      </a:lnTo>
                      <a:lnTo>
                        <a:pt x="542" y="246"/>
                      </a:lnTo>
                      <a:lnTo>
                        <a:pt x="546" y="246"/>
                      </a:lnTo>
                      <a:lnTo>
                        <a:pt x="546" y="246"/>
                      </a:lnTo>
                      <a:lnTo>
                        <a:pt x="546" y="246"/>
                      </a:lnTo>
                      <a:lnTo>
                        <a:pt x="546" y="246"/>
                      </a:lnTo>
                      <a:close/>
                    </a:path>
                  </a:pathLst>
                </a:custGeom>
                <a:solidFill>
                  <a:schemeClr val="accent2"/>
                </a:solid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122" name="Freeform 197">
                  <a:extLst>
                    <a:ext uri="{FF2B5EF4-FFF2-40B4-BE49-F238E27FC236}">
                      <a16:creationId xmlns="" xmlns:a16="http://schemas.microsoft.com/office/drawing/2014/main" id="{9631A5AB-0917-4849-9FCD-86578657EAAD}"/>
                    </a:ext>
                  </a:extLst>
                </p:cNvPr>
                <p:cNvSpPr>
                  <a:spLocks noChangeAspect="1"/>
                </p:cNvSpPr>
                <p:nvPr/>
              </p:nvSpPr>
              <p:spPr bwMode="auto">
                <a:xfrm>
                  <a:off x="1304" y="3518"/>
                  <a:ext cx="601" cy="373"/>
                </a:xfrm>
                <a:custGeom>
                  <a:avLst/>
                  <a:gdLst>
                    <a:gd name="T0" fmla="*/ 569 w 601"/>
                    <a:gd name="T1" fmla="*/ 9 h 373"/>
                    <a:gd name="T2" fmla="*/ 574 w 601"/>
                    <a:gd name="T3" fmla="*/ 36 h 373"/>
                    <a:gd name="T4" fmla="*/ 601 w 601"/>
                    <a:gd name="T5" fmla="*/ 96 h 373"/>
                    <a:gd name="T6" fmla="*/ 587 w 601"/>
                    <a:gd name="T7" fmla="*/ 127 h 373"/>
                    <a:gd name="T8" fmla="*/ 560 w 601"/>
                    <a:gd name="T9" fmla="*/ 173 h 373"/>
                    <a:gd name="T10" fmla="*/ 528 w 601"/>
                    <a:gd name="T11" fmla="*/ 241 h 373"/>
                    <a:gd name="T12" fmla="*/ 482 w 601"/>
                    <a:gd name="T13" fmla="*/ 336 h 373"/>
                    <a:gd name="T14" fmla="*/ 482 w 601"/>
                    <a:gd name="T15" fmla="*/ 350 h 373"/>
                    <a:gd name="T16" fmla="*/ 451 w 601"/>
                    <a:gd name="T17" fmla="*/ 364 h 373"/>
                    <a:gd name="T18" fmla="*/ 419 w 601"/>
                    <a:gd name="T19" fmla="*/ 368 h 373"/>
                    <a:gd name="T20" fmla="*/ 410 w 601"/>
                    <a:gd name="T21" fmla="*/ 355 h 373"/>
                    <a:gd name="T22" fmla="*/ 382 w 601"/>
                    <a:gd name="T23" fmla="*/ 336 h 373"/>
                    <a:gd name="T24" fmla="*/ 373 w 601"/>
                    <a:gd name="T25" fmla="*/ 318 h 373"/>
                    <a:gd name="T26" fmla="*/ 355 w 601"/>
                    <a:gd name="T27" fmla="*/ 291 h 373"/>
                    <a:gd name="T28" fmla="*/ 296 w 601"/>
                    <a:gd name="T29" fmla="*/ 286 h 373"/>
                    <a:gd name="T30" fmla="*/ 255 w 601"/>
                    <a:gd name="T31" fmla="*/ 264 h 373"/>
                    <a:gd name="T32" fmla="*/ 218 w 601"/>
                    <a:gd name="T33" fmla="*/ 246 h 373"/>
                    <a:gd name="T34" fmla="*/ 186 w 601"/>
                    <a:gd name="T35" fmla="*/ 236 h 373"/>
                    <a:gd name="T36" fmla="*/ 173 w 601"/>
                    <a:gd name="T37" fmla="*/ 200 h 373"/>
                    <a:gd name="T38" fmla="*/ 159 w 601"/>
                    <a:gd name="T39" fmla="*/ 200 h 373"/>
                    <a:gd name="T40" fmla="*/ 145 w 601"/>
                    <a:gd name="T41" fmla="*/ 241 h 373"/>
                    <a:gd name="T42" fmla="*/ 113 w 601"/>
                    <a:gd name="T43" fmla="*/ 236 h 373"/>
                    <a:gd name="T44" fmla="*/ 113 w 601"/>
                    <a:gd name="T45" fmla="*/ 200 h 373"/>
                    <a:gd name="T46" fmla="*/ 141 w 601"/>
                    <a:gd name="T47" fmla="*/ 164 h 373"/>
                    <a:gd name="T48" fmla="*/ 118 w 601"/>
                    <a:gd name="T49" fmla="*/ 136 h 373"/>
                    <a:gd name="T50" fmla="*/ 104 w 601"/>
                    <a:gd name="T51" fmla="*/ 127 h 373"/>
                    <a:gd name="T52" fmla="*/ 91 w 601"/>
                    <a:gd name="T53" fmla="*/ 127 h 373"/>
                    <a:gd name="T54" fmla="*/ 68 w 601"/>
                    <a:gd name="T55" fmla="*/ 146 h 373"/>
                    <a:gd name="T56" fmla="*/ 63 w 601"/>
                    <a:gd name="T57" fmla="*/ 123 h 373"/>
                    <a:gd name="T58" fmla="*/ 41 w 601"/>
                    <a:gd name="T59" fmla="*/ 123 h 373"/>
                    <a:gd name="T60" fmla="*/ 27 w 601"/>
                    <a:gd name="T61" fmla="*/ 123 h 373"/>
                    <a:gd name="T62" fmla="*/ 4 w 601"/>
                    <a:gd name="T63" fmla="*/ 82 h 373"/>
                    <a:gd name="T64" fmla="*/ 0 w 601"/>
                    <a:gd name="T65" fmla="*/ 82 h 373"/>
                    <a:gd name="T66" fmla="*/ 45 w 601"/>
                    <a:gd name="T67" fmla="*/ 59 h 373"/>
                    <a:gd name="T68" fmla="*/ 72 w 601"/>
                    <a:gd name="T69" fmla="*/ 32 h 373"/>
                    <a:gd name="T70" fmla="*/ 95 w 601"/>
                    <a:gd name="T71" fmla="*/ 14 h 373"/>
                    <a:gd name="T72" fmla="*/ 136 w 601"/>
                    <a:gd name="T73" fmla="*/ 23 h 373"/>
                    <a:gd name="T74" fmla="*/ 191 w 601"/>
                    <a:gd name="T75" fmla="*/ 23 h 373"/>
                    <a:gd name="T76" fmla="*/ 223 w 601"/>
                    <a:gd name="T77" fmla="*/ 36 h 373"/>
                    <a:gd name="T78" fmla="*/ 259 w 601"/>
                    <a:gd name="T79" fmla="*/ 27 h 373"/>
                    <a:gd name="T80" fmla="*/ 296 w 601"/>
                    <a:gd name="T81" fmla="*/ 9 h 373"/>
                    <a:gd name="T82" fmla="*/ 346 w 601"/>
                    <a:gd name="T83" fmla="*/ 14 h 373"/>
                    <a:gd name="T84" fmla="*/ 428 w 601"/>
                    <a:gd name="T85" fmla="*/ 14 h 373"/>
                    <a:gd name="T86" fmla="*/ 487 w 601"/>
                    <a:gd name="T87" fmla="*/ 14 h 373"/>
                    <a:gd name="T88" fmla="*/ 519 w 601"/>
                    <a:gd name="T89" fmla="*/ 9 h 373"/>
                    <a:gd name="T90" fmla="*/ 533 w 601"/>
                    <a:gd name="T91" fmla="*/ 9 h 373"/>
                    <a:gd name="T92" fmla="*/ 560 w 601"/>
                    <a:gd name="T93" fmla="*/ 0 h 373"/>
                    <a:gd name="T94" fmla="*/ 569 w 601"/>
                    <a:gd name="T95"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01" h="373">
                      <a:moveTo>
                        <a:pt x="569" y="0"/>
                      </a:moveTo>
                      <a:lnTo>
                        <a:pt x="569" y="9"/>
                      </a:lnTo>
                      <a:lnTo>
                        <a:pt x="569" y="9"/>
                      </a:lnTo>
                      <a:lnTo>
                        <a:pt x="569" y="14"/>
                      </a:lnTo>
                      <a:lnTo>
                        <a:pt x="569" y="14"/>
                      </a:lnTo>
                      <a:lnTo>
                        <a:pt x="574" y="36"/>
                      </a:lnTo>
                      <a:lnTo>
                        <a:pt x="587" y="55"/>
                      </a:lnTo>
                      <a:lnTo>
                        <a:pt x="596" y="73"/>
                      </a:lnTo>
                      <a:lnTo>
                        <a:pt x="601" y="96"/>
                      </a:lnTo>
                      <a:lnTo>
                        <a:pt x="601" y="109"/>
                      </a:lnTo>
                      <a:lnTo>
                        <a:pt x="592" y="123"/>
                      </a:lnTo>
                      <a:lnTo>
                        <a:pt x="587" y="127"/>
                      </a:lnTo>
                      <a:lnTo>
                        <a:pt x="578" y="136"/>
                      </a:lnTo>
                      <a:lnTo>
                        <a:pt x="564" y="155"/>
                      </a:lnTo>
                      <a:lnTo>
                        <a:pt x="560" y="173"/>
                      </a:lnTo>
                      <a:lnTo>
                        <a:pt x="555" y="196"/>
                      </a:lnTo>
                      <a:lnTo>
                        <a:pt x="546" y="214"/>
                      </a:lnTo>
                      <a:lnTo>
                        <a:pt x="528" y="241"/>
                      </a:lnTo>
                      <a:lnTo>
                        <a:pt x="505" y="268"/>
                      </a:lnTo>
                      <a:lnTo>
                        <a:pt x="487" y="300"/>
                      </a:lnTo>
                      <a:lnTo>
                        <a:pt x="482" y="336"/>
                      </a:lnTo>
                      <a:lnTo>
                        <a:pt x="482" y="341"/>
                      </a:lnTo>
                      <a:lnTo>
                        <a:pt x="482" y="346"/>
                      </a:lnTo>
                      <a:lnTo>
                        <a:pt x="482" y="350"/>
                      </a:lnTo>
                      <a:lnTo>
                        <a:pt x="482" y="350"/>
                      </a:lnTo>
                      <a:lnTo>
                        <a:pt x="464" y="355"/>
                      </a:lnTo>
                      <a:lnTo>
                        <a:pt x="451" y="364"/>
                      </a:lnTo>
                      <a:lnTo>
                        <a:pt x="437" y="368"/>
                      </a:lnTo>
                      <a:lnTo>
                        <a:pt x="423" y="373"/>
                      </a:lnTo>
                      <a:lnTo>
                        <a:pt x="419" y="368"/>
                      </a:lnTo>
                      <a:lnTo>
                        <a:pt x="414" y="364"/>
                      </a:lnTo>
                      <a:lnTo>
                        <a:pt x="414" y="359"/>
                      </a:lnTo>
                      <a:lnTo>
                        <a:pt x="410" y="355"/>
                      </a:lnTo>
                      <a:lnTo>
                        <a:pt x="400" y="346"/>
                      </a:lnTo>
                      <a:lnTo>
                        <a:pt x="391" y="341"/>
                      </a:lnTo>
                      <a:lnTo>
                        <a:pt x="382" y="336"/>
                      </a:lnTo>
                      <a:lnTo>
                        <a:pt x="378" y="332"/>
                      </a:lnTo>
                      <a:lnTo>
                        <a:pt x="373" y="323"/>
                      </a:lnTo>
                      <a:lnTo>
                        <a:pt x="373" y="318"/>
                      </a:lnTo>
                      <a:lnTo>
                        <a:pt x="369" y="309"/>
                      </a:lnTo>
                      <a:lnTo>
                        <a:pt x="369" y="300"/>
                      </a:lnTo>
                      <a:lnTo>
                        <a:pt x="355" y="291"/>
                      </a:lnTo>
                      <a:lnTo>
                        <a:pt x="337" y="286"/>
                      </a:lnTo>
                      <a:lnTo>
                        <a:pt x="314" y="286"/>
                      </a:lnTo>
                      <a:lnTo>
                        <a:pt x="296" y="286"/>
                      </a:lnTo>
                      <a:lnTo>
                        <a:pt x="277" y="282"/>
                      </a:lnTo>
                      <a:lnTo>
                        <a:pt x="264" y="273"/>
                      </a:lnTo>
                      <a:lnTo>
                        <a:pt x="255" y="264"/>
                      </a:lnTo>
                      <a:lnTo>
                        <a:pt x="241" y="255"/>
                      </a:lnTo>
                      <a:lnTo>
                        <a:pt x="232" y="246"/>
                      </a:lnTo>
                      <a:lnTo>
                        <a:pt x="218" y="246"/>
                      </a:lnTo>
                      <a:lnTo>
                        <a:pt x="209" y="241"/>
                      </a:lnTo>
                      <a:lnTo>
                        <a:pt x="195" y="241"/>
                      </a:lnTo>
                      <a:lnTo>
                        <a:pt x="186" y="236"/>
                      </a:lnTo>
                      <a:lnTo>
                        <a:pt x="177" y="223"/>
                      </a:lnTo>
                      <a:lnTo>
                        <a:pt x="173" y="214"/>
                      </a:lnTo>
                      <a:lnTo>
                        <a:pt x="173" y="200"/>
                      </a:lnTo>
                      <a:lnTo>
                        <a:pt x="173" y="200"/>
                      </a:lnTo>
                      <a:lnTo>
                        <a:pt x="159" y="200"/>
                      </a:lnTo>
                      <a:lnTo>
                        <a:pt x="159" y="200"/>
                      </a:lnTo>
                      <a:lnTo>
                        <a:pt x="154" y="214"/>
                      </a:lnTo>
                      <a:lnTo>
                        <a:pt x="150" y="227"/>
                      </a:lnTo>
                      <a:lnTo>
                        <a:pt x="145" y="241"/>
                      </a:lnTo>
                      <a:lnTo>
                        <a:pt x="132" y="246"/>
                      </a:lnTo>
                      <a:lnTo>
                        <a:pt x="123" y="241"/>
                      </a:lnTo>
                      <a:lnTo>
                        <a:pt x="113" y="236"/>
                      </a:lnTo>
                      <a:lnTo>
                        <a:pt x="109" y="227"/>
                      </a:lnTo>
                      <a:lnTo>
                        <a:pt x="109" y="218"/>
                      </a:lnTo>
                      <a:lnTo>
                        <a:pt x="113" y="200"/>
                      </a:lnTo>
                      <a:lnTo>
                        <a:pt x="127" y="191"/>
                      </a:lnTo>
                      <a:lnTo>
                        <a:pt x="136" y="182"/>
                      </a:lnTo>
                      <a:lnTo>
                        <a:pt x="141" y="164"/>
                      </a:lnTo>
                      <a:lnTo>
                        <a:pt x="136" y="155"/>
                      </a:lnTo>
                      <a:lnTo>
                        <a:pt x="127" y="146"/>
                      </a:lnTo>
                      <a:lnTo>
                        <a:pt x="118" y="136"/>
                      </a:lnTo>
                      <a:lnTo>
                        <a:pt x="109" y="132"/>
                      </a:lnTo>
                      <a:lnTo>
                        <a:pt x="104" y="127"/>
                      </a:lnTo>
                      <a:lnTo>
                        <a:pt x="104" y="127"/>
                      </a:lnTo>
                      <a:lnTo>
                        <a:pt x="104" y="123"/>
                      </a:lnTo>
                      <a:lnTo>
                        <a:pt x="100" y="123"/>
                      </a:lnTo>
                      <a:lnTo>
                        <a:pt x="91" y="127"/>
                      </a:lnTo>
                      <a:lnTo>
                        <a:pt x="86" y="132"/>
                      </a:lnTo>
                      <a:lnTo>
                        <a:pt x="77" y="141"/>
                      </a:lnTo>
                      <a:lnTo>
                        <a:pt x="68" y="146"/>
                      </a:lnTo>
                      <a:lnTo>
                        <a:pt x="63" y="141"/>
                      </a:lnTo>
                      <a:lnTo>
                        <a:pt x="68" y="132"/>
                      </a:lnTo>
                      <a:lnTo>
                        <a:pt x="63" y="123"/>
                      </a:lnTo>
                      <a:lnTo>
                        <a:pt x="50" y="118"/>
                      </a:lnTo>
                      <a:lnTo>
                        <a:pt x="45" y="118"/>
                      </a:lnTo>
                      <a:lnTo>
                        <a:pt x="41" y="123"/>
                      </a:lnTo>
                      <a:lnTo>
                        <a:pt x="41" y="127"/>
                      </a:lnTo>
                      <a:lnTo>
                        <a:pt x="36" y="127"/>
                      </a:lnTo>
                      <a:lnTo>
                        <a:pt x="27" y="123"/>
                      </a:lnTo>
                      <a:lnTo>
                        <a:pt x="13" y="109"/>
                      </a:lnTo>
                      <a:lnTo>
                        <a:pt x="9" y="96"/>
                      </a:lnTo>
                      <a:lnTo>
                        <a:pt x="4" y="82"/>
                      </a:lnTo>
                      <a:lnTo>
                        <a:pt x="4" y="82"/>
                      </a:lnTo>
                      <a:lnTo>
                        <a:pt x="0" y="82"/>
                      </a:lnTo>
                      <a:lnTo>
                        <a:pt x="0" y="82"/>
                      </a:lnTo>
                      <a:lnTo>
                        <a:pt x="18" y="73"/>
                      </a:lnTo>
                      <a:lnTo>
                        <a:pt x="31" y="68"/>
                      </a:lnTo>
                      <a:lnTo>
                        <a:pt x="45" y="59"/>
                      </a:lnTo>
                      <a:lnTo>
                        <a:pt x="59" y="46"/>
                      </a:lnTo>
                      <a:lnTo>
                        <a:pt x="63" y="36"/>
                      </a:lnTo>
                      <a:lnTo>
                        <a:pt x="72" y="32"/>
                      </a:lnTo>
                      <a:lnTo>
                        <a:pt x="77" y="23"/>
                      </a:lnTo>
                      <a:lnTo>
                        <a:pt x="82" y="14"/>
                      </a:lnTo>
                      <a:lnTo>
                        <a:pt x="95" y="14"/>
                      </a:lnTo>
                      <a:lnTo>
                        <a:pt x="109" y="18"/>
                      </a:lnTo>
                      <a:lnTo>
                        <a:pt x="123" y="18"/>
                      </a:lnTo>
                      <a:lnTo>
                        <a:pt x="136" y="23"/>
                      </a:lnTo>
                      <a:lnTo>
                        <a:pt x="136" y="23"/>
                      </a:lnTo>
                      <a:lnTo>
                        <a:pt x="191" y="23"/>
                      </a:lnTo>
                      <a:lnTo>
                        <a:pt x="191" y="23"/>
                      </a:lnTo>
                      <a:lnTo>
                        <a:pt x="200" y="27"/>
                      </a:lnTo>
                      <a:lnTo>
                        <a:pt x="214" y="32"/>
                      </a:lnTo>
                      <a:lnTo>
                        <a:pt x="223" y="36"/>
                      </a:lnTo>
                      <a:lnTo>
                        <a:pt x="236" y="36"/>
                      </a:lnTo>
                      <a:lnTo>
                        <a:pt x="250" y="32"/>
                      </a:lnTo>
                      <a:lnTo>
                        <a:pt x="259" y="27"/>
                      </a:lnTo>
                      <a:lnTo>
                        <a:pt x="268" y="18"/>
                      </a:lnTo>
                      <a:lnTo>
                        <a:pt x="277" y="14"/>
                      </a:lnTo>
                      <a:lnTo>
                        <a:pt x="296" y="9"/>
                      </a:lnTo>
                      <a:lnTo>
                        <a:pt x="314" y="9"/>
                      </a:lnTo>
                      <a:lnTo>
                        <a:pt x="328" y="14"/>
                      </a:lnTo>
                      <a:lnTo>
                        <a:pt x="346" y="14"/>
                      </a:lnTo>
                      <a:lnTo>
                        <a:pt x="373" y="14"/>
                      </a:lnTo>
                      <a:lnTo>
                        <a:pt x="400" y="14"/>
                      </a:lnTo>
                      <a:lnTo>
                        <a:pt x="428" y="14"/>
                      </a:lnTo>
                      <a:lnTo>
                        <a:pt x="455" y="14"/>
                      </a:lnTo>
                      <a:lnTo>
                        <a:pt x="473" y="14"/>
                      </a:lnTo>
                      <a:lnTo>
                        <a:pt x="487" y="14"/>
                      </a:lnTo>
                      <a:lnTo>
                        <a:pt x="501" y="9"/>
                      </a:lnTo>
                      <a:lnTo>
                        <a:pt x="514" y="5"/>
                      </a:lnTo>
                      <a:lnTo>
                        <a:pt x="519" y="9"/>
                      </a:lnTo>
                      <a:lnTo>
                        <a:pt x="523" y="9"/>
                      </a:lnTo>
                      <a:lnTo>
                        <a:pt x="528" y="9"/>
                      </a:lnTo>
                      <a:lnTo>
                        <a:pt x="533" y="9"/>
                      </a:lnTo>
                      <a:lnTo>
                        <a:pt x="542" y="9"/>
                      </a:lnTo>
                      <a:lnTo>
                        <a:pt x="551" y="5"/>
                      </a:lnTo>
                      <a:lnTo>
                        <a:pt x="560" y="0"/>
                      </a:lnTo>
                      <a:lnTo>
                        <a:pt x="569" y="0"/>
                      </a:lnTo>
                      <a:lnTo>
                        <a:pt x="569" y="0"/>
                      </a:lnTo>
                      <a:lnTo>
                        <a:pt x="569" y="0"/>
                      </a:lnTo>
                      <a:lnTo>
                        <a:pt x="569" y="0"/>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123" name="Freeform 198">
                  <a:extLst>
                    <a:ext uri="{FF2B5EF4-FFF2-40B4-BE49-F238E27FC236}">
                      <a16:creationId xmlns="" xmlns:a16="http://schemas.microsoft.com/office/drawing/2014/main" id="{63BF47F5-9AB7-4D85-B3B8-3E0331FC4A31}"/>
                    </a:ext>
                  </a:extLst>
                </p:cNvPr>
                <p:cNvSpPr>
                  <a:spLocks noChangeAspect="1"/>
                </p:cNvSpPr>
                <p:nvPr/>
              </p:nvSpPr>
              <p:spPr bwMode="auto">
                <a:xfrm>
                  <a:off x="1864" y="2986"/>
                  <a:ext cx="410" cy="355"/>
                </a:xfrm>
                <a:custGeom>
                  <a:avLst/>
                  <a:gdLst>
                    <a:gd name="T0" fmla="*/ 291 w 410"/>
                    <a:gd name="T1" fmla="*/ 328 h 355"/>
                    <a:gd name="T2" fmla="*/ 291 w 410"/>
                    <a:gd name="T3" fmla="*/ 323 h 355"/>
                    <a:gd name="T4" fmla="*/ 301 w 410"/>
                    <a:gd name="T5" fmla="*/ 296 h 355"/>
                    <a:gd name="T6" fmla="*/ 346 w 410"/>
                    <a:gd name="T7" fmla="*/ 264 h 355"/>
                    <a:gd name="T8" fmla="*/ 351 w 410"/>
                    <a:gd name="T9" fmla="*/ 228 h 355"/>
                    <a:gd name="T10" fmla="*/ 342 w 410"/>
                    <a:gd name="T11" fmla="*/ 214 h 355"/>
                    <a:gd name="T12" fmla="*/ 337 w 410"/>
                    <a:gd name="T13" fmla="*/ 200 h 355"/>
                    <a:gd name="T14" fmla="*/ 351 w 410"/>
                    <a:gd name="T15" fmla="*/ 187 h 355"/>
                    <a:gd name="T16" fmla="*/ 369 w 410"/>
                    <a:gd name="T17" fmla="*/ 187 h 355"/>
                    <a:gd name="T18" fmla="*/ 392 w 410"/>
                    <a:gd name="T19" fmla="*/ 191 h 355"/>
                    <a:gd name="T20" fmla="*/ 405 w 410"/>
                    <a:gd name="T21" fmla="*/ 173 h 355"/>
                    <a:gd name="T22" fmla="*/ 387 w 410"/>
                    <a:gd name="T23" fmla="*/ 137 h 355"/>
                    <a:gd name="T24" fmla="*/ 383 w 410"/>
                    <a:gd name="T25" fmla="*/ 105 h 355"/>
                    <a:gd name="T26" fmla="*/ 392 w 410"/>
                    <a:gd name="T27" fmla="*/ 91 h 355"/>
                    <a:gd name="T28" fmla="*/ 387 w 410"/>
                    <a:gd name="T29" fmla="*/ 82 h 355"/>
                    <a:gd name="T30" fmla="*/ 373 w 410"/>
                    <a:gd name="T31" fmla="*/ 68 h 355"/>
                    <a:gd name="T32" fmla="*/ 328 w 410"/>
                    <a:gd name="T33" fmla="*/ 59 h 355"/>
                    <a:gd name="T34" fmla="*/ 273 w 410"/>
                    <a:gd name="T35" fmla="*/ 32 h 355"/>
                    <a:gd name="T36" fmla="*/ 223 w 410"/>
                    <a:gd name="T37" fmla="*/ 32 h 355"/>
                    <a:gd name="T38" fmla="*/ 196 w 410"/>
                    <a:gd name="T39" fmla="*/ 41 h 355"/>
                    <a:gd name="T40" fmla="*/ 173 w 410"/>
                    <a:gd name="T41" fmla="*/ 46 h 355"/>
                    <a:gd name="T42" fmla="*/ 164 w 410"/>
                    <a:gd name="T43" fmla="*/ 37 h 355"/>
                    <a:gd name="T44" fmla="*/ 164 w 410"/>
                    <a:gd name="T45" fmla="*/ 14 h 355"/>
                    <a:gd name="T46" fmla="*/ 150 w 410"/>
                    <a:gd name="T47" fmla="*/ 0 h 355"/>
                    <a:gd name="T48" fmla="*/ 118 w 410"/>
                    <a:gd name="T49" fmla="*/ 14 h 355"/>
                    <a:gd name="T50" fmla="*/ 77 w 410"/>
                    <a:gd name="T51" fmla="*/ 73 h 355"/>
                    <a:gd name="T52" fmla="*/ 45 w 410"/>
                    <a:gd name="T53" fmla="*/ 132 h 355"/>
                    <a:gd name="T54" fmla="*/ 32 w 410"/>
                    <a:gd name="T55" fmla="*/ 173 h 355"/>
                    <a:gd name="T56" fmla="*/ 18 w 410"/>
                    <a:gd name="T57" fmla="*/ 209 h 355"/>
                    <a:gd name="T58" fmla="*/ 4 w 410"/>
                    <a:gd name="T59" fmla="*/ 223 h 355"/>
                    <a:gd name="T60" fmla="*/ 0 w 410"/>
                    <a:gd name="T61" fmla="*/ 250 h 355"/>
                    <a:gd name="T62" fmla="*/ 14 w 410"/>
                    <a:gd name="T63" fmla="*/ 278 h 355"/>
                    <a:gd name="T64" fmla="*/ 36 w 410"/>
                    <a:gd name="T65" fmla="*/ 287 h 355"/>
                    <a:gd name="T66" fmla="*/ 73 w 410"/>
                    <a:gd name="T67" fmla="*/ 291 h 355"/>
                    <a:gd name="T68" fmla="*/ 77 w 410"/>
                    <a:gd name="T69" fmla="*/ 314 h 355"/>
                    <a:gd name="T70" fmla="*/ 64 w 410"/>
                    <a:gd name="T71" fmla="*/ 332 h 355"/>
                    <a:gd name="T72" fmla="*/ 68 w 410"/>
                    <a:gd name="T73" fmla="*/ 350 h 355"/>
                    <a:gd name="T74" fmla="*/ 82 w 410"/>
                    <a:gd name="T75" fmla="*/ 355 h 355"/>
                    <a:gd name="T76" fmla="*/ 127 w 410"/>
                    <a:gd name="T77" fmla="*/ 350 h 355"/>
                    <a:gd name="T78" fmla="*/ 173 w 410"/>
                    <a:gd name="T79" fmla="*/ 328 h 355"/>
                    <a:gd name="T80" fmla="*/ 223 w 410"/>
                    <a:gd name="T81" fmla="*/ 323 h 355"/>
                    <a:gd name="T82" fmla="*/ 255 w 410"/>
                    <a:gd name="T83" fmla="*/ 337 h 355"/>
                    <a:gd name="T84" fmla="*/ 282 w 410"/>
                    <a:gd name="T85" fmla="*/ 337 h 355"/>
                    <a:gd name="T86" fmla="*/ 287 w 410"/>
                    <a:gd name="T87" fmla="*/ 332 h 355"/>
                    <a:gd name="T88" fmla="*/ 291 w 410"/>
                    <a:gd name="T89" fmla="*/ 332 h 355"/>
                    <a:gd name="T90" fmla="*/ 296 w 410"/>
                    <a:gd name="T91" fmla="*/ 33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0" h="355">
                      <a:moveTo>
                        <a:pt x="296" y="332"/>
                      </a:moveTo>
                      <a:lnTo>
                        <a:pt x="291" y="328"/>
                      </a:lnTo>
                      <a:lnTo>
                        <a:pt x="291" y="323"/>
                      </a:lnTo>
                      <a:lnTo>
                        <a:pt x="291" y="323"/>
                      </a:lnTo>
                      <a:lnTo>
                        <a:pt x="291" y="318"/>
                      </a:lnTo>
                      <a:lnTo>
                        <a:pt x="301" y="296"/>
                      </a:lnTo>
                      <a:lnTo>
                        <a:pt x="323" y="278"/>
                      </a:lnTo>
                      <a:lnTo>
                        <a:pt x="346" y="264"/>
                      </a:lnTo>
                      <a:lnTo>
                        <a:pt x="355" y="237"/>
                      </a:lnTo>
                      <a:lnTo>
                        <a:pt x="351" y="228"/>
                      </a:lnTo>
                      <a:lnTo>
                        <a:pt x="346" y="218"/>
                      </a:lnTo>
                      <a:lnTo>
                        <a:pt x="342" y="214"/>
                      </a:lnTo>
                      <a:lnTo>
                        <a:pt x="337" y="205"/>
                      </a:lnTo>
                      <a:lnTo>
                        <a:pt x="337" y="200"/>
                      </a:lnTo>
                      <a:lnTo>
                        <a:pt x="342" y="191"/>
                      </a:lnTo>
                      <a:lnTo>
                        <a:pt x="351" y="187"/>
                      </a:lnTo>
                      <a:lnTo>
                        <a:pt x="360" y="187"/>
                      </a:lnTo>
                      <a:lnTo>
                        <a:pt x="369" y="187"/>
                      </a:lnTo>
                      <a:lnTo>
                        <a:pt x="378" y="191"/>
                      </a:lnTo>
                      <a:lnTo>
                        <a:pt x="392" y="191"/>
                      </a:lnTo>
                      <a:lnTo>
                        <a:pt x="410" y="196"/>
                      </a:lnTo>
                      <a:lnTo>
                        <a:pt x="405" y="173"/>
                      </a:lnTo>
                      <a:lnTo>
                        <a:pt x="396" y="155"/>
                      </a:lnTo>
                      <a:lnTo>
                        <a:pt x="387" y="137"/>
                      </a:lnTo>
                      <a:lnTo>
                        <a:pt x="383" y="114"/>
                      </a:lnTo>
                      <a:lnTo>
                        <a:pt x="383" y="105"/>
                      </a:lnTo>
                      <a:lnTo>
                        <a:pt x="387" y="100"/>
                      </a:lnTo>
                      <a:lnTo>
                        <a:pt x="392" y="91"/>
                      </a:lnTo>
                      <a:lnTo>
                        <a:pt x="396" y="87"/>
                      </a:lnTo>
                      <a:lnTo>
                        <a:pt x="387" y="82"/>
                      </a:lnTo>
                      <a:lnTo>
                        <a:pt x="383" y="73"/>
                      </a:lnTo>
                      <a:lnTo>
                        <a:pt x="373" y="68"/>
                      </a:lnTo>
                      <a:lnTo>
                        <a:pt x="360" y="64"/>
                      </a:lnTo>
                      <a:lnTo>
                        <a:pt x="328" y="59"/>
                      </a:lnTo>
                      <a:lnTo>
                        <a:pt x="301" y="46"/>
                      </a:lnTo>
                      <a:lnTo>
                        <a:pt x="273" y="32"/>
                      </a:lnTo>
                      <a:lnTo>
                        <a:pt x="241" y="28"/>
                      </a:lnTo>
                      <a:lnTo>
                        <a:pt x="223" y="32"/>
                      </a:lnTo>
                      <a:lnTo>
                        <a:pt x="209" y="37"/>
                      </a:lnTo>
                      <a:lnTo>
                        <a:pt x="196" y="41"/>
                      </a:lnTo>
                      <a:lnTo>
                        <a:pt x="178" y="46"/>
                      </a:lnTo>
                      <a:lnTo>
                        <a:pt x="173" y="46"/>
                      </a:lnTo>
                      <a:lnTo>
                        <a:pt x="168" y="41"/>
                      </a:lnTo>
                      <a:lnTo>
                        <a:pt x="164" y="37"/>
                      </a:lnTo>
                      <a:lnTo>
                        <a:pt x="164" y="28"/>
                      </a:lnTo>
                      <a:lnTo>
                        <a:pt x="164" y="14"/>
                      </a:lnTo>
                      <a:lnTo>
                        <a:pt x="155" y="5"/>
                      </a:lnTo>
                      <a:lnTo>
                        <a:pt x="150" y="0"/>
                      </a:lnTo>
                      <a:lnTo>
                        <a:pt x="146" y="0"/>
                      </a:lnTo>
                      <a:lnTo>
                        <a:pt x="118" y="14"/>
                      </a:lnTo>
                      <a:lnTo>
                        <a:pt x="96" y="41"/>
                      </a:lnTo>
                      <a:lnTo>
                        <a:pt x="77" y="73"/>
                      </a:lnTo>
                      <a:lnTo>
                        <a:pt x="59" y="109"/>
                      </a:lnTo>
                      <a:lnTo>
                        <a:pt x="45" y="132"/>
                      </a:lnTo>
                      <a:lnTo>
                        <a:pt x="41" y="155"/>
                      </a:lnTo>
                      <a:lnTo>
                        <a:pt x="32" y="173"/>
                      </a:lnTo>
                      <a:lnTo>
                        <a:pt x="23" y="200"/>
                      </a:lnTo>
                      <a:lnTo>
                        <a:pt x="18" y="209"/>
                      </a:lnTo>
                      <a:lnTo>
                        <a:pt x="9" y="218"/>
                      </a:lnTo>
                      <a:lnTo>
                        <a:pt x="4" y="223"/>
                      </a:lnTo>
                      <a:lnTo>
                        <a:pt x="0" y="237"/>
                      </a:lnTo>
                      <a:lnTo>
                        <a:pt x="0" y="250"/>
                      </a:lnTo>
                      <a:lnTo>
                        <a:pt x="4" y="264"/>
                      </a:lnTo>
                      <a:lnTo>
                        <a:pt x="14" y="278"/>
                      </a:lnTo>
                      <a:lnTo>
                        <a:pt x="18" y="282"/>
                      </a:lnTo>
                      <a:lnTo>
                        <a:pt x="36" y="287"/>
                      </a:lnTo>
                      <a:lnTo>
                        <a:pt x="55" y="287"/>
                      </a:lnTo>
                      <a:lnTo>
                        <a:pt x="73" y="291"/>
                      </a:lnTo>
                      <a:lnTo>
                        <a:pt x="77" y="305"/>
                      </a:lnTo>
                      <a:lnTo>
                        <a:pt x="77" y="314"/>
                      </a:lnTo>
                      <a:lnTo>
                        <a:pt x="73" y="323"/>
                      </a:lnTo>
                      <a:lnTo>
                        <a:pt x="64" y="332"/>
                      </a:lnTo>
                      <a:lnTo>
                        <a:pt x="64" y="341"/>
                      </a:lnTo>
                      <a:lnTo>
                        <a:pt x="68" y="350"/>
                      </a:lnTo>
                      <a:lnTo>
                        <a:pt x="73" y="355"/>
                      </a:lnTo>
                      <a:lnTo>
                        <a:pt x="82" y="355"/>
                      </a:lnTo>
                      <a:lnTo>
                        <a:pt x="96" y="355"/>
                      </a:lnTo>
                      <a:lnTo>
                        <a:pt x="127" y="350"/>
                      </a:lnTo>
                      <a:lnTo>
                        <a:pt x="150" y="337"/>
                      </a:lnTo>
                      <a:lnTo>
                        <a:pt x="173" y="328"/>
                      </a:lnTo>
                      <a:lnTo>
                        <a:pt x="205" y="323"/>
                      </a:lnTo>
                      <a:lnTo>
                        <a:pt x="223" y="323"/>
                      </a:lnTo>
                      <a:lnTo>
                        <a:pt x="241" y="328"/>
                      </a:lnTo>
                      <a:lnTo>
                        <a:pt x="255" y="337"/>
                      </a:lnTo>
                      <a:lnTo>
                        <a:pt x="273" y="337"/>
                      </a:lnTo>
                      <a:lnTo>
                        <a:pt x="282" y="337"/>
                      </a:lnTo>
                      <a:lnTo>
                        <a:pt x="287" y="332"/>
                      </a:lnTo>
                      <a:lnTo>
                        <a:pt x="287" y="332"/>
                      </a:lnTo>
                      <a:lnTo>
                        <a:pt x="291" y="332"/>
                      </a:lnTo>
                      <a:lnTo>
                        <a:pt x="291" y="332"/>
                      </a:lnTo>
                      <a:lnTo>
                        <a:pt x="296" y="332"/>
                      </a:lnTo>
                      <a:lnTo>
                        <a:pt x="296" y="332"/>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124" name="Freeform 199">
                  <a:extLst>
                    <a:ext uri="{FF2B5EF4-FFF2-40B4-BE49-F238E27FC236}">
                      <a16:creationId xmlns="" xmlns:a16="http://schemas.microsoft.com/office/drawing/2014/main" id="{3BB30F0A-411F-44E0-A5EF-55277282154F}"/>
                    </a:ext>
                  </a:extLst>
                </p:cNvPr>
                <p:cNvSpPr>
                  <a:spLocks noChangeAspect="1"/>
                </p:cNvSpPr>
                <p:nvPr/>
              </p:nvSpPr>
              <p:spPr bwMode="auto">
                <a:xfrm>
                  <a:off x="1490" y="2614"/>
                  <a:ext cx="524" cy="622"/>
                </a:xfrm>
                <a:custGeom>
                  <a:avLst/>
                  <a:gdLst>
                    <a:gd name="T0" fmla="*/ 260 w 524"/>
                    <a:gd name="T1" fmla="*/ 122 h 622"/>
                    <a:gd name="T2" fmla="*/ 315 w 524"/>
                    <a:gd name="T3" fmla="*/ 181 h 622"/>
                    <a:gd name="T4" fmla="*/ 388 w 524"/>
                    <a:gd name="T5" fmla="*/ 218 h 622"/>
                    <a:gd name="T6" fmla="*/ 410 w 524"/>
                    <a:gd name="T7" fmla="*/ 213 h 622"/>
                    <a:gd name="T8" fmla="*/ 433 w 524"/>
                    <a:gd name="T9" fmla="*/ 218 h 622"/>
                    <a:gd name="T10" fmla="*/ 447 w 524"/>
                    <a:gd name="T11" fmla="*/ 254 h 622"/>
                    <a:gd name="T12" fmla="*/ 415 w 524"/>
                    <a:gd name="T13" fmla="*/ 304 h 622"/>
                    <a:gd name="T14" fmla="*/ 438 w 524"/>
                    <a:gd name="T15" fmla="*/ 336 h 622"/>
                    <a:gd name="T16" fmla="*/ 479 w 524"/>
                    <a:gd name="T17" fmla="*/ 336 h 622"/>
                    <a:gd name="T18" fmla="*/ 511 w 524"/>
                    <a:gd name="T19" fmla="*/ 322 h 622"/>
                    <a:gd name="T20" fmla="*/ 524 w 524"/>
                    <a:gd name="T21" fmla="*/ 336 h 622"/>
                    <a:gd name="T22" fmla="*/ 524 w 524"/>
                    <a:gd name="T23" fmla="*/ 363 h 622"/>
                    <a:gd name="T24" fmla="*/ 470 w 524"/>
                    <a:gd name="T25" fmla="*/ 413 h 622"/>
                    <a:gd name="T26" fmla="*/ 419 w 524"/>
                    <a:gd name="T27" fmla="*/ 504 h 622"/>
                    <a:gd name="T28" fmla="*/ 397 w 524"/>
                    <a:gd name="T29" fmla="*/ 572 h 622"/>
                    <a:gd name="T30" fmla="*/ 378 w 524"/>
                    <a:gd name="T31" fmla="*/ 595 h 622"/>
                    <a:gd name="T32" fmla="*/ 365 w 524"/>
                    <a:gd name="T33" fmla="*/ 604 h 622"/>
                    <a:gd name="T34" fmla="*/ 347 w 524"/>
                    <a:gd name="T35" fmla="*/ 604 h 622"/>
                    <a:gd name="T36" fmla="*/ 328 w 524"/>
                    <a:gd name="T37" fmla="*/ 622 h 622"/>
                    <a:gd name="T38" fmla="*/ 278 w 524"/>
                    <a:gd name="T39" fmla="*/ 581 h 622"/>
                    <a:gd name="T40" fmla="*/ 224 w 524"/>
                    <a:gd name="T41" fmla="*/ 531 h 622"/>
                    <a:gd name="T42" fmla="*/ 137 w 524"/>
                    <a:gd name="T43" fmla="*/ 509 h 622"/>
                    <a:gd name="T44" fmla="*/ 101 w 524"/>
                    <a:gd name="T45" fmla="*/ 509 h 622"/>
                    <a:gd name="T46" fmla="*/ 64 w 524"/>
                    <a:gd name="T47" fmla="*/ 486 h 622"/>
                    <a:gd name="T48" fmla="*/ 28 w 524"/>
                    <a:gd name="T49" fmla="*/ 486 h 622"/>
                    <a:gd name="T50" fmla="*/ 5 w 524"/>
                    <a:gd name="T51" fmla="*/ 463 h 622"/>
                    <a:gd name="T52" fmla="*/ 41 w 524"/>
                    <a:gd name="T53" fmla="*/ 395 h 622"/>
                    <a:gd name="T54" fmla="*/ 78 w 524"/>
                    <a:gd name="T55" fmla="*/ 409 h 622"/>
                    <a:gd name="T56" fmla="*/ 55 w 524"/>
                    <a:gd name="T57" fmla="*/ 368 h 622"/>
                    <a:gd name="T58" fmla="*/ 23 w 524"/>
                    <a:gd name="T59" fmla="*/ 386 h 622"/>
                    <a:gd name="T60" fmla="*/ 9 w 524"/>
                    <a:gd name="T61" fmla="*/ 413 h 622"/>
                    <a:gd name="T62" fmla="*/ 0 w 524"/>
                    <a:gd name="T63" fmla="*/ 400 h 622"/>
                    <a:gd name="T64" fmla="*/ 28 w 524"/>
                    <a:gd name="T65" fmla="*/ 250 h 622"/>
                    <a:gd name="T66" fmla="*/ 46 w 524"/>
                    <a:gd name="T67" fmla="*/ 154 h 622"/>
                    <a:gd name="T68" fmla="*/ 46 w 524"/>
                    <a:gd name="T69" fmla="*/ 40 h 622"/>
                    <a:gd name="T70" fmla="*/ 87 w 524"/>
                    <a:gd name="T71" fmla="*/ 18 h 622"/>
                    <a:gd name="T72" fmla="*/ 128 w 524"/>
                    <a:gd name="T73" fmla="*/ 59 h 622"/>
                    <a:gd name="T74" fmla="*/ 160 w 524"/>
                    <a:gd name="T75" fmla="*/ 109 h 622"/>
                    <a:gd name="T76" fmla="*/ 192 w 524"/>
                    <a:gd name="T77" fmla="*/ 181 h 622"/>
                    <a:gd name="T78" fmla="*/ 219 w 524"/>
                    <a:gd name="T79" fmla="*/ 245 h 622"/>
                    <a:gd name="T80" fmla="*/ 246 w 524"/>
                    <a:gd name="T81" fmla="*/ 268 h 622"/>
                    <a:gd name="T82" fmla="*/ 214 w 524"/>
                    <a:gd name="T83" fmla="*/ 218 h 622"/>
                    <a:gd name="T84" fmla="*/ 205 w 524"/>
                    <a:gd name="T85" fmla="*/ 150 h 622"/>
                    <a:gd name="T86" fmla="*/ 201 w 524"/>
                    <a:gd name="T87" fmla="*/ 109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4" h="622">
                      <a:moveTo>
                        <a:pt x="201" y="104"/>
                      </a:moveTo>
                      <a:lnTo>
                        <a:pt x="233" y="109"/>
                      </a:lnTo>
                      <a:lnTo>
                        <a:pt x="260" y="122"/>
                      </a:lnTo>
                      <a:lnTo>
                        <a:pt x="278" y="140"/>
                      </a:lnTo>
                      <a:lnTo>
                        <a:pt x="296" y="159"/>
                      </a:lnTo>
                      <a:lnTo>
                        <a:pt x="315" y="181"/>
                      </a:lnTo>
                      <a:lnTo>
                        <a:pt x="333" y="200"/>
                      </a:lnTo>
                      <a:lnTo>
                        <a:pt x="356" y="213"/>
                      </a:lnTo>
                      <a:lnTo>
                        <a:pt x="388" y="218"/>
                      </a:lnTo>
                      <a:lnTo>
                        <a:pt x="397" y="218"/>
                      </a:lnTo>
                      <a:lnTo>
                        <a:pt x="406" y="218"/>
                      </a:lnTo>
                      <a:lnTo>
                        <a:pt x="410" y="213"/>
                      </a:lnTo>
                      <a:lnTo>
                        <a:pt x="415" y="204"/>
                      </a:lnTo>
                      <a:lnTo>
                        <a:pt x="419" y="213"/>
                      </a:lnTo>
                      <a:lnTo>
                        <a:pt x="433" y="218"/>
                      </a:lnTo>
                      <a:lnTo>
                        <a:pt x="447" y="222"/>
                      </a:lnTo>
                      <a:lnTo>
                        <a:pt x="451" y="236"/>
                      </a:lnTo>
                      <a:lnTo>
                        <a:pt x="447" y="254"/>
                      </a:lnTo>
                      <a:lnTo>
                        <a:pt x="433" y="268"/>
                      </a:lnTo>
                      <a:lnTo>
                        <a:pt x="419" y="286"/>
                      </a:lnTo>
                      <a:lnTo>
                        <a:pt x="415" y="304"/>
                      </a:lnTo>
                      <a:lnTo>
                        <a:pt x="419" y="318"/>
                      </a:lnTo>
                      <a:lnTo>
                        <a:pt x="424" y="331"/>
                      </a:lnTo>
                      <a:lnTo>
                        <a:pt x="438" y="336"/>
                      </a:lnTo>
                      <a:lnTo>
                        <a:pt x="451" y="340"/>
                      </a:lnTo>
                      <a:lnTo>
                        <a:pt x="465" y="340"/>
                      </a:lnTo>
                      <a:lnTo>
                        <a:pt x="479" y="336"/>
                      </a:lnTo>
                      <a:lnTo>
                        <a:pt x="492" y="327"/>
                      </a:lnTo>
                      <a:lnTo>
                        <a:pt x="501" y="322"/>
                      </a:lnTo>
                      <a:lnTo>
                        <a:pt x="511" y="322"/>
                      </a:lnTo>
                      <a:lnTo>
                        <a:pt x="520" y="318"/>
                      </a:lnTo>
                      <a:lnTo>
                        <a:pt x="524" y="322"/>
                      </a:lnTo>
                      <a:lnTo>
                        <a:pt x="524" y="336"/>
                      </a:lnTo>
                      <a:lnTo>
                        <a:pt x="524" y="345"/>
                      </a:lnTo>
                      <a:lnTo>
                        <a:pt x="524" y="354"/>
                      </a:lnTo>
                      <a:lnTo>
                        <a:pt x="524" y="363"/>
                      </a:lnTo>
                      <a:lnTo>
                        <a:pt x="524" y="372"/>
                      </a:lnTo>
                      <a:lnTo>
                        <a:pt x="492" y="386"/>
                      </a:lnTo>
                      <a:lnTo>
                        <a:pt x="470" y="413"/>
                      </a:lnTo>
                      <a:lnTo>
                        <a:pt x="451" y="445"/>
                      </a:lnTo>
                      <a:lnTo>
                        <a:pt x="433" y="481"/>
                      </a:lnTo>
                      <a:lnTo>
                        <a:pt x="419" y="504"/>
                      </a:lnTo>
                      <a:lnTo>
                        <a:pt x="415" y="527"/>
                      </a:lnTo>
                      <a:lnTo>
                        <a:pt x="406" y="545"/>
                      </a:lnTo>
                      <a:lnTo>
                        <a:pt x="397" y="572"/>
                      </a:lnTo>
                      <a:lnTo>
                        <a:pt x="392" y="581"/>
                      </a:lnTo>
                      <a:lnTo>
                        <a:pt x="383" y="590"/>
                      </a:lnTo>
                      <a:lnTo>
                        <a:pt x="378" y="595"/>
                      </a:lnTo>
                      <a:lnTo>
                        <a:pt x="374" y="609"/>
                      </a:lnTo>
                      <a:lnTo>
                        <a:pt x="369" y="604"/>
                      </a:lnTo>
                      <a:lnTo>
                        <a:pt x="365" y="604"/>
                      </a:lnTo>
                      <a:lnTo>
                        <a:pt x="356" y="600"/>
                      </a:lnTo>
                      <a:lnTo>
                        <a:pt x="351" y="600"/>
                      </a:lnTo>
                      <a:lnTo>
                        <a:pt x="347" y="604"/>
                      </a:lnTo>
                      <a:lnTo>
                        <a:pt x="342" y="609"/>
                      </a:lnTo>
                      <a:lnTo>
                        <a:pt x="337" y="618"/>
                      </a:lnTo>
                      <a:lnTo>
                        <a:pt x="328" y="622"/>
                      </a:lnTo>
                      <a:lnTo>
                        <a:pt x="306" y="618"/>
                      </a:lnTo>
                      <a:lnTo>
                        <a:pt x="292" y="600"/>
                      </a:lnTo>
                      <a:lnTo>
                        <a:pt x="278" y="581"/>
                      </a:lnTo>
                      <a:lnTo>
                        <a:pt x="265" y="563"/>
                      </a:lnTo>
                      <a:lnTo>
                        <a:pt x="246" y="545"/>
                      </a:lnTo>
                      <a:lnTo>
                        <a:pt x="224" y="531"/>
                      </a:lnTo>
                      <a:lnTo>
                        <a:pt x="196" y="518"/>
                      </a:lnTo>
                      <a:lnTo>
                        <a:pt x="169" y="509"/>
                      </a:lnTo>
                      <a:lnTo>
                        <a:pt x="137" y="509"/>
                      </a:lnTo>
                      <a:lnTo>
                        <a:pt x="123" y="509"/>
                      </a:lnTo>
                      <a:lnTo>
                        <a:pt x="114" y="509"/>
                      </a:lnTo>
                      <a:lnTo>
                        <a:pt x="101" y="509"/>
                      </a:lnTo>
                      <a:lnTo>
                        <a:pt x="87" y="504"/>
                      </a:lnTo>
                      <a:lnTo>
                        <a:pt x="78" y="495"/>
                      </a:lnTo>
                      <a:lnTo>
                        <a:pt x="64" y="486"/>
                      </a:lnTo>
                      <a:lnTo>
                        <a:pt x="50" y="481"/>
                      </a:lnTo>
                      <a:lnTo>
                        <a:pt x="37" y="481"/>
                      </a:lnTo>
                      <a:lnTo>
                        <a:pt x="28" y="486"/>
                      </a:lnTo>
                      <a:lnTo>
                        <a:pt x="14" y="490"/>
                      </a:lnTo>
                      <a:lnTo>
                        <a:pt x="5" y="495"/>
                      </a:lnTo>
                      <a:lnTo>
                        <a:pt x="5" y="463"/>
                      </a:lnTo>
                      <a:lnTo>
                        <a:pt x="14" y="431"/>
                      </a:lnTo>
                      <a:lnTo>
                        <a:pt x="23" y="404"/>
                      </a:lnTo>
                      <a:lnTo>
                        <a:pt x="41" y="395"/>
                      </a:lnTo>
                      <a:lnTo>
                        <a:pt x="41" y="395"/>
                      </a:lnTo>
                      <a:lnTo>
                        <a:pt x="78" y="409"/>
                      </a:lnTo>
                      <a:lnTo>
                        <a:pt x="78" y="409"/>
                      </a:lnTo>
                      <a:lnTo>
                        <a:pt x="73" y="395"/>
                      </a:lnTo>
                      <a:lnTo>
                        <a:pt x="64" y="381"/>
                      </a:lnTo>
                      <a:lnTo>
                        <a:pt x="55" y="368"/>
                      </a:lnTo>
                      <a:lnTo>
                        <a:pt x="41" y="363"/>
                      </a:lnTo>
                      <a:lnTo>
                        <a:pt x="32" y="368"/>
                      </a:lnTo>
                      <a:lnTo>
                        <a:pt x="23" y="386"/>
                      </a:lnTo>
                      <a:lnTo>
                        <a:pt x="19" y="404"/>
                      </a:lnTo>
                      <a:lnTo>
                        <a:pt x="9" y="418"/>
                      </a:lnTo>
                      <a:lnTo>
                        <a:pt x="9" y="413"/>
                      </a:lnTo>
                      <a:lnTo>
                        <a:pt x="5" y="409"/>
                      </a:lnTo>
                      <a:lnTo>
                        <a:pt x="0" y="404"/>
                      </a:lnTo>
                      <a:lnTo>
                        <a:pt x="0" y="400"/>
                      </a:lnTo>
                      <a:lnTo>
                        <a:pt x="0" y="400"/>
                      </a:lnTo>
                      <a:lnTo>
                        <a:pt x="28" y="250"/>
                      </a:lnTo>
                      <a:lnTo>
                        <a:pt x="28" y="250"/>
                      </a:lnTo>
                      <a:lnTo>
                        <a:pt x="32" y="218"/>
                      </a:lnTo>
                      <a:lnTo>
                        <a:pt x="37" y="186"/>
                      </a:lnTo>
                      <a:lnTo>
                        <a:pt x="46" y="154"/>
                      </a:lnTo>
                      <a:lnTo>
                        <a:pt x="46" y="122"/>
                      </a:lnTo>
                      <a:lnTo>
                        <a:pt x="41" y="77"/>
                      </a:lnTo>
                      <a:lnTo>
                        <a:pt x="46" y="40"/>
                      </a:lnTo>
                      <a:lnTo>
                        <a:pt x="60" y="13"/>
                      </a:lnTo>
                      <a:lnTo>
                        <a:pt x="78" y="0"/>
                      </a:lnTo>
                      <a:lnTo>
                        <a:pt x="87" y="18"/>
                      </a:lnTo>
                      <a:lnTo>
                        <a:pt x="101" y="31"/>
                      </a:lnTo>
                      <a:lnTo>
                        <a:pt x="114" y="45"/>
                      </a:lnTo>
                      <a:lnTo>
                        <a:pt x="128" y="59"/>
                      </a:lnTo>
                      <a:lnTo>
                        <a:pt x="142" y="72"/>
                      </a:lnTo>
                      <a:lnTo>
                        <a:pt x="151" y="90"/>
                      </a:lnTo>
                      <a:lnTo>
                        <a:pt x="160" y="109"/>
                      </a:lnTo>
                      <a:lnTo>
                        <a:pt x="169" y="127"/>
                      </a:lnTo>
                      <a:lnTo>
                        <a:pt x="183" y="154"/>
                      </a:lnTo>
                      <a:lnTo>
                        <a:pt x="192" y="181"/>
                      </a:lnTo>
                      <a:lnTo>
                        <a:pt x="196" y="209"/>
                      </a:lnTo>
                      <a:lnTo>
                        <a:pt x="210" y="231"/>
                      </a:lnTo>
                      <a:lnTo>
                        <a:pt x="219" y="245"/>
                      </a:lnTo>
                      <a:lnTo>
                        <a:pt x="228" y="254"/>
                      </a:lnTo>
                      <a:lnTo>
                        <a:pt x="237" y="263"/>
                      </a:lnTo>
                      <a:lnTo>
                        <a:pt x="246" y="268"/>
                      </a:lnTo>
                      <a:lnTo>
                        <a:pt x="237" y="250"/>
                      </a:lnTo>
                      <a:lnTo>
                        <a:pt x="224" y="231"/>
                      </a:lnTo>
                      <a:lnTo>
                        <a:pt x="214" y="218"/>
                      </a:lnTo>
                      <a:lnTo>
                        <a:pt x="210" y="195"/>
                      </a:lnTo>
                      <a:lnTo>
                        <a:pt x="210" y="172"/>
                      </a:lnTo>
                      <a:lnTo>
                        <a:pt x="205" y="150"/>
                      </a:lnTo>
                      <a:lnTo>
                        <a:pt x="205" y="131"/>
                      </a:lnTo>
                      <a:lnTo>
                        <a:pt x="201" y="109"/>
                      </a:lnTo>
                      <a:lnTo>
                        <a:pt x="201" y="109"/>
                      </a:lnTo>
                      <a:lnTo>
                        <a:pt x="201" y="104"/>
                      </a:lnTo>
                      <a:lnTo>
                        <a:pt x="201" y="104"/>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125" name="Freeform 200">
                  <a:extLst>
                    <a:ext uri="{FF2B5EF4-FFF2-40B4-BE49-F238E27FC236}">
                      <a16:creationId xmlns="" xmlns:a16="http://schemas.microsoft.com/office/drawing/2014/main" id="{FA2FF75C-8B17-44A8-BCD3-97DCAFBF99F2}"/>
                    </a:ext>
                  </a:extLst>
                </p:cNvPr>
                <p:cNvSpPr>
                  <a:spLocks noChangeAspect="1"/>
                </p:cNvSpPr>
                <p:nvPr/>
              </p:nvSpPr>
              <p:spPr bwMode="auto">
                <a:xfrm>
                  <a:off x="1905" y="2559"/>
                  <a:ext cx="483" cy="514"/>
                </a:xfrm>
                <a:custGeom>
                  <a:avLst/>
                  <a:gdLst>
                    <a:gd name="T0" fmla="*/ 478 w 483"/>
                    <a:gd name="T1" fmla="*/ 332 h 514"/>
                    <a:gd name="T2" fmla="*/ 478 w 483"/>
                    <a:gd name="T3" fmla="*/ 345 h 514"/>
                    <a:gd name="T4" fmla="*/ 474 w 483"/>
                    <a:gd name="T5" fmla="*/ 382 h 514"/>
                    <a:gd name="T6" fmla="*/ 451 w 483"/>
                    <a:gd name="T7" fmla="*/ 423 h 514"/>
                    <a:gd name="T8" fmla="*/ 419 w 483"/>
                    <a:gd name="T9" fmla="*/ 455 h 514"/>
                    <a:gd name="T10" fmla="*/ 383 w 483"/>
                    <a:gd name="T11" fmla="*/ 482 h 514"/>
                    <a:gd name="T12" fmla="*/ 364 w 483"/>
                    <a:gd name="T13" fmla="*/ 505 h 514"/>
                    <a:gd name="T14" fmla="*/ 360 w 483"/>
                    <a:gd name="T15" fmla="*/ 509 h 514"/>
                    <a:gd name="T16" fmla="*/ 346 w 483"/>
                    <a:gd name="T17" fmla="*/ 509 h 514"/>
                    <a:gd name="T18" fmla="*/ 332 w 483"/>
                    <a:gd name="T19" fmla="*/ 495 h 514"/>
                    <a:gd name="T20" fmla="*/ 287 w 483"/>
                    <a:gd name="T21" fmla="*/ 486 h 514"/>
                    <a:gd name="T22" fmla="*/ 232 w 483"/>
                    <a:gd name="T23" fmla="*/ 459 h 514"/>
                    <a:gd name="T24" fmla="*/ 182 w 483"/>
                    <a:gd name="T25" fmla="*/ 459 h 514"/>
                    <a:gd name="T26" fmla="*/ 155 w 483"/>
                    <a:gd name="T27" fmla="*/ 468 h 514"/>
                    <a:gd name="T28" fmla="*/ 132 w 483"/>
                    <a:gd name="T29" fmla="*/ 473 h 514"/>
                    <a:gd name="T30" fmla="*/ 123 w 483"/>
                    <a:gd name="T31" fmla="*/ 464 h 514"/>
                    <a:gd name="T32" fmla="*/ 123 w 483"/>
                    <a:gd name="T33" fmla="*/ 441 h 514"/>
                    <a:gd name="T34" fmla="*/ 114 w 483"/>
                    <a:gd name="T35" fmla="*/ 427 h 514"/>
                    <a:gd name="T36" fmla="*/ 109 w 483"/>
                    <a:gd name="T37" fmla="*/ 418 h 514"/>
                    <a:gd name="T38" fmla="*/ 109 w 483"/>
                    <a:gd name="T39" fmla="*/ 400 h 514"/>
                    <a:gd name="T40" fmla="*/ 109 w 483"/>
                    <a:gd name="T41" fmla="*/ 377 h 514"/>
                    <a:gd name="T42" fmla="*/ 96 w 483"/>
                    <a:gd name="T43" fmla="*/ 377 h 514"/>
                    <a:gd name="T44" fmla="*/ 77 w 483"/>
                    <a:gd name="T45" fmla="*/ 382 h 514"/>
                    <a:gd name="T46" fmla="*/ 50 w 483"/>
                    <a:gd name="T47" fmla="*/ 395 h 514"/>
                    <a:gd name="T48" fmla="*/ 23 w 483"/>
                    <a:gd name="T49" fmla="*/ 391 h 514"/>
                    <a:gd name="T50" fmla="*/ 4 w 483"/>
                    <a:gd name="T51" fmla="*/ 373 h 514"/>
                    <a:gd name="T52" fmla="*/ 4 w 483"/>
                    <a:gd name="T53" fmla="*/ 341 h 514"/>
                    <a:gd name="T54" fmla="*/ 32 w 483"/>
                    <a:gd name="T55" fmla="*/ 309 h 514"/>
                    <a:gd name="T56" fmla="*/ 32 w 483"/>
                    <a:gd name="T57" fmla="*/ 277 h 514"/>
                    <a:gd name="T58" fmla="*/ 4 w 483"/>
                    <a:gd name="T59" fmla="*/ 268 h 514"/>
                    <a:gd name="T60" fmla="*/ 14 w 483"/>
                    <a:gd name="T61" fmla="*/ 223 h 514"/>
                    <a:gd name="T62" fmla="*/ 50 w 483"/>
                    <a:gd name="T63" fmla="*/ 209 h 514"/>
                    <a:gd name="T64" fmla="*/ 86 w 483"/>
                    <a:gd name="T65" fmla="*/ 186 h 514"/>
                    <a:gd name="T66" fmla="*/ 100 w 483"/>
                    <a:gd name="T67" fmla="*/ 159 h 514"/>
                    <a:gd name="T68" fmla="*/ 114 w 483"/>
                    <a:gd name="T69" fmla="*/ 114 h 514"/>
                    <a:gd name="T70" fmla="*/ 150 w 483"/>
                    <a:gd name="T71" fmla="*/ 91 h 514"/>
                    <a:gd name="T72" fmla="*/ 178 w 483"/>
                    <a:gd name="T73" fmla="*/ 55 h 514"/>
                    <a:gd name="T74" fmla="*/ 200 w 483"/>
                    <a:gd name="T75" fmla="*/ 14 h 514"/>
                    <a:gd name="T76" fmla="*/ 241 w 483"/>
                    <a:gd name="T77" fmla="*/ 0 h 514"/>
                    <a:gd name="T78" fmla="*/ 260 w 483"/>
                    <a:gd name="T79" fmla="*/ 5 h 514"/>
                    <a:gd name="T80" fmla="*/ 264 w 483"/>
                    <a:gd name="T81" fmla="*/ 18 h 514"/>
                    <a:gd name="T82" fmla="*/ 269 w 483"/>
                    <a:gd name="T83" fmla="*/ 32 h 514"/>
                    <a:gd name="T84" fmla="*/ 278 w 483"/>
                    <a:gd name="T85" fmla="*/ 45 h 514"/>
                    <a:gd name="T86" fmla="*/ 310 w 483"/>
                    <a:gd name="T87" fmla="*/ 50 h 514"/>
                    <a:gd name="T88" fmla="*/ 355 w 483"/>
                    <a:gd name="T89" fmla="*/ 73 h 514"/>
                    <a:gd name="T90" fmla="*/ 405 w 483"/>
                    <a:gd name="T91" fmla="*/ 114 h 514"/>
                    <a:gd name="T92" fmla="*/ 433 w 483"/>
                    <a:gd name="T93" fmla="*/ 127 h 514"/>
                    <a:gd name="T94" fmla="*/ 483 w 483"/>
                    <a:gd name="T95" fmla="*/ 32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3" h="514">
                      <a:moveTo>
                        <a:pt x="483" y="323"/>
                      </a:moveTo>
                      <a:lnTo>
                        <a:pt x="478" y="332"/>
                      </a:lnTo>
                      <a:lnTo>
                        <a:pt x="478" y="336"/>
                      </a:lnTo>
                      <a:lnTo>
                        <a:pt x="478" y="345"/>
                      </a:lnTo>
                      <a:lnTo>
                        <a:pt x="478" y="355"/>
                      </a:lnTo>
                      <a:lnTo>
                        <a:pt x="474" y="382"/>
                      </a:lnTo>
                      <a:lnTo>
                        <a:pt x="465" y="405"/>
                      </a:lnTo>
                      <a:lnTo>
                        <a:pt x="451" y="423"/>
                      </a:lnTo>
                      <a:lnTo>
                        <a:pt x="437" y="441"/>
                      </a:lnTo>
                      <a:lnTo>
                        <a:pt x="419" y="455"/>
                      </a:lnTo>
                      <a:lnTo>
                        <a:pt x="401" y="468"/>
                      </a:lnTo>
                      <a:lnTo>
                        <a:pt x="383" y="482"/>
                      </a:lnTo>
                      <a:lnTo>
                        <a:pt x="369" y="500"/>
                      </a:lnTo>
                      <a:lnTo>
                        <a:pt x="364" y="505"/>
                      </a:lnTo>
                      <a:lnTo>
                        <a:pt x="364" y="505"/>
                      </a:lnTo>
                      <a:lnTo>
                        <a:pt x="360" y="509"/>
                      </a:lnTo>
                      <a:lnTo>
                        <a:pt x="355" y="514"/>
                      </a:lnTo>
                      <a:lnTo>
                        <a:pt x="346" y="509"/>
                      </a:lnTo>
                      <a:lnTo>
                        <a:pt x="337" y="500"/>
                      </a:lnTo>
                      <a:lnTo>
                        <a:pt x="332" y="495"/>
                      </a:lnTo>
                      <a:lnTo>
                        <a:pt x="319" y="491"/>
                      </a:lnTo>
                      <a:lnTo>
                        <a:pt x="287" y="486"/>
                      </a:lnTo>
                      <a:lnTo>
                        <a:pt x="260" y="473"/>
                      </a:lnTo>
                      <a:lnTo>
                        <a:pt x="232" y="459"/>
                      </a:lnTo>
                      <a:lnTo>
                        <a:pt x="200" y="455"/>
                      </a:lnTo>
                      <a:lnTo>
                        <a:pt x="182" y="459"/>
                      </a:lnTo>
                      <a:lnTo>
                        <a:pt x="168" y="464"/>
                      </a:lnTo>
                      <a:lnTo>
                        <a:pt x="155" y="468"/>
                      </a:lnTo>
                      <a:lnTo>
                        <a:pt x="137" y="473"/>
                      </a:lnTo>
                      <a:lnTo>
                        <a:pt x="132" y="473"/>
                      </a:lnTo>
                      <a:lnTo>
                        <a:pt x="127" y="468"/>
                      </a:lnTo>
                      <a:lnTo>
                        <a:pt x="123" y="464"/>
                      </a:lnTo>
                      <a:lnTo>
                        <a:pt x="123" y="455"/>
                      </a:lnTo>
                      <a:lnTo>
                        <a:pt x="123" y="441"/>
                      </a:lnTo>
                      <a:lnTo>
                        <a:pt x="118" y="432"/>
                      </a:lnTo>
                      <a:lnTo>
                        <a:pt x="114" y="427"/>
                      </a:lnTo>
                      <a:lnTo>
                        <a:pt x="109" y="427"/>
                      </a:lnTo>
                      <a:lnTo>
                        <a:pt x="109" y="418"/>
                      </a:lnTo>
                      <a:lnTo>
                        <a:pt x="109" y="409"/>
                      </a:lnTo>
                      <a:lnTo>
                        <a:pt x="109" y="400"/>
                      </a:lnTo>
                      <a:lnTo>
                        <a:pt x="109" y="391"/>
                      </a:lnTo>
                      <a:lnTo>
                        <a:pt x="109" y="377"/>
                      </a:lnTo>
                      <a:lnTo>
                        <a:pt x="105" y="373"/>
                      </a:lnTo>
                      <a:lnTo>
                        <a:pt x="96" y="377"/>
                      </a:lnTo>
                      <a:lnTo>
                        <a:pt x="86" y="377"/>
                      </a:lnTo>
                      <a:lnTo>
                        <a:pt x="77" y="382"/>
                      </a:lnTo>
                      <a:lnTo>
                        <a:pt x="64" y="391"/>
                      </a:lnTo>
                      <a:lnTo>
                        <a:pt x="50" y="395"/>
                      </a:lnTo>
                      <a:lnTo>
                        <a:pt x="36" y="395"/>
                      </a:lnTo>
                      <a:lnTo>
                        <a:pt x="23" y="391"/>
                      </a:lnTo>
                      <a:lnTo>
                        <a:pt x="9" y="386"/>
                      </a:lnTo>
                      <a:lnTo>
                        <a:pt x="4" y="373"/>
                      </a:lnTo>
                      <a:lnTo>
                        <a:pt x="0" y="359"/>
                      </a:lnTo>
                      <a:lnTo>
                        <a:pt x="4" y="341"/>
                      </a:lnTo>
                      <a:lnTo>
                        <a:pt x="18" y="323"/>
                      </a:lnTo>
                      <a:lnTo>
                        <a:pt x="32" y="309"/>
                      </a:lnTo>
                      <a:lnTo>
                        <a:pt x="36" y="291"/>
                      </a:lnTo>
                      <a:lnTo>
                        <a:pt x="32" y="277"/>
                      </a:lnTo>
                      <a:lnTo>
                        <a:pt x="18" y="273"/>
                      </a:lnTo>
                      <a:lnTo>
                        <a:pt x="4" y="268"/>
                      </a:lnTo>
                      <a:lnTo>
                        <a:pt x="0" y="259"/>
                      </a:lnTo>
                      <a:lnTo>
                        <a:pt x="14" y="223"/>
                      </a:lnTo>
                      <a:lnTo>
                        <a:pt x="32" y="214"/>
                      </a:lnTo>
                      <a:lnTo>
                        <a:pt x="50" y="209"/>
                      </a:lnTo>
                      <a:lnTo>
                        <a:pt x="73" y="200"/>
                      </a:lnTo>
                      <a:lnTo>
                        <a:pt x="86" y="186"/>
                      </a:lnTo>
                      <a:lnTo>
                        <a:pt x="91" y="173"/>
                      </a:lnTo>
                      <a:lnTo>
                        <a:pt x="100" y="159"/>
                      </a:lnTo>
                      <a:lnTo>
                        <a:pt x="105" y="141"/>
                      </a:lnTo>
                      <a:lnTo>
                        <a:pt x="114" y="114"/>
                      </a:lnTo>
                      <a:lnTo>
                        <a:pt x="132" y="100"/>
                      </a:lnTo>
                      <a:lnTo>
                        <a:pt x="150" y="91"/>
                      </a:lnTo>
                      <a:lnTo>
                        <a:pt x="164" y="77"/>
                      </a:lnTo>
                      <a:lnTo>
                        <a:pt x="178" y="55"/>
                      </a:lnTo>
                      <a:lnTo>
                        <a:pt x="187" y="32"/>
                      </a:lnTo>
                      <a:lnTo>
                        <a:pt x="200" y="14"/>
                      </a:lnTo>
                      <a:lnTo>
                        <a:pt x="232" y="0"/>
                      </a:lnTo>
                      <a:lnTo>
                        <a:pt x="241" y="0"/>
                      </a:lnTo>
                      <a:lnTo>
                        <a:pt x="250" y="5"/>
                      </a:lnTo>
                      <a:lnTo>
                        <a:pt x="260" y="5"/>
                      </a:lnTo>
                      <a:lnTo>
                        <a:pt x="264" y="9"/>
                      </a:lnTo>
                      <a:lnTo>
                        <a:pt x="264" y="18"/>
                      </a:lnTo>
                      <a:lnTo>
                        <a:pt x="269" y="23"/>
                      </a:lnTo>
                      <a:lnTo>
                        <a:pt x="269" y="32"/>
                      </a:lnTo>
                      <a:lnTo>
                        <a:pt x="269" y="36"/>
                      </a:lnTo>
                      <a:lnTo>
                        <a:pt x="278" y="45"/>
                      </a:lnTo>
                      <a:lnTo>
                        <a:pt x="291" y="45"/>
                      </a:lnTo>
                      <a:lnTo>
                        <a:pt x="310" y="50"/>
                      </a:lnTo>
                      <a:lnTo>
                        <a:pt x="328" y="59"/>
                      </a:lnTo>
                      <a:lnTo>
                        <a:pt x="355" y="73"/>
                      </a:lnTo>
                      <a:lnTo>
                        <a:pt x="383" y="95"/>
                      </a:lnTo>
                      <a:lnTo>
                        <a:pt x="405" y="114"/>
                      </a:lnTo>
                      <a:lnTo>
                        <a:pt x="433" y="127"/>
                      </a:lnTo>
                      <a:lnTo>
                        <a:pt x="433" y="127"/>
                      </a:lnTo>
                      <a:lnTo>
                        <a:pt x="483" y="323"/>
                      </a:lnTo>
                      <a:lnTo>
                        <a:pt x="483" y="323"/>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grpSp>
          <p:grpSp>
            <p:nvGrpSpPr>
              <p:cNvPr id="112" name="Group 201">
                <a:extLst>
                  <a:ext uri="{FF2B5EF4-FFF2-40B4-BE49-F238E27FC236}">
                    <a16:creationId xmlns="" xmlns:a16="http://schemas.microsoft.com/office/drawing/2014/main" id="{9474709E-79C2-42A4-9099-C247B6BDDB1C}"/>
                  </a:ext>
                </a:extLst>
              </p:cNvPr>
              <p:cNvGrpSpPr>
                <a:grpSpLocks noChangeAspect="1"/>
              </p:cNvGrpSpPr>
              <p:nvPr/>
            </p:nvGrpSpPr>
            <p:grpSpPr bwMode="auto">
              <a:xfrm>
                <a:off x="2981" y="2919"/>
                <a:ext cx="913" cy="882"/>
                <a:chOff x="1786" y="2877"/>
                <a:chExt cx="1258" cy="1123"/>
              </a:xfrm>
              <a:grpFill/>
            </p:grpSpPr>
            <p:sp>
              <p:nvSpPr>
                <p:cNvPr id="113" name="Freeform 202">
                  <a:extLst>
                    <a:ext uri="{FF2B5EF4-FFF2-40B4-BE49-F238E27FC236}">
                      <a16:creationId xmlns="" xmlns:a16="http://schemas.microsoft.com/office/drawing/2014/main" id="{6426750F-F293-4E95-9291-28C90F7ABEED}"/>
                    </a:ext>
                  </a:extLst>
                </p:cNvPr>
                <p:cNvSpPr>
                  <a:spLocks noChangeAspect="1"/>
                </p:cNvSpPr>
                <p:nvPr/>
              </p:nvSpPr>
              <p:spPr bwMode="auto">
                <a:xfrm>
                  <a:off x="1814" y="3309"/>
                  <a:ext cx="483" cy="355"/>
                </a:xfrm>
                <a:custGeom>
                  <a:avLst/>
                  <a:gdLst>
                    <a:gd name="T0" fmla="*/ 355 w 483"/>
                    <a:gd name="T1" fmla="*/ 14 h 355"/>
                    <a:gd name="T2" fmla="*/ 369 w 483"/>
                    <a:gd name="T3" fmla="*/ 23 h 355"/>
                    <a:gd name="T4" fmla="*/ 369 w 483"/>
                    <a:gd name="T5" fmla="*/ 41 h 355"/>
                    <a:gd name="T6" fmla="*/ 369 w 483"/>
                    <a:gd name="T7" fmla="*/ 50 h 355"/>
                    <a:gd name="T8" fmla="*/ 369 w 483"/>
                    <a:gd name="T9" fmla="*/ 68 h 355"/>
                    <a:gd name="T10" fmla="*/ 382 w 483"/>
                    <a:gd name="T11" fmla="*/ 82 h 355"/>
                    <a:gd name="T12" fmla="*/ 392 w 483"/>
                    <a:gd name="T13" fmla="*/ 109 h 355"/>
                    <a:gd name="T14" fmla="*/ 410 w 483"/>
                    <a:gd name="T15" fmla="*/ 136 h 355"/>
                    <a:gd name="T16" fmla="*/ 433 w 483"/>
                    <a:gd name="T17" fmla="*/ 164 h 355"/>
                    <a:gd name="T18" fmla="*/ 474 w 483"/>
                    <a:gd name="T19" fmla="*/ 200 h 355"/>
                    <a:gd name="T20" fmla="*/ 478 w 483"/>
                    <a:gd name="T21" fmla="*/ 232 h 355"/>
                    <a:gd name="T22" fmla="*/ 446 w 483"/>
                    <a:gd name="T23" fmla="*/ 255 h 355"/>
                    <a:gd name="T24" fmla="*/ 428 w 483"/>
                    <a:gd name="T25" fmla="*/ 282 h 355"/>
                    <a:gd name="T26" fmla="*/ 419 w 483"/>
                    <a:gd name="T27" fmla="*/ 318 h 355"/>
                    <a:gd name="T28" fmla="*/ 382 w 483"/>
                    <a:gd name="T29" fmla="*/ 318 h 355"/>
                    <a:gd name="T30" fmla="*/ 364 w 483"/>
                    <a:gd name="T31" fmla="*/ 300 h 355"/>
                    <a:gd name="T32" fmla="*/ 341 w 483"/>
                    <a:gd name="T33" fmla="*/ 295 h 355"/>
                    <a:gd name="T34" fmla="*/ 328 w 483"/>
                    <a:gd name="T35" fmla="*/ 305 h 355"/>
                    <a:gd name="T36" fmla="*/ 305 w 483"/>
                    <a:gd name="T37" fmla="*/ 314 h 355"/>
                    <a:gd name="T38" fmla="*/ 278 w 483"/>
                    <a:gd name="T39" fmla="*/ 341 h 355"/>
                    <a:gd name="T40" fmla="*/ 237 w 483"/>
                    <a:gd name="T41" fmla="*/ 345 h 355"/>
                    <a:gd name="T42" fmla="*/ 168 w 483"/>
                    <a:gd name="T43" fmla="*/ 323 h 355"/>
                    <a:gd name="T44" fmla="*/ 141 w 483"/>
                    <a:gd name="T45" fmla="*/ 291 h 355"/>
                    <a:gd name="T46" fmla="*/ 136 w 483"/>
                    <a:gd name="T47" fmla="*/ 268 h 355"/>
                    <a:gd name="T48" fmla="*/ 123 w 483"/>
                    <a:gd name="T49" fmla="*/ 245 h 355"/>
                    <a:gd name="T50" fmla="*/ 82 w 483"/>
                    <a:gd name="T51" fmla="*/ 214 h 355"/>
                    <a:gd name="T52" fmla="*/ 50 w 483"/>
                    <a:gd name="T53" fmla="*/ 209 h 355"/>
                    <a:gd name="T54" fmla="*/ 32 w 483"/>
                    <a:gd name="T55" fmla="*/ 218 h 355"/>
                    <a:gd name="T56" fmla="*/ 13 w 483"/>
                    <a:gd name="T57" fmla="*/ 218 h 355"/>
                    <a:gd name="T58" fmla="*/ 4 w 483"/>
                    <a:gd name="T59" fmla="*/ 209 h 355"/>
                    <a:gd name="T60" fmla="*/ 4 w 483"/>
                    <a:gd name="T61" fmla="*/ 168 h 355"/>
                    <a:gd name="T62" fmla="*/ 23 w 483"/>
                    <a:gd name="T63" fmla="*/ 109 h 355"/>
                    <a:gd name="T64" fmla="*/ 27 w 483"/>
                    <a:gd name="T65" fmla="*/ 68 h 355"/>
                    <a:gd name="T66" fmla="*/ 27 w 483"/>
                    <a:gd name="T67" fmla="*/ 55 h 355"/>
                    <a:gd name="T68" fmla="*/ 41 w 483"/>
                    <a:gd name="T69" fmla="*/ 41 h 355"/>
                    <a:gd name="T70" fmla="*/ 50 w 483"/>
                    <a:gd name="T71" fmla="*/ 36 h 355"/>
                    <a:gd name="T72" fmla="*/ 68 w 483"/>
                    <a:gd name="T73" fmla="*/ 41 h 355"/>
                    <a:gd name="T74" fmla="*/ 86 w 483"/>
                    <a:gd name="T75" fmla="*/ 55 h 355"/>
                    <a:gd name="T76" fmla="*/ 105 w 483"/>
                    <a:gd name="T77" fmla="*/ 55 h 355"/>
                    <a:gd name="T78" fmla="*/ 118 w 483"/>
                    <a:gd name="T79" fmla="*/ 41 h 355"/>
                    <a:gd name="T80" fmla="*/ 123 w 483"/>
                    <a:gd name="T81" fmla="*/ 32 h 355"/>
                    <a:gd name="T82" fmla="*/ 136 w 483"/>
                    <a:gd name="T83" fmla="*/ 32 h 355"/>
                    <a:gd name="T84" fmla="*/ 177 w 483"/>
                    <a:gd name="T85" fmla="*/ 27 h 355"/>
                    <a:gd name="T86" fmla="*/ 223 w 483"/>
                    <a:gd name="T87" fmla="*/ 5 h 355"/>
                    <a:gd name="T88" fmla="*/ 273 w 483"/>
                    <a:gd name="T89" fmla="*/ 0 h 355"/>
                    <a:gd name="T90" fmla="*/ 305 w 483"/>
                    <a:gd name="T91" fmla="*/ 14 h 355"/>
                    <a:gd name="T92" fmla="*/ 332 w 483"/>
                    <a:gd name="T93" fmla="*/ 14 h 355"/>
                    <a:gd name="T94" fmla="*/ 337 w 483"/>
                    <a:gd name="T95" fmla="*/ 9 h 355"/>
                    <a:gd name="T96" fmla="*/ 341 w 483"/>
                    <a:gd name="T97" fmla="*/ 9 h 355"/>
                    <a:gd name="T98" fmla="*/ 346 w 483"/>
                    <a:gd name="T99" fmla="*/ 9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3" h="355">
                      <a:moveTo>
                        <a:pt x="346" y="9"/>
                      </a:moveTo>
                      <a:lnTo>
                        <a:pt x="355" y="14"/>
                      </a:lnTo>
                      <a:lnTo>
                        <a:pt x="360" y="18"/>
                      </a:lnTo>
                      <a:lnTo>
                        <a:pt x="369" y="23"/>
                      </a:lnTo>
                      <a:lnTo>
                        <a:pt x="369" y="32"/>
                      </a:lnTo>
                      <a:lnTo>
                        <a:pt x="369" y="41"/>
                      </a:lnTo>
                      <a:lnTo>
                        <a:pt x="369" y="45"/>
                      </a:lnTo>
                      <a:lnTo>
                        <a:pt x="369" y="50"/>
                      </a:lnTo>
                      <a:lnTo>
                        <a:pt x="369" y="55"/>
                      </a:lnTo>
                      <a:lnTo>
                        <a:pt x="369" y="68"/>
                      </a:lnTo>
                      <a:lnTo>
                        <a:pt x="378" y="73"/>
                      </a:lnTo>
                      <a:lnTo>
                        <a:pt x="382" y="82"/>
                      </a:lnTo>
                      <a:lnTo>
                        <a:pt x="387" y="91"/>
                      </a:lnTo>
                      <a:lnTo>
                        <a:pt x="392" y="109"/>
                      </a:lnTo>
                      <a:lnTo>
                        <a:pt x="401" y="123"/>
                      </a:lnTo>
                      <a:lnTo>
                        <a:pt x="410" y="136"/>
                      </a:lnTo>
                      <a:lnTo>
                        <a:pt x="423" y="141"/>
                      </a:lnTo>
                      <a:lnTo>
                        <a:pt x="433" y="164"/>
                      </a:lnTo>
                      <a:lnTo>
                        <a:pt x="455" y="182"/>
                      </a:lnTo>
                      <a:lnTo>
                        <a:pt x="474" y="200"/>
                      </a:lnTo>
                      <a:lnTo>
                        <a:pt x="483" y="223"/>
                      </a:lnTo>
                      <a:lnTo>
                        <a:pt x="478" y="232"/>
                      </a:lnTo>
                      <a:lnTo>
                        <a:pt x="460" y="241"/>
                      </a:lnTo>
                      <a:lnTo>
                        <a:pt x="446" y="255"/>
                      </a:lnTo>
                      <a:lnTo>
                        <a:pt x="433" y="264"/>
                      </a:lnTo>
                      <a:lnTo>
                        <a:pt x="428" y="282"/>
                      </a:lnTo>
                      <a:lnTo>
                        <a:pt x="423" y="300"/>
                      </a:lnTo>
                      <a:lnTo>
                        <a:pt x="419" y="318"/>
                      </a:lnTo>
                      <a:lnTo>
                        <a:pt x="401" y="323"/>
                      </a:lnTo>
                      <a:lnTo>
                        <a:pt x="382" y="318"/>
                      </a:lnTo>
                      <a:lnTo>
                        <a:pt x="373" y="309"/>
                      </a:lnTo>
                      <a:lnTo>
                        <a:pt x="364" y="300"/>
                      </a:lnTo>
                      <a:lnTo>
                        <a:pt x="351" y="295"/>
                      </a:lnTo>
                      <a:lnTo>
                        <a:pt x="341" y="295"/>
                      </a:lnTo>
                      <a:lnTo>
                        <a:pt x="332" y="300"/>
                      </a:lnTo>
                      <a:lnTo>
                        <a:pt x="328" y="305"/>
                      </a:lnTo>
                      <a:lnTo>
                        <a:pt x="323" y="305"/>
                      </a:lnTo>
                      <a:lnTo>
                        <a:pt x="305" y="314"/>
                      </a:lnTo>
                      <a:lnTo>
                        <a:pt x="291" y="327"/>
                      </a:lnTo>
                      <a:lnTo>
                        <a:pt x="278" y="341"/>
                      </a:lnTo>
                      <a:lnTo>
                        <a:pt x="269" y="355"/>
                      </a:lnTo>
                      <a:lnTo>
                        <a:pt x="237" y="345"/>
                      </a:lnTo>
                      <a:lnTo>
                        <a:pt x="200" y="336"/>
                      </a:lnTo>
                      <a:lnTo>
                        <a:pt x="168" y="323"/>
                      </a:lnTo>
                      <a:lnTo>
                        <a:pt x="146" y="300"/>
                      </a:lnTo>
                      <a:lnTo>
                        <a:pt x="141" y="291"/>
                      </a:lnTo>
                      <a:lnTo>
                        <a:pt x="141" y="277"/>
                      </a:lnTo>
                      <a:lnTo>
                        <a:pt x="136" y="268"/>
                      </a:lnTo>
                      <a:lnTo>
                        <a:pt x="132" y="259"/>
                      </a:lnTo>
                      <a:lnTo>
                        <a:pt x="123" y="245"/>
                      </a:lnTo>
                      <a:lnTo>
                        <a:pt x="105" y="227"/>
                      </a:lnTo>
                      <a:lnTo>
                        <a:pt x="82" y="214"/>
                      </a:lnTo>
                      <a:lnTo>
                        <a:pt x="59" y="209"/>
                      </a:lnTo>
                      <a:lnTo>
                        <a:pt x="50" y="209"/>
                      </a:lnTo>
                      <a:lnTo>
                        <a:pt x="41" y="214"/>
                      </a:lnTo>
                      <a:lnTo>
                        <a:pt x="32" y="218"/>
                      </a:lnTo>
                      <a:lnTo>
                        <a:pt x="23" y="218"/>
                      </a:lnTo>
                      <a:lnTo>
                        <a:pt x="13" y="218"/>
                      </a:lnTo>
                      <a:lnTo>
                        <a:pt x="9" y="214"/>
                      </a:lnTo>
                      <a:lnTo>
                        <a:pt x="4" y="209"/>
                      </a:lnTo>
                      <a:lnTo>
                        <a:pt x="0" y="200"/>
                      </a:lnTo>
                      <a:lnTo>
                        <a:pt x="4" y="168"/>
                      </a:lnTo>
                      <a:lnTo>
                        <a:pt x="13" y="141"/>
                      </a:lnTo>
                      <a:lnTo>
                        <a:pt x="23" y="109"/>
                      </a:lnTo>
                      <a:lnTo>
                        <a:pt x="27" y="77"/>
                      </a:lnTo>
                      <a:lnTo>
                        <a:pt x="27" y="68"/>
                      </a:lnTo>
                      <a:lnTo>
                        <a:pt x="27" y="59"/>
                      </a:lnTo>
                      <a:lnTo>
                        <a:pt x="27" y="55"/>
                      </a:lnTo>
                      <a:lnTo>
                        <a:pt x="36" y="45"/>
                      </a:lnTo>
                      <a:lnTo>
                        <a:pt x="41" y="41"/>
                      </a:lnTo>
                      <a:lnTo>
                        <a:pt x="45" y="41"/>
                      </a:lnTo>
                      <a:lnTo>
                        <a:pt x="50" y="36"/>
                      </a:lnTo>
                      <a:lnTo>
                        <a:pt x="59" y="36"/>
                      </a:lnTo>
                      <a:lnTo>
                        <a:pt x="68" y="41"/>
                      </a:lnTo>
                      <a:lnTo>
                        <a:pt x="77" y="45"/>
                      </a:lnTo>
                      <a:lnTo>
                        <a:pt x="86" y="55"/>
                      </a:lnTo>
                      <a:lnTo>
                        <a:pt x="95" y="59"/>
                      </a:lnTo>
                      <a:lnTo>
                        <a:pt x="105" y="55"/>
                      </a:lnTo>
                      <a:lnTo>
                        <a:pt x="114" y="50"/>
                      </a:lnTo>
                      <a:lnTo>
                        <a:pt x="118" y="41"/>
                      </a:lnTo>
                      <a:lnTo>
                        <a:pt x="118" y="32"/>
                      </a:lnTo>
                      <a:lnTo>
                        <a:pt x="123" y="32"/>
                      </a:lnTo>
                      <a:lnTo>
                        <a:pt x="127" y="32"/>
                      </a:lnTo>
                      <a:lnTo>
                        <a:pt x="136" y="32"/>
                      </a:lnTo>
                      <a:lnTo>
                        <a:pt x="146" y="32"/>
                      </a:lnTo>
                      <a:lnTo>
                        <a:pt x="177" y="27"/>
                      </a:lnTo>
                      <a:lnTo>
                        <a:pt x="200" y="14"/>
                      </a:lnTo>
                      <a:lnTo>
                        <a:pt x="223" y="5"/>
                      </a:lnTo>
                      <a:lnTo>
                        <a:pt x="255" y="0"/>
                      </a:lnTo>
                      <a:lnTo>
                        <a:pt x="273" y="0"/>
                      </a:lnTo>
                      <a:lnTo>
                        <a:pt x="291" y="5"/>
                      </a:lnTo>
                      <a:lnTo>
                        <a:pt x="305" y="14"/>
                      </a:lnTo>
                      <a:lnTo>
                        <a:pt x="323" y="14"/>
                      </a:lnTo>
                      <a:lnTo>
                        <a:pt x="332" y="14"/>
                      </a:lnTo>
                      <a:lnTo>
                        <a:pt x="337" y="9"/>
                      </a:lnTo>
                      <a:lnTo>
                        <a:pt x="337" y="9"/>
                      </a:lnTo>
                      <a:lnTo>
                        <a:pt x="341" y="9"/>
                      </a:lnTo>
                      <a:lnTo>
                        <a:pt x="341" y="9"/>
                      </a:lnTo>
                      <a:lnTo>
                        <a:pt x="346" y="9"/>
                      </a:lnTo>
                      <a:lnTo>
                        <a:pt x="346" y="9"/>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114" name="Freeform 203">
                  <a:extLst>
                    <a:ext uri="{FF2B5EF4-FFF2-40B4-BE49-F238E27FC236}">
                      <a16:creationId xmlns="" xmlns:a16="http://schemas.microsoft.com/office/drawing/2014/main" id="{28AAEFF1-FE4D-438B-B78C-575A0111B9E6}"/>
                    </a:ext>
                  </a:extLst>
                </p:cNvPr>
                <p:cNvSpPr>
                  <a:spLocks noChangeAspect="1"/>
                </p:cNvSpPr>
                <p:nvPr/>
              </p:nvSpPr>
              <p:spPr bwMode="auto">
                <a:xfrm>
                  <a:off x="1786" y="3518"/>
                  <a:ext cx="333" cy="423"/>
                </a:xfrm>
                <a:custGeom>
                  <a:avLst/>
                  <a:gdLst>
                    <a:gd name="T0" fmla="*/ 265 w 333"/>
                    <a:gd name="T1" fmla="*/ 414 h 423"/>
                    <a:gd name="T2" fmla="*/ 265 w 333"/>
                    <a:gd name="T3" fmla="*/ 405 h 423"/>
                    <a:gd name="T4" fmla="*/ 265 w 333"/>
                    <a:gd name="T5" fmla="*/ 377 h 423"/>
                    <a:gd name="T6" fmla="*/ 278 w 333"/>
                    <a:gd name="T7" fmla="*/ 341 h 423"/>
                    <a:gd name="T8" fmla="*/ 306 w 333"/>
                    <a:gd name="T9" fmla="*/ 323 h 423"/>
                    <a:gd name="T10" fmla="*/ 328 w 333"/>
                    <a:gd name="T11" fmla="*/ 309 h 423"/>
                    <a:gd name="T12" fmla="*/ 328 w 333"/>
                    <a:gd name="T13" fmla="*/ 291 h 423"/>
                    <a:gd name="T14" fmla="*/ 310 w 333"/>
                    <a:gd name="T15" fmla="*/ 246 h 423"/>
                    <a:gd name="T16" fmla="*/ 292 w 333"/>
                    <a:gd name="T17" fmla="*/ 232 h 423"/>
                    <a:gd name="T18" fmla="*/ 274 w 333"/>
                    <a:gd name="T19" fmla="*/ 223 h 423"/>
                    <a:gd name="T20" fmla="*/ 274 w 333"/>
                    <a:gd name="T21" fmla="*/ 191 h 423"/>
                    <a:gd name="T22" fmla="*/ 287 w 333"/>
                    <a:gd name="T23" fmla="*/ 164 h 423"/>
                    <a:gd name="T24" fmla="*/ 265 w 333"/>
                    <a:gd name="T25" fmla="*/ 136 h 423"/>
                    <a:gd name="T26" fmla="*/ 196 w 333"/>
                    <a:gd name="T27" fmla="*/ 114 h 423"/>
                    <a:gd name="T28" fmla="*/ 169 w 333"/>
                    <a:gd name="T29" fmla="*/ 82 h 423"/>
                    <a:gd name="T30" fmla="*/ 164 w 333"/>
                    <a:gd name="T31" fmla="*/ 59 h 423"/>
                    <a:gd name="T32" fmla="*/ 151 w 333"/>
                    <a:gd name="T33" fmla="*/ 36 h 423"/>
                    <a:gd name="T34" fmla="*/ 110 w 333"/>
                    <a:gd name="T35" fmla="*/ 5 h 423"/>
                    <a:gd name="T36" fmla="*/ 87 w 333"/>
                    <a:gd name="T37" fmla="*/ 9 h 423"/>
                    <a:gd name="T38" fmla="*/ 87 w 333"/>
                    <a:gd name="T39" fmla="*/ 14 h 423"/>
                    <a:gd name="T40" fmla="*/ 92 w 333"/>
                    <a:gd name="T41" fmla="*/ 36 h 423"/>
                    <a:gd name="T42" fmla="*/ 114 w 333"/>
                    <a:gd name="T43" fmla="*/ 73 h 423"/>
                    <a:gd name="T44" fmla="*/ 119 w 333"/>
                    <a:gd name="T45" fmla="*/ 109 h 423"/>
                    <a:gd name="T46" fmla="*/ 105 w 333"/>
                    <a:gd name="T47" fmla="*/ 127 h 423"/>
                    <a:gd name="T48" fmla="*/ 82 w 333"/>
                    <a:gd name="T49" fmla="*/ 155 h 423"/>
                    <a:gd name="T50" fmla="*/ 73 w 333"/>
                    <a:gd name="T51" fmla="*/ 196 h 423"/>
                    <a:gd name="T52" fmla="*/ 46 w 333"/>
                    <a:gd name="T53" fmla="*/ 241 h 423"/>
                    <a:gd name="T54" fmla="*/ 5 w 333"/>
                    <a:gd name="T55" fmla="*/ 300 h 423"/>
                    <a:gd name="T56" fmla="*/ 0 w 333"/>
                    <a:gd name="T57" fmla="*/ 341 h 423"/>
                    <a:gd name="T58" fmla="*/ 0 w 333"/>
                    <a:gd name="T59" fmla="*/ 350 h 423"/>
                    <a:gd name="T60" fmla="*/ 5 w 333"/>
                    <a:gd name="T61" fmla="*/ 350 h 423"/>
                    <a:gd name="T62" fmla="*/ 10 w 333"/>
                    <a:gd name="T63" fmla="*/ 350 h 423"/>
                    <a:gd name="T64" fmla="*/ 51 w 333"/>
                    <a:gd name="T65" fmla="*/ 359 h 423"/>
                    <a:gd name="T66" fmla="*/ 105 w 333"/>
                    <a:gd name="T67" fmla="*/ 405 h 423"/>
                    <a:gd name="T68" fmla="*/ 151 w 333"/>
                    <a:gd name="T69" fmla="*/ 414 h 423"/>
                    <a:gd name="T70" fmla="*/ 169 w 333"/>
                    <a:gd name="T71" fmla="*/ 405 h 423"/>
                    <a:gd name="T72" fmla="*/ 201 w 333"/>
                    <a:gd name="T73" fmla="*/ 409 h 423"/>
                    <a:gd name="T74" fmla="*/ 224 w 333"/>
                    <a:gd name="T75" fmla="*/ 418 h 423"/>
                    <a:gd name="T76" fmla="*/ 246 w 333"/>
                    <a:gd name="T77" fmla="*/ 423 h 423"/>
                    <a:gd name="T78" fmla="*/ 260 w 333"/>
                    <a:gd name="T79" fmla="*/ 418 h 423"/>
                    <a:gd name="T80" fmla="*/ 265 w 333"/>
                    <a:gd name="T81" fmla="*/ 414 h 423"/>
                    <a:gd name="T82" fmla="*/ 265 w 333"/>
                    <a:gd name="T83" fmla="*/ 414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3" h="423">
                      <a:moveTo>
                        <a:pt x="265" y="414"/>
                      </a:moveTo>
                      <a:lnTo>
                        <a:pt x="265" y="414"/>
                      </a:lnTo>
                      <a:lnTo>
                        <a:pt x="265" y="409"/>
                      </a:lnTo>
                      <a:lnTo>
                        <a:pt x="265" y="405"/>
                      </a:lnTo>
                      <a:lnTo>
                        <a:pt x="265" y="400"/>
                      </a:lnTo>
                      <a:lnTo>
                        <a:pt x="265" y="377"/>
                      </a:lnTo>
                      <a:lnTo>
                        <a:pt x="269" y="355"/>
                      </a:lnTo>
                      <a:lnTo>
                        <a:pt x="278" y="341"/>
                      </a:lnTo>
                      <a:lnTo>
                        <a:pt x="297" y="327"/>
                      </a:lnTo>
                      <a:lnTo>
                        <a:pt x="306" y="323"/>
                      </a:lnTo>
                      <a:lnTo>
                        <a:pt x="315" y="314"/>
                      </a:lnTo>
                      <a:lnTo>
                        <a:pt x="328" y="309"/>
                      </a:lnTo>
                      <a:lnTo>
                        <a:pt x="333" y="305"/>
                      </a:lnTo>
                      <a:lnTo>
                        <a:pt x="328" y="291"/>
                      </a:lnTo>
                      <a:lnTo>
                        <a:pt x="319" y="268"/>
                      </a:lnTo>
                      <a:lnTo>
                        <a:pt x="310" y="246"/>
                      </a:lnTo>
                      <a:lnTo>
                        <a:pt x="306" y="236"/>
                      </a:lnTo>
                      <a:lnTo>
                        <a:pt x="292" y="232"/>
                      </a:lnTo>
                      <a:lnTo>
                        <a:pt x="283" y="227"/>
                      </a:lnTo>
                      <a:lnTo>
                        <a:pt x="274" y="223"/>
                      </a:lnTo>
                      <a:lnTo>
                        <a:pt x="274" y="205"/>
                      </a:lnTo>
                      <a:lnTo>
                        <a:pt x="274" y="191"/>
                      </a:lnTo>
                      <a:lnTo>
                        <a:pt x="278" y="177"/>
                      </a:lnTo>
                      <a:lnTo>
                        <a:pt x="287" y="164"/>
                      </a:lnTo>
                      <a:lnTo>
                        <a:pt x="297" y="146"/>
                      </a:lnTo>
                      <a:lnTo>
                        <a:pt x="265" y="136"/>
                      </a:lnTo>
                      <a:lnTo>
                        <a:pt x="228" y="127"/>
                      </a:lnTo>
                      <a:lnTo>
                        <a:pt x="196" y="114"/>
                      </a:lnTo>
                      <a:lnTo>
                        <a:pt x="174" y="91"/>
                      </a:lnTo>
                      <a:lnTo>
                        <a:pt x="169" y="82"/>
                      </a:lnTo>
                      <a:lnTo>
                        <a:pt x="169" y="68"/>
                      </a:lnTo>
                      <a:lnTo>
                        <a:pt x="164" y="59"/>
                      </a:lnTo>
                      <a:lnTo>
                        <a:pt x="160" y="50"/>
                      </a:lnTo>
                      <a:lnTo>
                        <a:pt x="151" y="36"/>
                      </a:lnTo>
                      <a:lnTo>
                        <a:pt x="133" y="18"/>
                      </a:lnTo>
                      <a:lnTo>
                        <a:pt x="110" y="5"/>
                      </a:lnTo>
                      <a:lnTo>
                        <a:pt x="87" y="0"/>
                      </a:lnTo>
                      <a:lnTo>
                        <a:pt x="87" y="9"/>
                      </a:lnTo>
                      <a:lnTo>
                        <a:pt x="87" y="9"/>
                      </a:lnTo>
                      <a:lnTo>
                        <a:pt x="87" y="14"/>
                      </a:lnTo>
                      <a:lnTo>
                        <a:pt x="87" y="14"/>
                      </a:lnTo>
                      <a:lnTo>
                        <a:pt x="92" y="36"/>
                      </a:lnTo>
                      <a:lnTo>
                        <a:pt x="105" y="55"/>
                      </a:lnTo>
                      <a:lnTo>
                        <a:pt x="114" y="73"/>
                      </a:lnTo>
                      <a:lnTo>
                        <a:pt x="119" y="96"/>
                      </a:lnTo>
                      <a:lnTo>
                        <a:pt x="119" y="109"/>
                      </a:lnTo>
                      <a:lnTo>
                        <a:pt x="110" y="123"/>
                      </a:lnTo>
                      <a:lnTo>
                        <a:pt x="105" y="127"/>
                      </a:lnTo>
                      <a:lnTo>
                        <a:pt x="96" y="136"/>
                      </a:lnTo>
                      <a:lnTo>
                        <a:pt x="82" y="155"/>
                      </a:lnTo>
                      <a:lnTo>
                        <a:pt x="78" y="173"/>
                      </a:lnTo>
                      <a:lnTo>
                        <a:pt x="73" y="196"/>
                      </a:lnTo>
                      <a:lnTo>
                        <a:pt x="64" y="214"/>
                      </a:lnTo>
                      <a:lnTo>
                        <a:pt x="46" y="241"/>
                      </a:lnTo>
                      <a:lnTo>
                        <a:pt x="23" y="268"/>
                      </a:lnTo>
                      <a:lnTo>
                        <a:pt x="5" y="300"/>
                      </a:lnTo>
                      <a:lnTo>
                        <a:pt x="0" y="336"/>
                      </a:lnTo>
                      <a:lnTo>
                        <a:pt x="0" y="341"/>
                      </a:lnTo>
                      <a:lnTo>
                        <a:pt x="0" y="346"/>
                      </a:lnTo>
                      <a:lnTo>
                        <a:pt x="0" y="350"/>
                      </a:lnTo>
                      <a:lnTo>
                        <a:pt x="0" y="350"/>
                      </a:lnTo>
                      <a:lnTo>
                        <a:pt x="5" y="350"/>
                      </a:lnTo>
                      <a:lnTo>
                        <a:pt x="10" y="350"/>
                      </a:lnTo>
                      <a:lnTo>
                        <a:pt x="10" y="350"/>
                      </a:lnTo>
                      <a:lnTo>
                        <a:pt x="14" y="350"/>
                      </a:lnTo>
                      <a:lnTo>
                        <a:pt x="51" y="359"/>
                      </a:lnTo>
                      <a:lnTo>
                        <a:pt x="78" y="382"/>
                      </a:lnTo>
                      <a:lnTo>
                        <a:pt x="105" y="405"/>
                      </a:lnTo>
                      <a:lnTo>
                        <a:pt x="137" y="414"/>
                      </a:lnTo>
                      <a:lnTo>
                        <a:pt x="151" y="414"/>
                      </a:lnTo>
                      <a:lnTo>
                        <a:pt x="160" y="409"/>
                      </a:lnTo>
                      <a:lnTo>
                        <a:pt x="169" y="405"/>
                      </a:lnTo>
                      <a:lnTo>
                        <a:pt x="183" y="405"/>
                      </a:lnTo>
                      <a:lnTo>
                        <a:pt x="201" y="409"/>
                      </a:lnTo>
                      <a:lnTo>
                        <a:pt x="215" y="414"/>
                      </a:lnTo>
                      <a:lnTo>
                        <a:pt x="224" y="418"/>
                      </a:lnTo>
                      <a:lnTo>
                        <a:pt x="242" y="423"/>
                      </a:lnTo>
                      <a:lnTo>
                        <a:pt x="246" y="423"/>
                      </a:lnTo>
                      <a:lnTo>
                        <a:pt x="256" y="418"/>
                      </a:lnTo>
                      <a:lnTo>
                        <a:pt x="260" y="418"/>
                      </a:lnTo>
                      <a:lnTo>
                        <a:pt x="265" y="414"/>
                      </a:lnTo>
                      <a:lnTo>
                        <a:pt x="265" y="414"/>
                      </a:lnTo>
                      <a:lnTo>
                        <a:pt x="265" y="414"/>
                      </a:lnTo>
                      <a:lnTo>
                        <a:pt x="265" y="414"/>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115" name="Freeform 204">
                  <a:extLst>
                    <a:ext uri="{FF2B5EF4-FFF2-40B4-BE49-F238E27FC236}">
                      <a16:creationId xmlns="" xmlns:a16="http://schemas.microsoft.com/office/drawing/2014/main" id="{DA7AB6AE-6073-4DCE-AEED-B5A9F9334212}"/>
                    </a:ext>
                  </a:extLst>
                </p:cNvPr>
                <p:cNvSpPr>
                  <a:spLocks noChangeAspect="1"/>
                </p:cNvSpPr>
                <p:nvPr/>
              </p:nvSpPr>
              <p:spPr bwMode="auto">
                <a:xfrm>
                  <a:off x="2155" y="3173"/>
                  <a:ext cx="401" cy="277"/>
                </a:xfrm>
                <a:custGeom>
                  <a:avLst/>
                  <a:gdLst>
                    <a:gd name="T0" fmla="*/ 69 w 401"/>
                    <a:gd name="T1" fmla="*/ 272 h 277"/>
                    <a:gd name="T2" fmla="*/ 51 w 401"/>
                    <a:gd name="T3" fmla="*/ 245 h 277"/>
                    <a:gd name="T4" fmla="*/ 41 w 401"/>
                    <a:gd name="T5" fmla="*/ 218 h 277"/>
                    <a:gd name="T6" fmla="*/ 28 w 401"/>
                    <a:gd name="T7" fmla="*/ 204 h 277"/>
                    <a:gd name="T8" fmla="*/ 28 w 401"/>
                    <a:gd name="T9" fmla="*/ 186 h 277"/>
                    <a:gd name="T10" fmla="*/ 28 w 401"/>
                    <a:gd name="T11" fmla="*/ 177 h 277"/>
                    <a:gd name="T12" fmla="*/ 23 w 401"/>
                    <a:gd name="T13" fmla="*/ 154 h 277"/>
                    <a:gd name="T14" fmla="*/ 5 w 401"/>
                    <a:gd name="T15" fmla="*/ 145 h 277"/>
                    <a:gd name="T16" fmla="*/ 10 w 401"/>
                    <a:gd name="T17" fmla="*/ 109 h 277"/>
                    <a:gd name="T18" fmla="*/ 55 w 401"/>
                    <a:gd name="T19" fmla="*/ 77 h 277"/>
                    <a:gd name="T20" fmla="*/ 60 w 401"/>
                    <a:gd name="T21" fmla="*/ 41 h 277"/>
                    <a:gd name="T22" fmla="*/ 51 w 401"/>
                    <a:gd name="T23" fmla="*/ 27 h 277"/>
                    <a:gd name="T24" fmla="*/ 46 w 401"/>
                    <a:gd name="T25" fmla="*/ 13 h 277"/>
                    <a:gd name="T26" fmla="*/ 60 w 401"/>
                    <a:gd name="T27" fmla="*/ 0 h 277"/>
                    <a:gd name="T28" fmla="*/ 87 w 401"/>
                    <a:gd name="T29" fmla="*/ 0 h 277"/>
                    <a:gd name="T30" fmla="*/ 133 w 401"/>
                    <a:gd name="T31" fmla="*/ 13 h 277"/>
                    <a:gd name="T32" fmla="*/ 160 w 401"/>
                    <a:gd name="T33" fmla="*/ 31 h 277"/>
                    <a:gd name="T34" fmla="*/ 187 w 401"/>
                    <a:gd name="T35" fmla="*/ 59 h 277"/>
                    <a:gd name="T36" fmla="*/ 215 w 401"/>
                    <a:gd name="T37" fmla="*/ 59 h 277"/>
                    <a:gd name="T38" fmla="*/ 228 w 401"/>
                    <a:gd name="T39" fmla="*/ 45 h 277"/>
                    <a:gd name="T40" fmla="*/ 256 w 401"/>
                    <a:gd name="T41" fmla="*/ 36 h 277"/>
                    <a:gd name="T42" fmla="*/ 287 w 401"/>
                    <a:gd name="T43" fmla="*/ 45 h 277"/>
                    <a:gd name="T44" fmla="*/ 324 w 401"/>
                    <a:gd name="T45" fmla="*/ 36 h 277"/>
                    <a:gd name="T46" fmla="*/ 365 w 401"/>
                    <a:gd name="T47" fmla="*/ 27 h 277"/>
                    <a:gd name="T48" fmla="*/ 388 w 401"/>
                    <a:gd name="T49" fmla="*/ 27 h 277"/>
                    <a:gd name="T50" fmla="*/ 397 w 401"/>
                    <a:gd name="T51" fmla="*/ 50 h 277"/>
                    <a:gd name="T52" fmla="*/ 401 w 401"/>
                    <a:gd name="T53" fmla="*/ 68 h 277"/>
                    <a:gd name="T54" fmla="*/ 401 w 401"/>
                    <a:gd name="T55" fmla="*/ 77 h 277"/>
                    <a:gd name="T56" fmla="*/ 388 w 401"/>
                    <a:gd name="T57" fmla="*/ 100 h 277"/>
                    <a:gd name="T58" fmla="*/ 351 w 401"/>
                    <a:gd name="T59" fmla="*/ 118 h 277"/>
                    <a:gd name="T60" fmla="*/ 315 w 401"/>
                    <a:gd name="T61" fmla="*/ 131 h 277"/>
                    <a:gd name="T62" fmla="*/ 292 w 401"/>
                    <a:gd name="T63" fmla="*/ 163 h 277"/>
                    <a:gd name="T64" fmla="*/ 274 w 401"/>
                    <a:gd name="T65" fmla="*/ 191 h 277"/>
                    <a:gd name="T66" fmla="*/ 265 w 401"/>
                    <a:gd name="T67" fmla="*/ 204 h 277"/>
                    <a:gd name="T68" fmla="*/ 242 w 401"/>
                    <a:gd name="T69" fmla="*/ 222 h 277"/>
                    <a:gd name="T70" fmla="*/ 210 w 401"/>
                    <a:gd name="T71" fmla="*/ 227 h 277"/>
                    <a:gd name="T72" fmla="*/ 187 w 401"/>
                    <a:gd name="T73" fmla="*/ 245 h 277"/>
                    <a:gd name="T74" fmla="*/ 169 w 401"/>
                    <a:gd name="T75" fmla="*/ 263 h 277"/>
                    <a:gd name="T76" fmla="*/ 137 w 401"/>
                    <a:gd name="T77" fmla="*/ 268 h 277"/>
                    <a:gd name="T78" fmla="*/ 119 w 401"/>
                    <a:gd name="T79" fmla="*/ 254 h 277"/>
                    <a:gd name="T80" fmla="*/ 101 w 401"/>
                    <a:gd name="T81" fmla="*/ 254 h 277"/>
                    <a:gd name="T82" fmla="*/ 82 w 401"/>
                    <a:gd name="T83" fmla="*/ 268 h 277"/>
                    <a:gd name="T84" fmla="*/ 78 w 401"/>
                    <a:gd name="T85" fmla="*/ 277 h 277"/>
                    <a:gd name="T86" fmla="*/ 82 w 401"/>
                    <a:gd name="T87"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1" h="277">
                      <a:moveTo>
                        <a:pt x="82" y="277"/>
                      </a:moveTo>
                      <a:lnTo>
                        <a:pt x="69" y="272"/>
                      </a:lnTo>
                      <a:lnTo>
                        <a:pt x="60" y="259"/>
                      </a:lnTo>
                      <a:lnTo>
                        <a:pt x="51" y="245"/>
                      </a:lnTo>
                      <a:lnTo>
                        <a:pt x="46" y="227"/>
                      </a:lnTo>
                      <a:lnTo>
                        <a:pt x="41" y="218"/>
                      </a:lnTo>
                      <a:lnTo>
                        <a:pt x="37" y="209"/>
                      </a:lnTo>
                      <a:lnTo>
                        <a:pt x="28" y="204"/>
                      </a:lnTo>
                      <a:lnTo>
                        <a:pt x="28" y="191"/>
                      </a:lnTo>
                      <a:lnTo>
                        <a:pt x="28" y="186"/>
                      </a:lnTo>
                      <a:lnTo>
                        <a:pt x="28" y="181"/>
                      </a:lnTo>
                      <a:lnTo>
                        <a:pt x="28" y="177"/>
                      </a:lnTo>
                      <a:lnTo>
                        <a:pt x="28" y="168"/>
                      </a:lnTo>
                      <a:lnTo>
                        <a:pt x="23" y="154"/>
                      </a:lnTo>
                      <a:lnTo>
                        <a:pt x="14" y="150"/>
                      </a:lnTo>
                      <a:lnTo>
                        <a:pt x="5" y="145"/>
                      </a:lnTo>
                      <a:lnTo>
                        <a:pt x="0" y="131"/>
                      </a:lnTo>
                      <a:lnTo>
                        <a:pt x="10" y="109"/>
                      </a:lnTo>
                      <a:lnTo>
                        <a:pt x="32" y="91"/>
                      </a:lnTo>
                      <a:lnTo>
                        <a:pt x="55" y="77"/>
                      </a:lnTo>
                      <a:lnTo>
                        <a:pt x="64" y="50"/>
                      </a:lnTo>
                      <a:lnTo>
                        <a:pt x="60" y="41"/>
                      </a:lnTo>
                      <a:lnTo>
                        <a:pt x="55" y="31"/>
                      </a:lnTo>
                      <a:lnTo>
                        <a:pt x="51" y="27"/>
                      </a:lnTo>
                      <a:lnTo>
                        <a:pt x="46" y="18"/>
                      </a:lnTo>
                      <a:lnTo>
                        <a:pt x="46" y="13"/>
                      </a:lnTo>
                      <a:lnTo>
                        <a:pt x="51" y="4"/>
                      </a:lnTo>
                      <a:lnTo>
                        <a:pt x="60" y="0"/>
                      </a:lnTo>
                      <a:lnTo>
                        <a:pt x="69" y="0"/>
                      </a:lnTo>
                      <a:lnTo>
                        <a:pt x="87" y="0"/>
                      </a:lnTo>
                      <a:lnTo>
                        <a:pt x="110" y="4"/>
                      </a:lnTo>
                      <a:lnTo>
                        <a:pt x="133" y="13"/>
                      </a:lnTo>
                      <a:lnTo>
                        <a:pt x="151" y="18"/>
                      </a:lnTo>
                      <a:lnTo>
                        <a:pt x="160" y="31"/>
                      </a:lnTo>
                      <a:lnTo>
                        <a:pt x="174" y="45"/>
                      </a:lnTo>
                      <a:lnTo>
                        <a:pt x="187" y="59"/>
                      </a:lnTo>
                      <a:lnTo>
                        <a:pt x="205" y="63"/>
                      </a:lnTo>
                      <a:lnTo>
                        <a:pt x="215" y="59"/>
                      </a:lnTo>
                      <a:lnTo>
                        <a:pt x="224" y="54"/>
                      </a:lnTo>
                      <a:lnTo>
                        <a:pt x="228" y="45"/>
                      </a:lnTo>
                      <a:lnTo>
                        <a:pt x="242" y="41"/>
                      </a:lnTo>
                      <a:lnTo>
                        <a:pt x="256" y="36"/>
                      </a:lnTo>
                      <a:lnTo>
                        <a:pt x="269" y="41"/>
                      </a:lnTo>
                      <a:lnTo>
                        <a:pt x="287" y="45"/>
                      </a:lnTo>
                      <a:lnTo>
                        <a:pt x="306" y="41"/>
                      </a:lnTo>
                      <a:lnTo>
                        <a:pt x="324" y="36"/>
                      </a:lnTo>
                      <a:lnTo>
                        <a:pt x="347" y="31"/>
                      </a:lnTo>
                      <a:lnTo>
                        <a:pt x="365" y="27"/>
                      </a:lnTo>
                      <a:lnTo>
                        <a:pt x="383" y="18"/>
                      </a:lnTo>
                      <a:lnTo>
                        <a:pt x="388" y="27"/>
                      </a:lnTo>
                      <a:lnTo>
                        <a:pt x="392" y="36"/>
                      </a:lnTo>
                      <a:lnTo>
                        <a:pt x="397" y="50"/>
                      </a:lnTo>
                      <a:lnTo>
                        <a:pt x="401" y="63"/>
                      </a:lnTo>
                      <a:lnTo>
                        <a:pt x="401" y="68"/>
                      </a:lnTo>
                      <a:lnTo>
                        <a:pt x="401" y="72"/>
                      </a:lnTo>
                      <a:lnTo>
                        <a:pt x="401" y="77"/>
                      </a:lnTo>
                      <a:lnTo>
                        <a:pt x="401" y="86"/>
                      </a:lnTo>
                      <a:lnTo>
                        <a:pt x="388" y="100"/>
                      </a:lnTo>
                      <a:lnTo>
                        <a:pt x="369" y="109"/>
                      </a:lnTo>
                      <a:lnTo>
                        <a:pt x="351" y="118"/>
                      </a:lnTo>
                      <a:lnTo>
                        <a:pt x="328" y="122"/>
                      </a:lnTo>
                      <a:lnTo>
                        <a:pt x="315" y="131"/>
                      </a:lnTo>
                      <a:lnTo>
                        <a:pt x="301" y="145"/>
                      </a:lnTo>
                      <a:lnTo>
                        <a:pt x="292" y="163"/>
                      </a:lnTo>
                      <a:lnTo>
                        <a:pt x="283" y="181"/>
                      </a:lnTo>
                      <a:lnTo>
                        <a:pt x="274" y="191"/>
                      </a:lnTo>
                      <a:lnTo>
                        <a:pt x="269" y="200"/>
                      </a:lnTo>
                      <a:lnTo>
                        <a:pt x="265" y="204"/>
                      </a:lnTo>
                      <a:lnTo>
                        <a:pt x="260" y="218"/>
                      </a:lnTo>
                      <a:lnTo>
                        <a:pt x="242" y="222"/>
                      </a:lnTo>
                      <a:lnTo>
                        <a:pt x="228" y="222"/>
                      </a:lnTo>
                      <a:lnTo>
                        <a:pt x="210" y="227"/>
                      </a:lnTo>
                      <a:lnTo>
                        <a:pt x="196" y="236"/>
                      </a:lnTo>
                      <a:lnTo>
                        <a:pt x="187" y="245"/>
                      </a:lnTo>
                      <a:lnTo>
                        <a:pt x="183" y="254"/>
                      </a:lnTo>
                      <a:lnTo>
                        <a:pt x="169" y="263"/>
                      </a:lnTo>
                      <a:lnTo>
                        <a:pt x="151" y="268"/>
                      </a:lnTo>
                      <a:lnTo>
                        <a:pt x="137" y="268"/>
                      </a:lnTo>
                      <a:lnTo>
                        <a:pt x="128" y="259"/>
                      </a:lnTo>
                      <a:lnTo>
                        <a:pt x="119" y="254"/>
                      </a:lnTo>
                      <a:lnTo>
                        <a:pt x="110" y="254"/>
                      </a:lnTo>
                      <a:lnTo>
                        <a:pt x="101" y="254"/>
                      </a:lnTo>
                      <a:lnTo>
                        <a:pt x="92" y="263"/>
                      </a:lnTo>
                      <a:lnTo>
                        <a:pt x="82" y="268"/>
                      </a:lnTo>
                      <a:lnTo>
                        <a:pt x="78" y="277"/>
                      </a:lnTo>
                      <a:lnTo>
                        <a:pt x="78" y="277"/>
                      </a:lnTo>
                      <a:lnTo>
                        <a:pt x="82" y="277"/>
                      </a:lnTo>
                      <a:lnTo>
                        <a:pt x="82" y="277"/>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116" name="Freeform 205">
                  <a:extLst>
                    <a:ext uri="{FF2B5EF4-FFF2-40B4-BE49-F238E27FC236}">
                      <a16:creationId xmlns="" xmlns:a16="http://schemas.microsoft.com/office/drawing/2014/main" id="{585EF625-27D2-49D7-B5B6-AFBF526A4D36}"/>
                    </a:ext>
                  </a:extLst>
                </p:cNvPr>
                <p:cNvSpPr>
                  <a:spLocks noChangeAspect="1"/>
                </p:cNvSpPr>
                <p:nvPr/>
              </p:nvSpPr>
              <p:spPr bwMode="auto">
                <a:xfrm>
                  <a:off x="2051" y="3391"/>
                  <a:ext cx="533" cy="541"/>
                </a:xfrm>
                <a:custGeom>
                  <a:avLst/>
                  <a:gdLst>
                    <a:gd name="T0" fmla="*/ 123 w 533"/>
                    <a:gd name="T1" fmla="*/ 459 h 541"/>
                    <a:gd name="T2" fmla="*/ 159 w 533"/>
                    <a:gd name="T3" fmla="*/ 432 h 541"/>
                    <a:gd name="T4" fmla="*/ 186 w 533"/>
                    <a:gd name="T5" fmla="*/ 395 h 541"/>
                    <a:gd name="T6" fmla="*/ 205 w 533"/>
                    <a:gd name="T7" fmla="*/ 359 h 541"/>
                    <a:gd name="T8" fmla="*/ 227 w 533"/>
                    <a:gd name="T9" fmla="*/ 341 h 541"/>
                    <a:gd name="T10" fmla="*/ 255 w 533"/>
                    <a:gd name="T11" fmla="*/ 350 h 541"/>
                    <a:gd name="T12" fmla="*/ 282 w 533"/>
                    <a:gd name="T13" fmla="*/ 354 h 541"/>
                    <a:gd name="T14" fmla="*/ 278 w 533"/>
                    <a:gd name="T15" fmla="*/ 318 h 541"/>
                    <a:gd name="T16" fmla="*/ 305 w 533"/>
                    <a:gd name="T17" fmla="*/ 309 h 541"/>
                    <a:gd name="T18" fmla="*/ 296 w 533"/>
                    <a:gd name="T19" fmla="*/ 291 h 541"/>
                    <a:gd name="T20" fmla="*/ 291 w 533"/>
                    <a:gd name="T21" fmla="*/ 268 h 541"/>
                    <a:gd name="T22" fmla="*/ 319 w 533"/>
                    <a:gd name="T23" fmla="*/ 282 h 541"/>
                    <a:gd name="T24" fmla="*/ 355 w 533"/>
                    <a:gd name="T25" fmla="*/ 295 h 541"/>
                    <a:gd name="T26" fmla="*/ 378 w 533"/>
                    <a:gd name="T27" fmla="*/ 282 h 541"/>
                    <a:gd name="T28" fmla="*/ 405 w 533"/>
                    <a:gd name="T29" fmla="*/ 291 h 541"/>
                    <a:gd name="T30" fmla="*/ 446 w 533"/>
                    <a:gd name="T31" fmla="*/ 241 h 541"/>
                    <a:gd name="T32" fmla="*/ 505 w 533"/>
                    <a:gd name="T33" fmla="*/ 218 h 541"/>
                    <a:gd name="T34" fmla="*/ 523 w 533"/>
                    <a:gd name="T35" fmla="*/ 223 h 541"/>
                    <a:gd name="T36" fmla="*/ 533 w 533"/>
                    <a:gd name="T37" fmla="*/ 209 h 541"/>
                    <a:gd name="T38" fmla="*/ 510 w 533"/>
                    <a:gd name="T39" fmla="*/ 177 h 541"/>
                    <a:gd name="T40" fmla="*/ 455 w 533"/>
                    <a:gd name="T41" fmla="*/ 154 h 541"/>
                    <a:gd name="T42" fmla="*/ 423 w 533"/>
                    <a:gd name="T43" fmla="*/ 118 h 541"/>
                    <a:gd name="T44" fmla="*/ 396 w 533"/>
                    <a:gd name="T45" fmla="*/ 50 h 541"/>
                    <a:gd name="T46" fmla="*/ 373 w 533"/>
                    <a:gd name="T47" fmla="*/ 13 h 541"/>
                    <a:gd name="T48" fmla="*/ 346 w 533"/>
                    <a:gd name="T49" fmla="*/ 4 h 541"/>
                    <a:gd name="T50" fmla="*/ 300 w 533"/>
                    <a:gd name="T51" fmla="*/ 18 h 541"/>
                    <a:gd name="T52" fmla="*/ 273 w 533"/>
                    <a:gd name="T53" fmla="*/ 45 h 541"/>
                    <a:gd name="T54" fmla="*/ 232 w 533"/>
                    <a:gd name="T55" fmla="*/ 41 h 541"/>
                    <a:gd name="T56" fmla="*/ 205 w 533"/>
                    <a:gd name="T57" fmla="*/ 36 h 541"/>
                    <a:gd name="T58" fmla="*/ 182 w 533"/>
                    <a:gd name="T59" fmla="*/ 59 h 541"/>
                    <a:gd name="T60" fmla="*/ 237 w 533"/>
                    <a:gd name="T61" fmla="*/ 118 h 541"/>
                    <a:gd name="T62" fmla="*/ 223 w 533"/>
                    <a:gd name="T63" fmla="*/ 159 h 541"/>
                    <a:gd name="T64" fmla="*/ 191 w 533"/>
                    <a:gd name="T65" fmla="*/ 200 h 541"/>
                    <a:gd name="T66" fmla="*/ 164 w 533"/>
                    <a:gd name="T67" fmla="*/ 241 h 541"/>
                    <a:gd name="T68" fmla="*/ 127 w 533"/>
                    <a:gd name="T69" fmla="*/ 218 h 541"/>
                    <a:gd name="T70" fmla="*/ 95 w 533"/>
                    <a:gd name="T71" fmla="*/ 218 h 541"/>
                    <a:gd name="T72" fmla="*/ 59 w 533"/>
                    <a:gd name="T73" fmla="*/ 245 h 541"/>
                    <a:gd name="T74" fmla="*/ 9 w 533"/>
                    <a:gd name="T75" fmla="*/ 332 h 541"/>
                    <a:gd name="T76" fmla="*/ 27 w 533"/>
                    <a:gd name="T77" fmla="*/ 359 h 541"/>
                    <a:gd name="T78" fmla="*/ 54 w 533"/>
                    <a:gd name="T79" fmla="*/ 395 h 541"/>
                    <a:gd name="T80" fmla="*/ 63 w 533"/>
                    <a:gd name="T81" fmla="*/ 436 h 541"/>
                    <a:gd name="T82" fmla="*/ 32 w 533"/>
                    <a:gd name="T83" fmla="*/ 454 h 541"/>
                    <a:gd name="T84" fmla="*/ 0 w 533"/>
                    <a:gd name="T85" fmla="*/ 504 h 541"/>
                    <a:gd name="T86" fmla="*/ 0 w 533"/>
                    <a:gd name="T87" fmla="*/ 532 h 541"/>
                    <a:gd name="T88" fmla="*/ 0 w 533"/>
                    <a:gd name="T89" fmla="*/ 541 h 541"/>
                    <a:gd name="T90" fmla="*/ 59 w 533"/>
                    <a:gd name="T91" fmla="*/ 536 h 541"/>
                    <a:gd name="T92" fmla="*/ 82 w 533"/>
                    <a:gd name="T93" fmla="*/ 513 h 541"/>
                    <a:gd name="T94" fmla="*/ 82 w 533"/>
                    <a:gd name="T95" fmla="*/ 495 h 541"/>
                    <a:gd name="T96" fmla="*/ 86 w 533"/>
                    <a:gd name="T97" fmla="*/ 473 h 541"/>
                    <a:gd name="T98" fmla="*/ 109 w 533"/>
                    <a:gd name="T99" fmla="*/ 468 h 541"/>
                    <a:gd name="T100" fmla="*/ 127 w 533"/>
                    <a:gd name="T101" fmla="*/ 473 h 541"/>
                    <a:gd name="T102" fmla="*/ 123 w 533"/>
                    <a:gd name="T103" fmla="*/ 473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3" h="541">
                      <a:moveTo>
                        <a:pt x="123" y="473"/>
                      </a:moveTo>
                      <a:lnTo>
                        <a:pt x="123" y="459"/>
                      </a:lnTo>
                      <a:lnTo>
                        <a:pt x="123" y="459"/>
                      </a:lnTo>
                      <a:lnTo>
                        <a:pt x="127" y="436"/>
                      </a:lnTo>
                      <a:lnTo>
                        <a:pt x="141" y="432"/>
                      </a:lnTo>
                      <a:lnTo>
                        <a:pt x="159" y="432"/>
                      </a:lnTo>
                      <a:lnTo>
                        <a:pt x="173" y="423"/>
                      </a:lnTo>
                      <a:lnTo>
                        <a:pt x="182" y="409"/>
                      </a:lnTo>
                      <a:lnTo>
                        <a:pt x="186" y="395"/>
                      </a:lnTo>
                      <a:lnTo>
                        <a:pt x="196" y="382"/>
                      </a:lnTo>
                      <a:lnTo>
                        <a:pt x="200" y="368"/>
                      </a:lnTo>
                      <a:lnTo>
                        <a:pt x="205" y="359"/>
                      </a:lnTo>
                      <a:lnTo>
                        <a:pt x="209" y="350"/>
                      </a:lnTo>
                      <a:lnTo>
                        <a:pt x="214" y="345"/>
                      </a:lnTo>
                      <a:lnTo>
                        <a:pt x="227" y="341"/>
                      </a:lnTo>
                      <a:lnTo>
                        <a:pt x="237" y="341"/>
                      </a:lnTo>
                      <a:lnTo>
                        <a:pt x="246" y="345"/>
                      </a:lnTo>
                      <a:lnTo>
                        <a:pt x="255" y="350"/>
                      </a:lnTo>
                      <a:lnTo>
                        <a:pt x="264" y="354"/>
                      </a:lnTo>
                      <a:lnTo>
                        <a:pt x="278" y="359"/>
                      </a:lnTo>
                      <a:lnTo>
                        <a:pt x="282" y="354"/>
                      </a:lnTo>
                      <a:lnTo>
                        <a:pt x="278" y="345"/>
                      </a:lnTo>
                      <a:lnTo>
                        <a:pt x="273" y="332"/>
                      </a:lnTo>
                      <a:lnTo>
                        <a:pt x="278" y="318"/>
                      </a:lnTo>
                      <a:lnTo>
                        <a:pt x="287" y="313"/>
                      </a:lnTo>
                      <a:lnTo>
                        <a:pt x="300" y="313"/>
                      </a:lnTo>
                      <a:lnTo>
                        <a:pt x="305" y="309"/>
                      </a:lnTo>
                      <a:lnTo>
                        <a:pt x="305" y="304"/>
                      </a:lnTo>
                      <a:lnTo>
                        <a:pt x="300" y="295"/>
                      </a:lnTo>
                      <a:lnTo>
                        <a:pt x="296" y="291"/>
                      </a:lnTo>
                      <a:lnTo>
                        <a:pt x="291" y="286"/>
                      </a:lnTo>
                      <a:lnTo>
                        <a:pt x="291" y="286"/>
                      </a:lnTo>
                      <a:lnTo>
                        <a:pt x="291" y="268"/>
                      </a:lnTo>
                      <a:lnTo>
                        <a:pt x="291" y="268"/>
                      </a:lnTo>
                      <a:lnTo>
                        <a:pt x="309" y="273"/>
                      </a:lnTo>
                      <a:lnTo>
                        <a:pt x="319" y="282"/>
                      </a:lnTo>
                      <a:lnTo>
                        <a:pt x="328" y="295"/>
                      </a:lnTo>
                      <a:lnTo>
                        <a:pt x="341" y="300"/>
                      </a:lnTo>
                      <a:lnTo>
                        <a:pt x="355" y="295"/>
                      </a:lnTo>
                      <a:lnTo>
                        <a:pt x="360" y="291"/>
                      </a:lnTo>
                      <a:lnTo>
                        <a:pt x="369" y="286"/>
                      </a:lnTo>
                      <a:lnTo>
                        <a:pt x="378" y="282"/>
                      </a:lnTo>
                      <a:lnTo>
                        <a:pt x="382" y="282"/>
                      </a:lnTo>
                      <a:lnTo>
                        <a:pt x="391" y="286"/>
                      </a:lnTo>
                      <a:lnTo>
                        <a:pt x="405" y="291"/>
                      </a:lnTo>
                      <a:lnTo>
                        <a:pt x="419" y="291"/>
                      </a:lnTo>
                      <a:lnTo>
                        <a:pt x="428" y="263"/>
                      </a:lnTo>
                      <a:lnTo>
                        <a:pt x="446" y="241"/>
                      </a:lnTo>
                      <a:lnTo>
                        <a:pt x="469" y="223"/>
                      </a:lnTo>
                      <a:lnTo>
                        <a:pt x="501" y="218"/>
                      </a:lnTo>
                      <a:lnTo>
                        <a:pt x="505" y="218"/>
                      </a:lnTo>
                      <a:lnTo>
                        <a:pt x="514" y="218"/>
                      </a:lnTo>
                      <a:lnTo>
                        <a:pt x="519" y="218"/>
                      </a:lnTo>
                      <a:lnTo>
                        <a:pt x="523" y="223"/>
                      </a:lnTo>
                      <a:lnTo>
                        <a:pt x="528" y="218"/>
                      </a:lnTo>
                      <a:lnTo>
                        <a:pt x="528" y="213"/>
                      </a:lnTo>
                      <a:lnTo>
                        <a:pt x="533" y="209"/>
                      </a:lnTo>
                      <a:lnTo>
                        <a:pt x="533" y="204"/>
                      </a:lnTo>
                      <a:lnTo>
                        <a:pt x="523" y="191"/>
                      </a:lnTo>
                      <a:lnTo>
                        <a:pt x="510" y="177"/>
                      </a:lnTo>
                      <a:lnTo>
                        <a:pt x="487" y="173"/>
                      </a:lnTo>
                      <a:lnTo>
                        <a:pt x="469" y="163"/>
                      </a:lnTo>
                      <a:lnTo>
                        <a:pt x="455" y="154"/>
                      </a:lnTo>
                      <a:lnTo>
                        <a:pt x="441" y="145"/>
                      </a:lnTo>
                      <a:lnTo>
                        <a:pt x="432" y="132"/>
                      </a:lnTo>
                      <a:lnTo>
                        <a:pt x="423" y="118"/>
                      </a:lnTo>
                      <a:lnTo>
                        <a:pt x="410" y="95"/>
                      </a:lnTo>
                      <a:lnTo>
                        <a:pt x="405" y="73"/>
                      </a:lnTo>
                      <a:lnTo>
                        <a:pt x="396" y="50"/>
                      </a:lnTo>
                      <a:lnTo>
                        <a:pt x="382" y="27"/>
                      </a:lnTo>
                      <a:lnTo>
                        <a:pt x="378" y="18"/>
                      </a:lnTo>
                      <a:lnTo>
                        <a:pt x="373" y="13"/>
                      </a:lnTo>
                      <a:lnTo>
                        <a:pt x="364" y="4"/>
                      </a:lnTo>
                      <a:lnTo>
                        <a:pt x="364" y="0"/>
                      </a:lnTo>
                      <a:lnTo>
                        <a:pt x="346" y="4"/>
                      </a:lnTo>
                      <a:lnTo>
                        <a:pt x="332" y="4"/>
                      </a:lnTo>
                      <a:lnTo>
                        <a:pt x="314" y="9"/>
                      </a:lnTo>
                      <a:lnTo>
                        <a:pt x="300" y="18"/>
                      </a:lnTo>
                      <a:lnTo>
                        <a:pt x="291" y="27"/>
                      </a:lnTo>
                      <a:lnTo>
                        <a:pt x="287" y="36"/>
                      </a:lnTo>
                      <a:lnTo>
                        <a:pt x="273" y="45"/>
                      </a:lnTo>
                      <a:lnTo>
                        <a:pt x="255" y="50"/>
                      </a:lnTo>
                      <a:lnTo>
                        <a:pt x="241" y="50"/>
                      </a:lnTo>
                      <a:lnTo>
                        <a:pt x="232" y="41"/>
                      </a:lnTo>
                      <a:lnTo>
                        <a:pt x="223" y="36"/>
                      </a:lnTo>
                      <a:lnTo>
                        <a:pt x="214" y="36"/>
                      </a:lnTo>
                      <a:lnTo>
                        <a:pt x="205" y="36"/>
                      </a:lnTo>
                      <a:lnTo>
                        <a:pt x="196" y="45"/>
                      </a:lnTo>
                      <a:lnTo>
                        <a:pt x="186" y="50"/>
                      </a:lnTo>
                      <a:lnTo>
                        <a:pt x="182" y="59"/>
                      </a:lnTo>
                      <a:lnTo>
                        <a:pt x="191" y="82"/>
                      </a:lnTo>
                      <a:lnTo>
                        <a:pt x="214" y="100"/>
                      </a:lnTo>
                      <a:lnTo>
                        <a:pt x="237" y="118"/>
                      </a:lnTo>
                      <a:lnTo>
                        <a:pt x="246" y="141"/>
                      </a:lnTo>
                      <a:lnTo>
                        <a:pt x="241" y="150"/>
                      </a:lnTo>
                      <a:lnTo>
                        <a:pt x="223" y="159"/>
                      </a:lnTo>
                      <a:lnTo>
                        <a:pt x="209" y="173"/>
                      </a:lnTo>
                      <a:lnTo>
                        <a:pt x="196" y="182"/>
                      </a:lnTo>
                      <a:lnTo>
                        <a:pt x="191" y="200"/>
                      </a:lnTo>
                      <a:lnTo>
                        <a:pt x="186" y="218"/>
                      </a:lnTo>
                      <a:lnTo>
                        <a:pt x="182" y="236"/>
                      </a:lnTo>
                      <a:lnTo>
                        <a:pt x="164" y="241"/>
                      </a:lnTo>
                      <a:lnTo>
                        <a:pt x="145" y="236"/>
                      </a:lnTo>
                      <a:lnTo>
                        <a:pt x="136" y="227"/>
                      </a:lnTo>
                      <a:lnTo>
                        <a:pt x="127" y="218"/>
                      </a:lnTo>
                      <a:lnTo>
                        <a:pt x="114" y="213"/>
                      </a:lnTo>
                      <a:lnTo>
                        <a:pt x="104" y="213"/>
                      </a:lnTo>
                      <a:lnTo>
                        <a:pt x="95" y="218"/>
                      </a:lnTo>
                      <a:lnTo>
                        <a:pt x="91" y="223"/>
                      </a:lnTo>
                      <a:lnTo>
                        <a:pt x="86" y="223"/>
                      </a:lnTo>
                      <a:lnTo>
                        <a:pt x="59" y="245"/>
                      </a:lnTo>
                      <a:lnTo>
                        <a:pt x="32" y="273"/>
                      </a:lnTo>
                      <a:lnTo>
                        <a:pt x="13" y="304"/>
                      </a:lnTo>
                      <a:lnTo>
                        <a:pt x="9" y="332"/>
                      </a:lnTo>
                      <a:lnTo>
                        <a:pt x="9" y="350"/>
                      </a:lnTo>
                      <a:lnTo>
                        <a:pt x="18" y="354"/>
                      </a:lnTo>
                      <a:lnTo>
                        <a:pt x="27" y="359"/>
                      </a:lnTo>
                      <a:lnTo>
                        <a:pt x="41" y="363"/>
                      </a:lnTo>
                      <a:lnTo>
                        <a:pt x="45" y="373"/>
                      </a:lnTo>
                      <a:lnTo>
                        <a:pt x="54" y="395"/>
                      </a:lnTo>
                      <a:lnTo>
                        <a:pt x="63" y="418"/>
                      </a:lnTo>
                      <a:lnTo>
                        <a:pt x="68" y="432"/>
                      </a:lnTo>
                      <a:lnTo>
                        <a:pt x="63" y="436"/>
                      </a:lnTo>
                      <a:lnTo>
                        <a:pt x="50" y="441"/>
                      </a:lnTo>
                      <a:lnTo>
                        <a:pt x="41" y="450"/>
                      </a:lnTo>
                      <a:lnTo>
                        <a:pt x="32" y="454"/>
                      </a:lnTo>
                      <a:lnTo>
                        <a:pt x="13" y="468"/>
                      </a:lnTo>
                      <a:lnTo>
                        <a:pt x="4" y="482"/>
                      </a:lnTo>
                      <a:lnTo>
                        <a:pt x="0" y="504"/>
                      </a:lnTo>
                      <a:lnTo>
                        <a:pt x="0" y="527"/>
                      </a:lnTo>
                      <a:lnTo>
                        <a:pt x="0" y="532"/>
                      </a:lnTo>
                      <a:lnTo>
                        <a:pt x="0" y="532"/>
                      </a:lnTo>
                      <a:lnTo>
                        <a:pt x="0" y="536"/>
                      </a:lnTo>
                      <a:lnTo>
                        <a:pt x="0" y="541"/>
                      </a:lnTo>
                      <a:lnTo>
                        <a:pt x="0" y="541"/>
                      </a:lnTo>
                      <a:lnTo>
                        <a:pt x="50" y="541"/>
                      </a:lnTo>
                      <a:lnTo>
                        <a:pt x="50" y="541"/>
                      </a:lnTo>
                      <a:lnTo>
                        <a:pt x="59" y="536"/>
                      </a:lnTo>
                      <a:lnTo>
                        <a:pt x="73" y="527"/>
                      </a:lnTo>
                      <a:lnTo>
                        <a:pt x="77" y="523"/>
                      </a:lnTo>
                      <a:lnTo>
                        <a:pt x="82" y="513"/>
                      </a:lnTo>
                      <a:lnTo>
                        <a:pt x="82" y="509"/>
                      </a:lnTo>
                      <a:lnTo>
                        <a:pt x="82" y="504"/>
                      </a:lnTo>
                      <a:lnTo>
                        <a:pt x="82" y="495"/>
                      </a:lnTo>
                      <a:lnTo>
                        <a:pt x="82" y="491"/>
                      </a:lnTo>
                      <a:lnTo>
                        <a:pt x="82" y="482"/>
                      </a:lnTo>
                      <a:lnTo>
                        <a:pt x="86" y="473"/>
                      </a:lnTo>
                      <a:lnTo>
                        <a:pt x="95" y="468"/>
                      </a:lnTo>
                      <a:lnTo>
                        <a:pt x="104" y="468"/>
                      </a:lnTo>
                      <a:lnTo>
                        <a:pt x="109" y="468"/>
                      </a:lnTo>
                      <a:lnTo>
                        <a:pt x="118" y="468"/>
                      </a:lnTo>
                      <a:lnTo>
                        <a:pt x="123" y="473"/>
                      </a:lnTo>
                      <a:lnTo>
                        <a:pt x="127" y="473"/>
                      </a:lnTo>
                      <a:lnTo>
                        <a:pt x="127" y="473"/>
                      </a:lnTo>
                      <a:lnTo>
                        <a:pt x="123" y="473"/>
                      </a:lnTo>
                      <a:lnTo>
                        <a:pt x="123" y="473"/>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117" name="Freeform 206">
                  <a:extLst>
                    <a:ext uri="{FF2B5EF4-FFF2-40B4-BE49-F238E27FC236}">
                      <a16:creationId xmlns="" xmlns:a16="http://schemas.microsoft.com/office/drawing/2014/main" id="{64BA2FA6-70C2-4A0E-A96C-0CB1A05C050A}"/>
                    </a:ext>
                  </a:extLst>
                </p:cNvPr>
                <p:cNvSpPr>
                  <a:spLocks noChangeAspect="1"/>
                </p:cNvSpPr>
                <p:nvPr/>
              </p:nvSpPr>
              <p:spPr bwMode="auto">
                <a:xfrm>
                  <a:off x="2415" y="3259"/>
                  <a:ext cx="474" cy="359"/>
                </a:xfrm>
                <a:custGeom>
                  <a:avLst/>
                  <a:gdLst>
                    <a:gd name="T0" fmla="*/ 314 w 474"/>
                    <a:gd name="T1" fmla="*/ 355 h 359"/>
                    <a:gd name="T2" fmla="*/ 301 w 474"/>
                    <a:gd name="T3" fmla="*/ 350 h 359"/>
                    <a:gd name="T4" fmla="*/ 273 w 474"/>
                    <a:gd name="T5" fmla="*/ 345 h 359"/>
                    <a:gd name="T6" fmla="*/ 246 w 474"/>
                    <a:gd name="T7" fmla="*/ 345 h 359"/>
                    <a:gd name="T8" fmla="*/ 232 w 474"/>
                    <a:gd name="T9" fmla="*/ 359 h 359"/>
                    <a:gd name="T10" fmla="*/ 214 w 474"/>
                    <a:gd name="T11" fmla="*/ 359 h 359"/>
                    <a:gd name="T12" fmla="*/ 210 w 474"/>
                    <a:gd name="T13" fmla="*/ 355 h 359"/>
                    <a:gd name="T14" fmla="*/ 200 w 474"/>
                    <a:gd name="T15" fmla="*/ 355 h 359"/>
                    <a:gd name="T16" fmla="*/ 187 w 474"/>
                    <a:gd name="T17" fmla="*/ 359 h 359"/>
                    <a:gd name="T18" fmla="*/ 178 w 474"/>
                    <a:gd name="T19" fmla="*/ 359 h 359"/>
                    <a:gd name="T20" fmla="*/ 164 w 474"/>
                    <a:gd name="T21" fmla="*/ 359 h 359"/>
                    <a:gd name="T22" fmla="*/ 164 w 474"/>
                    <a:gd name="T23" fmla="*/ 350 h 359"/>
                    <a:gd name="T24" fmla="*/ 169 w 474"/>
                    <a:gd name="T25" fmla="*/ 341 h 359"/>
                    <a:gd name="T26" fmla="*/ 159 w 474"/>
                    <a:gd name="T27" fmla="*/ 323 h 359"/>
                    <a:gd name="T28" fmla="*/ 123 w 474"/>
                    <a:gd name="T29" fmla="*/ 305 h 359"/>
                    <a:gd name="T30" fmla="*/ 91 w 474"/>
                    <a:gd name="T31" fmla="*/ 286 h 359"/>
                    <a:gd name="T32" fmla="*/ 68 w 474"/>
                    <a:gd name="T33" fmla="*/ 264 h 359"/>
                    <a:gd name="T34" fmla="*/ 46 w 474"/>
                    <a:gd name="T35" fmla="*/ 227 h 359"/>
                    <a:gd name="T36" fmla="*/ 32 w 474"/>
                    <a:gd name="T37" fmla="*/ 182 h 359"/>
                    <a:gd name="T38" fmla="*/ 14 w 474"/>
                    <a:gd name="T39" fmla="*/ 150 h 359"/>
                    <a:gd name="T40" fmla="*/ 0 w 474"/>
                    <a:gd name="T41" fmla="*/ 136 h 359"/>
                    <a:gd name="T42" fmla="*/ 5 w 474"/>
                    <a:gd name="T43" fmla="*/ 118 h 359"/>
                    <a:gd name="T44" fmla="*/ 14 w 474"/>
                    <a:gd name="T45" fmla="*/ 105 h 359"/>
                    <a:gd name="T46" fmla="*/ 32 w 474"/>
                    <a:gd name="T47" fmla="*/ 77 h 359"/>
                    <a:gd name="T48" fmla="*/ 55 w 474"/>
                    <a:gd name="T49" fmla="*/ 45 h 359"/>
                    <a:gd name="T50" fmla="*/ 91 w 474"/>
                    <a:gd name="T51" fmla="*/ 32 h 359"/>
                    <a:gd name="T52" fmla="*/ 128 w 474"/>
                    <a:gd name="T53" fmla="*/ 14 h 359"/>
                    <a:gd name="T54" fmla="*/ 141 w 474"/>
                    <a:gd name="T55" fmla="*/ 0 h 359"/>
                    <a:gd name="T56" fmla="*/ 187 w 474"/>
                    <a:gd name="T57" fmla="*/ 0 h 359"/>
                    <a:gd name="T58" fmla="*/ 255 w 474"/>
                    <a:gd name="T59" fmla="*/ 27 h 359"/>
                    <a:gd name="T60" fmla="*/ 296 w 474"/>
                    <a:gd name="T61" fmla="*/ 73 h 359"/>
                    <a:gd name="T62" fmla="*/ 328 w 474"/>
                    <a:gd name="T63" fmla="*/ 132 h 359"/>
                    <a:gd name="T64" fmla="*/ 360 w 474"/>
                    <a:gd name="T65" fmla="*/ 186 h 359"/>
                    <a:gd name="T66" fmla="*/ 410 w 474"/>
                    <a:gd name="T67" fmla="*/ 200 h 359"/>
                    <a:gd name="T68" fmla="*/ 474 w 474"/>
                    <a:gd name="T69" fmla="*/ 223 h 359"/>
                    <a:gd name="T70" fmla="*/ 465 w 474"/>
                    <a:gd name="T71" fmla="*/ 232 h 359"/>
                    <a:gd name="T72" fmla="*/ 456 w 474"/>
                    <a:gd name="T73" fmla="*/ 241 h 359"/>
                    <a:gd name="T74" fmla="*/ 401 w 474"/>
                    <a:gd name="T75" fmla="*/ 245 h 359"/>
                    <a:gd name="T76" fmla="*/ 364 w 474"/>
                    <a:gd name="T77" fmla="*/ 273 h 359"/>
                    <a:gd name="T78" fmla="*/ 369 w 474"/>
                    <a:gd name="T79" fmla="*/ 286 h 359"/>
                    <a:gd name="T80" fmla="*/ 374 w 474"/>
                    <a:gd name="T81" fmla="*/ 305 h 359"/>
                    <a:gd name="T82" fmla="*/ 364 w 474"/>
                    <a:gd name="T83" fmla="*/ 336 h 359"/>
                    <a:gd name="T84" fmla="*/ 351 w 474"/>
                    <a:gd name="T85" fmla="*/ 355 h 359"/>
                    <a:gd name="T86" fmla="*/ 351 w 474"/>
                    <a:gd name="T87" fmla="*/ 35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4" h="359">
                      <a:moveTo>
                        <a:pt x="351" y="355"/>
                      </a:moveTo>
                      <a:lnTo>
                        <a:pt x="314" y="355"/>
                      </a:lnTo>
                      <a:lnTo>
                        <a:pt x="314" y="355"/>
                      </a:lnTo>
                      <a:lnTo>
                        <a:pt x="301" y="350"/>
                      </a:lnTo>
                      <a:lnTo>
                        <a:pt x="287" y="345"/>
                      </a:lnTo>
                      <a:lnTo>
                        <a:pt x="273" y="345"/>
                      </a:lnTo>
                      <a:lnTo>
                        <a:pt x="260" y="345"/>
                      </a:lnTo>
                      <a:lnTo>
                        <a:pt x="246" y="345"/>
                      </a:lnTo>
                      <a:lnTo>
                        <a:pt x="241" y="350"/>
                      </a:lnTo>
                      <a:lnTo>
                        <a:pt x="232" y="359"/>
                      </a:lnTo>
                      <a:lnTo>
                        <a:pt x="223" y="359"/>
                      </a:lnTo>
                      <a:lnTo>
                        <a:pt x="214" y="359"/>
                      </a:lnTo>
                      <a:lnTo>
                        <a:pt x="214" y="355"/>
                      </a:lnTo>
                      <a:lnTo>
                        <a:pt x="210" y="355"/>
                      </a:lnTo>
                      <a:lnTo>
                        <a:pt x="205" y="355"/>
                      </a:lnTo>
                      <a:lnTo>
                        <a:pt x="200" y="355"/>
                      </a:lnTo>
                      <a:lnTo>
                        <a:pt x="196" y="355"/>
                      </a:lnTo>
                      <a:lnTo>
                        <a:pt x="187" y="359"/>
                      </a:lnTo>
                      <a:lnTo>
                        <a:pt x="182" y="359"/>
                      </a:lnTo>
                      <a:lnTo>
                        <a:pt x="178" y="359"/>
                      </a:lnTo>
                      <a:lnTo>
                        <a:pt x="173" y="359"/>
                      </a:lnTo>
                      <a:lnTo>
                        <a:pt x="164" y="359"/>
                      </a:lnTo>
                      <a:lnTo>
                        <a:pt x="159" y="355"/>
                      </a:lnTo>
                      <a:lnTo>
                        <a:pt x="164" y="350"/>
                      </a:lnTo>
                      <a:lnTo>
                        <a:pt x="164" y="345"/>
                      </a:lnTo>
                      <a:lnTo>
                        <a:pt x="169" y="341"/>
                      </a:lnTo>
                      <a:lnTo>
                        <a:pt x="169" y="336"/>
                      </a:lnTo>
                      <a:lnTo>
                        <a:pt x="159" y="323"/>
                      </a:lnTo>
                      <a:lnTo>
                        <a:pt x="146" y="309"/>
                      </a:lnTo>
                      <a:lnTo>
                        <a:pt x="123" y="305"/>
                      </a:lnTo>
                      <a:lnTo>
                        <a:pt x="105" y="295"/>
                      </a:lnTo>
                      <a:lnTo>
                        <a:pt x="91" y="286"/>
                      </a:lnTo>
                      <a:lnTo>
                        <a:pt x="77" y="277"/>
                      </a:lnTo>
                      <a:lnTo>
                        <a:pt x="68" y="264"/>
                      </a:lnTo>
                      <a:lnTo>
                        <a:pt x="59" y="250"/>
                      </a:lnTo>
                      <a:lnTo>
                        <a:pt x="46" y="227"/>
                      </a:lnTo>
                      <a:lnTo>
                        <a:pt x="41" y="205"/>
                      </a:lnTo>
                      <a:lnTo>
                        <a:pt x="32" y="182"/>
                      </a:lnTo>
                      <a:lnTo>
                        <a:pt x="18" y="159"/>
                      </a:lnTo>
                      <a:lnTo>
                        <a:pt x="14" y="150"/>
                      </a:lnTo>
                      <a:lnTo>
                        <a:pt x="9" y="145"/>
                      </a:lnTo>
                      <a:lnTo>
                        <a:pt x="0" y="136"/>
                      </a:lnTo>
                      <a:lnTo>
                        <a:pt x="0" y="132"/>
                      </a:lnTo>
                      <a:lnTo>
                        <a:pt x="5" y="118"/>
                      </a:lnTo>
                      <a:lnTo>
                        <a:pt x="9" y="114"/>
                      </a:lnTo>
                      <a:lnTo>
                        <a:pt x="14" y="105"/>
                      </a:lnTo>
                      <a:lnTo>
                        <a:pt x="23" y="95"/>
                      </a:lnTo>
                      <a:lnTo>
                        <a:pt x="32" y="77"/>
                      </a:lnTo>
                      <a:lnTo>
                        <a:pt x="41" y="59"/>
                      </a:lnTo>
                      <a:lnTo>
                        <a:pt x="55" y="45"/>
                      </a:lnTo>
                      <a:lnTo>
                        <a:pt x="68" y="36"/>
                      </a:lnTo>
                      <a:lnTo>
                        <a:pt x="91" y="32"/>
                      </a:lnTo>
                      <a:lnTo>
                        <a:pt x="109" y="23"/>
                      </a:lnTo>
                      <a:lnTo>
                        <a:pt x="128" y="14"/>
                      </a:lnTo>
                      <a:lnTo>
                        <a:pt x="141" y="0"/>
                      </a:lnTo>
                      <a:lnTo>
                        <a:pt x="141" y="0"/>
                      </a:lnTo>
                      <a:lnTo>
                        <a:pt x="187" y="0"/>
                      </a:lnTo>
                      <a:lnTo>
                        <a:pt x="187" y="0"/>
                      </a:lnTo>
                      <a:lnTo>
                        <a:pt x="232" y="14"/>
                      </a:lnTo>
                      <a:lnTo>
                        <a:pt x="255" y="27"/>
                      </a:lnTo>
                      <a:lnTo>
                        <a:pt x="278" y="50"/>
                      </a:lnTo>
                      <a:lnTo>
                        <a:pt x="296" y="73"/>
                      </a:lnTo>
                      <a:lnTo>
                        <a:pt x="314" y="95"/>
                      </a:lnTo>
                      <a:lnTo>
                        <a:pt x="328" y="132"/>
                      </a:lnTo>
                      <a:lnTo>
                        <a:pt x="342" y="164"/>
                      </a:lnTo>
                      <a:lnTo>
                        <a:pt x="360" y="186"/>
                      </a:lnTo>
                      <a:lnTo>
                        <a:pt x="383" y="195"/>
                      </a:lnTo>
                      <a:lnTo>
                        <a:pt x="410" y="200"/>
                      </a:lnTo>
                      <a:lnTo>
                        <a:pt x="442" y="209"/>
                      </a:lnTo>
                      <a:lnTo>
                        <a:pt x="474" y="223"/>
                      </a:lnTo>
                      <a:lnTo>
                        <a:pt x="469" y="227"/>
                      </a:lnTo>
                      <a:lnTo>
                        <a:pt x="465" y="232"/>
                      </a:lnTo>
                      <a:lnTo>
                        <a:pt x="460" y="236"/>
                      </a:lnTo>
                      <a:lnTo>
                        <a:pt x="456" y="241"/>
                      </a:lnTo>
                      <a:lnTo>
                        <a:pt x="428" y="245"/>
                      </a:lnTo>
                      <a:lnTo>
                        <a:pt x="401" y="245"/>
                      </a:lnTo>
                      <a:lnTo>
                        <a:pt x="374" y="250"/>
                      </a:lnTo>
                      <a:lnTo>
                        <a:pt x="364" y="273"/>
                      </a:lnTo>
                      <a:lnTo>
                        <a:pt x="364" y="282"/>
                      </a:lnTo>
                      <a:lnTo>
                        <a:pt x="369" y="286"/>
                      </a:lnTo>
                      <a:lnTo>
                        <a:pt x="374" y="295"/>
                      </a:lnTo>
                      <a:lnTo>
                        <a:pt x="374" y="305"/>
                      </a:lnTo>
                      <a:lnTo>
                        <a:pt x="374" y="323"/>
                      </a:lnTo>
                      <a:lnTo>
                        <a:pt x="364" y="336"/>
                      </a:lnTo>
                      <a:lnTo>
                        <a:pt x="360" y="345"/>
                      </a:lnTo>
                      <a:lnTo>
                        <a:pt x="351" y="355"/>
                      </a:lnTo>
                      <a:lnTo>
                        <a:pt x="351" y="355"/>
                      </a:lnTo>
                      <a:lnTo>
                        <a:pt x="351" y="355"/>
                      </a:lnTo>
                      <a:lnTo>
                        <a:pt x="351" y="355"/>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118" name="Freeform 207">
                  <a:extLst>
                    <a:ext uri="{FF2B5EF4-FFF2-40B4-BE49-F238E27FC236}">
                      <a16:creationId xmlns="" xmlns:a16="http://schemas.microsoft.com/office/drawing/2014/main" id="{707888C8-07E9-4EC7-86B0-F76AAAF0ED47}"/>
                    </a:ext>
                  </a:extLst>
                </p:cNvPr>
                <p:cNvSpPr>
                  <a:spLocks noChangeAspect="1"/>
                </p:cNvSpPr>
                <p:nvPr/>
              </p:nvSpPr>
              <p:spPr bwMode="auto">
                <a:xfrm>
                  <a:off x="2174" y="3659"/>
                  <a:ext cx="478" cy="341"/>
                </a:xfrm>
                <a:custGeom>
                  <a:avLst/>
                  <a:gdLst>
                    <a:gd name="T0" fmla="*/ 18 w 478"/>
                    <a:gd name="T1" fmla="*/ 209 h 341"/>
                    <a:gd name="T2" fmla="*/ 41 w 478"/>
                    <a:gd name="T3" fmla="*/ 218 h 341"/>
                    <a:gd name="T4" fmla="*/ 77 w 478"/>
                    <a:gd name="T5" fmla="*/ 232 h 341"/>
                    <a:gd name="T6" fmla="*/ 127 w 478"/>
                    <a:gd name="T7" fmla="*/ 255 h 341"/>
                    <a:gd name="T8" fmla="*/ 159 w 478"/>
                    <a:gd name="T9" fmla="*/ 268 h 341"/>
                    <a:gd name="T10" fmla="*/ 182 w 478"/>
                    <a:gd name="T11" fmla="*/ 273 h 341"/>
                    <a:gd name="T12" fmla="*/ 205 w 478"/>
                    <a:gd name="T13" fmla="*/ 286 h 341"/>
                    <a:gd name="T14" fmla="*/ 218 w 478"/>
                    <a:gd name="T15" fmla="*/ 309 h 341"/>
                    <a:gd name="T16" fmla="*/ 232 w 478"/>
                    <a:gd name="T17" fmla="*/ 318 h 341"/>
                    <a:gd name="T18" fmla="*/ 241 w 478"/>
                    <a:gd name="T19" fmla="*/ 300 h 341"/>
                    <a:gd name="T20" fmla="*/ 273 w 478"/>
                    <a:gd name="T21" fmla="*/ 300 h 341"/>
                    <a:gd name="T22" fmla="*/ 318 w 478"/>
                    <a:gd name="T23" fmla="*/ 327 h 341"/>
                    <a:gd name="T24" fmla="*/ 350 w 478"/>
                    <a:gd name="T25" fmla="*/ 336 h 341"/>
                    <a:gd name="T26" fmla="*/ 387 w 478"/>
                    <a:gd name="T27" fmla="*/ 309 h 341"/>
                    <a:gd name="T28" fmla="*/ 428 w 478"/>
                    <a:gd name="T29" fmla="*/ 305 h 341"/>
                    <a:gd name="T30" fmla="*/ 464 w 478"/>
                    <a:gd name="T31" fmla="*/ 295 h 341"/>
                    <a:gd name="T32" fmla="*/ 460 w 478"/>
                    <a:gd name="T33" fmla="*/ 277 h 341"/>
                    <a:gd name="T34" fmla="*/ 437 w 478"/>
                    <a:gd name="T35" fmla="*/ 264 h 341"/>
                    <a:gd name="T36" fmla="*/ 414 w 478"/>
                    <a:gd name="T37" fmla="*/ 250 h 341"/>
                    <a:gd name="T38" fmla="*/ 387 w 478"/>
                    <a:gd name="T39" fmla="*/ 245 h 341"/>
                    <a:gd name="T40" fmla="*/ 364 w 478"/>
                    <a:gd name="T41" fmla="*/ 236 h 341"/>
                    <a:gd name="T42" fmla="*/ 359 w 478"/>
                    <a:gd name="T43" fmla="*/ 227 h 341"/>
                    <a:gd name="T44" fmla="*/ 364 w 478"/>
                    <a:gd name="T45" fmla="*/ 209 h 341"/>
                    <a:gd name="T46" fmla="*/ 391 w 478"/>
                    <a:gd name="T47" fmla="*/ 191 h 341"/>
                    <a:gd name="T48" fmla="*/ 396 w 478"/>
                    <a:gd name="T49" fmla="*/ 145 h 341"/>
                    <a:gd name="T50" fmla="*/ 382 w 478"/>
                    <a:gd name="T51" fmla="*/ 95 h 341"/>
                    <a:gd name="T52" fmla="*/ 341 w 478"/>
                    <a:gd name="T53" fmla="*/ 68 h 341"/>
                    <a:gd name="T54" fmla="*/ 300 w 478"/>
                    <a:gd name="T55" fmla="*/ 45 h 341"/>
                    <a:gd name="T56" fmla="*/ 282 w 478"/>
                    <a:gd name="T57" fmla="*/ 18 h 341"/>
                    <a:gd name="T58" fmla="*/ 259 w 478"/>
                    <a:gd name="T59" fmla="*/ 14 h 341"/>
                    <a:gd name="T60" fmla="*/ 246 w 478"/>
                    <a:gd name="T61" fmla="*/ 18 h 341"/>
                    <a:gd name="T62" fmla="*/ 232 w 478"/>
                    <a:gd name="T63" fmla="*/ 27 h 341"/>
                    <a:gd name="T64" fmla="*/ 205 w 478"/>
                    <a:gd name="T65" fmla="*/ 27 h 341"/>
                    <a:gd name="T66" fmla="*/ 186 w 478"/>
                    <a:gd name="T67" fmla="*/ 5 h 341"/>
                    <a:gd name="T68" fmla="*/ 168 w 478"/>
                    <a:gd name="T69" fmla="*/ 0 h 341"/>
                    <a:gd name="T70" fmla="*/ 168 w 478"/>
                    <a:gd name="T71" fmla="*/ 18 h 341"/>
                    <a:gd name="T72" fmla="*/ 177 w 478"/>
                    <a:gd name="T73" fmla="*/ 27 h 341"/>
                    <a:gd name="T74" fmla="*/ 182 w 478"/>
                    <a:gd name="T75" fmla="*/ 41 h 341"/>
                    <a:gd name="T76" fmla="*/ 164 w 478"/>
                    <a:gd name="T77" fmla="*/ 45 h 341"/>
                    <a:gd name="T78" fmla="*/ 150 w 478"/>
                    <a:gd name="T79" fmla="*/ 64 h 341"/>
                    <a:gd name="T80" fmla="*/ 159 w 478"/>
                    <a:gd name="T81" fmla="*/ 86 h 341"/>
                    <a:gd name="T82" fmla="*/ 141 w 478"/>
                    <a:gd name="T83" fmla="*/ 86 h 341"/>
                    <a:gd name="T84" fmla="*/ 123 w 478"/>
                    <a:gd name="T85" fmla="*/ 77 h 341"/>
                    <a:gd name="T86" fmla="*/ 104 w 478"/>
                    <a:gd name="T87" fmla="*/ 73 h 341"/>
                    <a:gd name="T88" fmla="*/ 86 w 478"/>
                    <a:gd name="T89" fmla="*/ 82 h 341"/>
                    <a:gd name="T90" fmla="*/ 77 w 478"/>
                    <a:gd name="T91" fmla="*/ 100 h 341"/>
                    <a:gd name="T92" fmla="*/ 63 w 478"/>
                    <a:gd name="T93" fmla="*/ 127 h 341"/>
                    <a:gd name="T94" fmla="*/ 50 w 478"/>
                    <a:gd name="T95" fmla="*/ 155 h 341"/>
                    <a:gd name="T96" fmla="*/ 18 w 478"/>
                    <a:gd name="T97" fmla="*/ 164 h 341"/>
                    <a:gd name="T98" fmla="*/ 0 w 478"/>
                    <a:gd name="T99" fmla="*/ 191 h 341"/>
                    <a:gd name="T100" fmla="*/ 0 w 478"/>
                    <a:gd name="T101" fmla="*/ 205 h 341"/>
                    <a:gd name="T102" fmla="*/ 4 w 478"/>
                    <a:gd name="T103" fmla="*/ 205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8" h="341">
                      <a:moveTo>
                        <a:pt x="4" y="205"/>
                      </a:moveTo>
                      <a:lnTo>
                        <a:pt x="18" y="209"/>
                      </a:lnTo>
                      <a:lnTo>
                        <a:pt x="32" y="214"/>
                      </a:lnTo>
                      <a:lnTo>
                        <a:pt x="41" y="218"/>
                      </a:lnTo>
                      <a:lnTo>
                        <a:pt x="54" y="223"/>
                      </a:lnTo>
                      <a:lnTo>
                        <a:pt x="77" y="232"/>
                      </a:lnTo>
                      <a:lnTo>
                        <a:pt x="104" y="241"/>
                      </a:lnTo>
                      <a:lnTo>
                        <a:pt x="127" y="255"/>
                      </a:lnTo>
                      <a:lnTo>
                        <a:pt x="145" y="264"/>
                      </a:lnTo>
                      <a:lnTo>
                        <a:pt x="159" y="268"/>
                      </a:lnTo>
                      <a:lnTo>
                        <a:pt x="173" y="268"/>
                      </a:lnTo>
                      <a:lnTo>
                        <a:pt x="182" y="273"/>
                      </a:lnTo>
                      <a:lnTo>
                        <a:pt x="196" y="277"/>
                      </a:lnTo>
                      <a:lnTo>
                        <a:pt x="205" y="286"/>
                      </a:lnTo>
                      <a:lnTo>
                        <a:pt x="209" y="295"/>
                      </a:lnTo>
                      <a:lnTo>
                        <a:pt x="218" y="309"/>
                      </a:lnTo>
                      <a:lnTo>
                        <a:pt x="223" y="318"/>
                      </a:lnTo>
                      <a:lnTo>
                        <a:pt x="232" y="318"/>
                      </a:lnTo>
                      <a:lnTo>
                        <a:pt x="237" y="309"/>
                      </a:lnTo>
                      <a:lnTo>
                        <a:pt x="241" y="300"/>
                      </a:lnTo>
                      <a:lnTo>
                        <a:pt x="250" y="295"/>
                      </a:lnTo>
                      <a:lnTo>
                        <a:pt x="273" y="300"/>
                      </a:lnTo>
                      <a:lnTo>
                        <a:pt x="296" y="309"/>
                      </a:lnTo>
                      <a:lnTo>
                        <a:pt x="318" y="327"/>
                      </a:lnTo>
                      <a:lnTo>
                        <a:pt x="328" y="341"/>
                      </a:lnTo>
                      <a:lnTo>
                        <a:pt x="350" y="336"/>
                      </a:lnTo>
                      <a:lnTo>
                        <a:pt x="373" y="323"/>
                      </a:lnTo>
                      <a:lnTo>
                        <a:pt x="387" y="309"/>
                      </a:lnTo>
                      <a:lnTo>
                        <a:pt x="405" y="305"/>
                      </a:lnTo>
                      <a:lnTo>
                        <a:pt x="428" y="305"/>
                      </a:lnTo>
                      <a:lnTo>
                        <a:pt x="446" y="300"/>
                      </a:lnTo>
                      <a:lnTo>
                        <a:pt x="464" y="295"/>
                      </a:lnTo>
                      <a:lnTo>
                        <a:pt x="478" y="282"/>
                      </a:lnTo>
                      <a:lnTo>
                        <a:pt x="460" y="277"/>
                      </a:lnTo>
                      <a:lnTo>
                        <a:pt x="446" y="273"/>
                      </a:lnTo>
                      <a:lnTo>
                        <a:pt x="437" y="264"/>
                      </a:lnTo>
                      <a:lnTo>
                        <a:pt x="428" y="255"/>
                      </a:lnTo>
                      <a:lnTo>
                        <a:pt x="414" y="250"/>
                      </a:lnTo>
                      <a:lnTo>
                        <a:pt x="400" y="245"/>
                      </a:lnTo>
                      <a:lnTo>
                        <a:pt x="387" y="245"/>
                      </a:lnTo>
                      <a:lnTo>
                        <a:pt x="369" y="241"/>
                      </a:lnTo>
                      <a:lnTo>
                        <a:pt x="364" y="236"/>
                      </a:lnTo>
                      <a:lnTo>
                        <a:pt x="364" y="232"/>
                      </a:lnTo>
                      <a:lnTo>
                        <a:pt x="359" y="227"/>
                      </a:lnTo>
                      <a:lnTo>
                        <a:pt x="359" y="223"/>
                      </a:lnTo>
                      <a:lnTo>
                        <a:pt x="364" y="209"/>
                      </a:lnTo>
                      <a:lnTo>
                        <a:pt x="378" y="200"/>
                      </a:lnTo>
                      <a:lnTo>
                        <a:pt x="391" y="191"/>
                      </a:lnTo>
                      <a:lnTo>
                        <a:pt x="396" y="173"/>
                      </a:lnTo>
                      <a:lnTo>
                        <a:pt x="396" y="145"/>
                      </a:lnTo>
                      <a:lnTo>
                        <a:pt x="391" y="118"/>
                      </a:lnTo>
                      <a:lnTo>
                        <a:pt x="382" y="95"/>
                      </a:lnTo>
                      <a:lnTo>
                        <a:pt x="364" y="77"/>
                      </a:lnTo>
                      <a:lnTo>
                        <a:pt x="341" y="68"/>
                      </a:lnTo>
                      <a:lnTo>
                        <a:pt x="318" y="59"/>
                      </a:lnTo>
                      <a:lnTo>
                        <a:pt x="300" y="45"/>
                      </a:lnTo>
                      <a:lnTo>
                        <a:pt x="296" y="18"/>
                      </a:lnTo>
                      <a:lnTo>
                        <a:pt x="282" y="18"/>
                      </a:lnTo>
                      <a:lnTo>
                        <a:pt x="268" y="14"/>
                      </a:lnTo>
                      <a:lnTo>
                        <a:pt x="259" y="14"/>
                      </a:lnTo>
                      <a:lnTo>
                        <a:pt x="255" y="14"/>
                      </a:lnTo>
                      <a:lnTo>
                        <a:pt x="246" y="18"/>
                      </a:lnTo>
                      <a:lnTo>
                        <a:pt x="237" y="23"/>
                      </a:lnTo>
                      <a:lnTo>
                        <a:pt x="232" y="27"/>
                      </a:lnTo>
                      <a:lnTo>
                        <a:pt x="218" y="32"/>
                      </a:lnTo>
                      <a:lnTo>
                        <a:pt x="205" y="27"/>
                      </a:lnTo>
                      <a:lnTo>
                        <a:pt x="196" y="14"/>
                      </a:lnTo>
                      <a:lnTo>
                        <a:pt x="186" y="5"/>
                      </a:lnTo>
                      <a:lnTo>
                        <a:pt x="168" y="0"/>
                      </a:lnTo>
                      <a:lnTo>
                        <a:pt x="168" y="0"/>
                      </a:lnTo>
                      <a:lnTo>
                        <a:pt x="168" y="18"/>
                      </a:lnTo>
                      <a:lnTo>
                        <a:pt x="168" y="18"/>
                      </a:lnTo>
                      <a:lnTo>
                        <a:pt x="173" y="23"/>
                      </a:lnTo>
                      <a:lnTo>
                        <a:pt x="177" y="27"/>
                      </a:lnTo>
                      <a:lnTo>
                        <a:pt x="182" y="36"/>
                      </a:lnTo>
                      <a:lnTo>
                        <a:pt x="182" y="41"/>
                      </a:lnTo>
                      <a:lnTo>
                        <a:pt x="177" y="45"/>
                      </a:lnTo>
                      <a:lnTo>
                        <a:pt x="164" y="45"/>
                      </a:lnTo>
                      <a:lnTo>
                        <a:pt x="155" y="50"/>
                      </a:lnTo>
                      <a:lnTo>
                        <a:pt x="150" y="64"/>
                      </a:lnTo>
                      <a:lnTo>
                        <a:pt x="155" y="77"/>
                      </a:lnTo>
                      <a:lnTo>
                        <a:pt x="159" y="86"/>
                      </a:lnTo>
                      <a:lnTo>
                        <a:pt x="155" y="91"/>
                      </a:lnTo>
                      <a:lnTo>
                        <a:pt x="141" y="86"/>
                      </a:lnTo>
                      <a:lnTo>
                        <a:pt x="132" y="82"/>
                      </a:lnTo>
                      <a:lnTo>
                        <a:pt x="123" y="77"/>
                      </a:lnTo>
                      <a:lnTo>
                        <a:pt x="114" y="73"/>
                      </a:lnTo>
                      <a:lnTo>
                        <a:pt x="104" y="73"/>
                      </a:lnTo>
                      <a:lnTo>
                        <a:pt x="91" y="77"/>
                      </a:lnTo>
                      <a:lnTo>
                        <a:pt x="86" y="82"/>
                      </a:lnTo>
                      <a:lnTo>
                        <a:pt x="82" y="91"/>
                      </a:lnTo>
                      <a:lnTo>
                        <a:pt x="77" y="100"/>
                      </a:lnTo>
                      <a:lnTo>
                        <a:pt x="73" y="114"/>
                      </a:lnTo>
                      <a:lnTo>
                        <a:pt x="63" y="127"/>
                      </a:lnTo>
                      <a:lnTo>
                        <a:pt x="59" y="141"/>
                      </a:lnTo>
                      <a:lnTo>
                        <a:pt x="50" y="155"/>
                      </a:lnTo>
                      <a:lnTo>
                        <a:pt x="36" y="164"/>
                      </a:lnTo>
                      <a:lnTo>
                        <a:pt x="18" y="164"/>
                      </a:lnTo>
                      <a:lnTo>
                        <a:pt x="4" y="168"/>
                      </a:lnTo>
                      <a:lnTo>
                        <a:pt x="0" y="191"/>
                      </a:lnTo>
                      <a:lnTo>
                        <a:pt x="0" y="191"/>
                      </a:lnTo>
                      <a:lnTo>
                        <a:pt x="0" y="205"/>
                      </a:lnTo>
                      <a:lnTo>
                        <a:pt x="4" y="205"/>
                      </a:lnTo>
                      <a:lnTo>
                        <a:pt x="4" y="205"/>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119" name="Freeform 208">
                  <a:extLst>
                    <a:ext uri="{FF2B5EF4-FFF2-40B4-BE49-F238E27FC236}">
                      <a16:creationId xmlns="" xmlns:a16="http://schemas.microsoft.com/office/drawing/2014/main" id="{45F2D7C2-B99B-4307-8B00-364FD975A977}"/>
                    </a:ext>
                  </a:extLst>
                </p:cNvPr>
                <p:cNvSpPr>
                  <a:spLocks noChangeAspect="1"/>
                </p:cNvSpPr>
                <p:nvPr/>
              </p:nvSpPr>
              <p:spPr bwMode="auto">
                <a:xfrm>
                  <a:off x="2247" y="2877"/>
                  <a:ext cx="382" cy="359"/>
                </a:xfrm>
                <a:custGeom>
                  <a:avLst/>
                  <a:gdLst>
                    <a:gd name="T0" fmla="*/ 341 w 382"/>
                    <a:gd name="T1" fmla="*/ 27 h 359"/>
                    <a:gd name="T2" fmla="*/ 327 w 382"/>
                    <a:gd name="T3" fmla="*/ 27 h 359"/>
                    <a:gd name="T4" fmla="*/ 309 w 382"/>
                    <a:gd name="T5" fmla="*/ 27 h 359"/>
                    <a:gd name="T6" fmla="*/ 291 w 382"/>
                    <a:gd name="T7" fmla="*/ 37 h 359"/>
                    <a:gd name="T8" fmla="*/ 245 w 382"/>
                    <a:gd name="T9" fmla="*/ 32 h 359"/>
                    <a:gd name="T10" fmla="*/ 200 w 382"/>
                    <a:gd name="T11" fmla="*/ 5 h 359"/>
                    <a:gd name="T12" fmla="*/ 145 w 382"/>
                    <a:gd name="T13" fmla="*/ 0 h 359"/>
                    <a:gd name="T14" fmla="*/ 136 w 382"/>
                    <a:gd name="T15" fmla="*/ 18 h 359"/>
                    <a:gd name="T16" fmla="*/ 132 w 382"/>
                    <a:gd name="T17" fmla="*/ 64 h 359"/>
                    <a:gd name="T18" fmla="*/ 109 w 382"/>
                    <a:gd name="T19" fmla="*/ 105 h 359"/>
                    <a:gd name="T20" fmla="*/ 77 w 382"/>
                    <a:gd name="T21" fmla="*/ 137 h 359"/>
                    <a:gd name="T22" fmla="*/ 41 w 382"/>
                    <a:gd name="T23" fmla="*/ 164 h 359"/>
                    <a:gd name="T24" fmla="*/ 18 w 382"/>
                    <a:gd name="T25" fmla="*/ 191 h 359"/>
                    <a:gd name="T26" fmla="*/ 4 w 382"/>
                    <a:gd name="T27" fmla="*/ 209 h 359"/>
                    <a:gd name="T28" fmla="*/ 4 w 382"/>
                    <a:gd name="T29" fmla="*/ 246 h 359"/>
                    <a:gd name="T30" fmla="*/ 22 w 382"/>
                    <a:gd name="T31" fmla="*/ 282 h 359"/>
                    <a:gd name="T32" fmla="*/ 36 w 382"/>
                    <a:gd name="T33" fmla="*/ 309 h 359"/>
                    <a:gd name="T34" fmla="*/ 50 w 382"/>
                    <a:gd name="T35" fmla="*/ 309 h 359"/>
                    <a:gd name="T36" fmla="*/ 68 w 382"/>
                    <a:gd name="T37" fmla="*/ 327 h 359"/>
                    <a:gd name="T38" fmla="*/ 95 w 382"/>
                    <a:gd name="T39" fmla="*/ 355 h 359"/>
                    <a:gd name="T40" fmla="*/ 123 w 382"/>
                    <a:gd name="T41" fmla="*/ 355 h 359"/>
                    <a:gd name="T42" fmla="*/ 136 w 382"/>
                    <a:gd name="T43" fmla="*/ 341 h 359"/>
                    <a:gd name="T44" fmla="*/ 164 w 382"/>
                    <a:gd name="T45" fmla="*/ 332 h 359"/>
                    <a:gd name="T46" fmla="*/ 195 w 382"/>
                    <a:gd name="T47" fmla="*/ 341 h 359"/>
                    <a:gd name="T48" fmla="*/ 232 w 382"/>
                    <a:gd name="T49" fmla="*/ 332 h 359"/>
                    <a:gd name="T50" fmla="*/ 273 w 382"/>
                    <a:gd name="T51" fmla="*/ 323 h 359"/>
                    <a:gd name="T52" fmla="*/ 291 w 382"/>
                    <a:gd name="T53" fmla="*/ 309 h 359"/>
                    <a:gd name="T54" fmla="*/ 291 w 382"/>
                    <a:gd name="T55" fmla="*/ 305 h 359"/>
                    <a:gd name="T56" fmla="*/ 286 w 382"/>
                    <a:gd name="T57" fmla="*/ 287 h 359"/>
                    <a:gd name="T58" fmla="*/ 277 w 382"/>
                    <a:gd name="T59" fmla="*/ 268 h 359"/>
                    <a:gd name="T60" fmla="*/ 291 w 382"/>
                    <a:gd name="T61" fmla="*/ 223 h 359"/>
                    <a:gd name="T62" fmla="*/ 364 w 382"/>
                    <a:gd name="T63" fmla="*/ 205 h 359"/>
                    <a:gd name="T64" fmla="*/ 373 w 382"/>
                    <a:gd name="T65" fmla="*/ 173 h 359"/>
                    <a:gd name="T66" fmla="*/ 364 w 382"/>
                    <a:gd name="T67" fmla="*/ 155 h 359"/>
                    <a:gd name="T68" fmla="*/ 364 w 382"/>
                    <a:gd name="T69" fmla="*/ 137 h 359"/>
                    <a:gd name="T70" fmla="*/ 373 w 382"/>
                    <a:gd name="T71" fmla="*/ 118 h 359"/>
                    <a:gd name="T72" fmla="*/ 368 w 382"/>
                    <a:gd name="T73" fmla="*/ 91 h 359"/>
                    <a:gd name="T74" fmla="*/ 350 w 382"/>
                    <a:gd name="T75" fmla="*/ 64 h 359"/>
                    <a:gd name="T76" fmla="*/ 346 w 382"/>
                    <a:gd name="T77" fmla="*/ 37 h 359"/>
                    <a:gd name="T78" fmla="*/ 346 w 382"/>
                    <a:gd name="T79" fmla="*/ 32 h 359"/>
                    <a:gd name="T80" fmla="*/ 350 w 382"/>
                    <a:gd name="T81" fmla="*/ 27 h 359"/>
                    <a:gd name="T82" fmla="*/ 350 w 382"/>
                    <a:gd name="T83" fmla="*/ 2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2" h="359">
                      <a:moveTo>
                        <a:pt x="350" y="27"/>
                      </a:moveTo>
                      <a:lnTo>
                        <a:pt x="341" y="27"/>
                      </a:lnTo>
                      <a:lnTo>
                        <a:pt x="332" y="27"/>
                      </a:lnTo>
                      <a:lnTo>
                        <a:pt x="327" y="27"/>
                      </a:lnTo>
                      <a:lnTo>
                        <a:pt x="318" y="27"/>
                      </a:lnTo>
                      <a:lnTo>
                        <a:pt x="309" y="27"/>
                      </a:lnTo>
                      <a:lnTo>
                        <a:pt x="300" y="32"/>
                      </a:lnTo>
                      <a:lnTo>
                        <a:pt x="291" y="37"/>
                      </a:lnTo>
                      <a:lnTo>
                        <a:pt x="277" y="37"/>
                      </a:lnTo>
                      <a:lnTo>
                        <a:pt x="245" y="32"/>
                      </a:lnTo>
                      <a:lnTo>
                        <a:pt x="223" y="18"/>
                      </a:lnTo>
                      <a:lnTo>
                        <a:pt x="200" y="5"/>
                      </a:lnTo>
                      <a:lnTo>
                        <a:pt x="168" y="0"/>
                      </a:lnTo>
                      <a:lnTo>
                        <a:pt x="145" y="0"/>
                      </a:lnTo>
                      <a:lnTo>
                        <a:pt x="136" y="9"/>
                      </a:lnTo>
                      <a:lnTo>
                        <a:pt x="136" y="18"/>
                      </a:lnTo>
                      <a:lnTo>
                        <a:pt x="136" y="37"/>
                      </a:lnTo>
                      <a:lnTo>
                        <a:pt x="132" y="64"/>
                      </a:lnTo>
                      <a:lnTo>
                        <a:pt x="123" y="87"/>
                      </a:lnTo>
                      <a:lnTo>
                        <a:pt x="109" y="105"/>
                      </a:lnTo>
                      <a:lnTo>
                        <a:pt x="95" y="123"/>
                      </a:lnTo>
                      <a:lnTo>
                        <a:pt x="77" y="137"/>
                      </a:lnTo>
                      <a:lnTo>
                        <a:pt x="59" y="150"/>
                      </a:lnTo>
                      <a:lnTo>
                        <a:pt x="41" y="164"/>
                      </a:lnTo>
                      <a:lnTo>
                        <a:pt x="27" y="182"/>
                      </a:lnTo>
                      <a:lnTo>
                        <a:pt x="18" y="191"/>
                      </a:lnTo>
                      <a:lnTo>
                        <a:pt x="9" y="200"/>
                      </a:lnTo>
                      <a:lnTo>
                        <a:pt x="4" y="209"/>
                      </a:lnTo>
                      <a:lnTo>
                        <a:pt x="0" y="223"/>
                      </a:lnTo>
                      <a:lnTo>
                        <a:pt x="4" y="246"/>
                      </a:lnTo>
                      <a:lnTo>
                        <a:pt x="13" y="264"/>
                      </a:lnTo>
                      <a:lnTo>
                        <a:pt x="22" y="282"/>
                      </a:lnTo>
                      <a:lnTo>
                        <a:pt x="27" y="305"/>
                      </a:lnTo>
                      <a:lnTo>
                        <a:pt x="36" y="309"/>
                      </a:lnTo>
                      <a:lnTo>
                        <a:pt x="45" y="309"/>
                      </a:lnTo>
                      <a:lnTo>
                        <a:pt x="50" y="309"/>
                      </a:lnTo>
                      <a:lnTo>
                        <a:pt x="59" y="314"/>
                      </a:lnTo>
                      <a:lnTo>
                        <a:pt x="68" y="327"/>
                      </a:lnTo>
                      <a:lnTo>
                        <a:pt x="82" y="341"/>
                      </a:lnTo>
                      <a:lnTo>
                        <a:pt x="95" y="355"/>
                      </a:lnTo>
                      <a:lnTo>
                        <a:pt x="113" y="359"/>
                      </a:lnTo>
                      <a:lnTo>
                        <a:pt x="123" y="355"/>
                      </a:lnTo>
                      <a:lnTo>
                        <a:pt x="132" y="350"/>
                      </a:lnTo>
                      <a:lnTo>
                        <a:pt x="136" y="341"/>
                      </a:lnTo>
                      <a:lnTo>
                        <a:pt x="150" y="337"/>
                      </a:lnTo>
                      <a:lnTo>
                        <a:pt x="164" y="332"/>
                      </a:lnTo>
                      <a:lnTo>
                        <a:pt x="177" y="337"/>
                      </a:lnTo>
                      <a:lnTo>
                        <a:pt x="195" y="341"/>
                      </a:lnTo>
                      <a:lnTo>
                        <a:pt x="214" y="337"/>
                      </a:lnTo>
                      <a:lnTo>
                        <a:pt x="232" y="332"/>
                      </a:lnTo>
                      <a:lnTo>
                        <a:pt x="255" y="327"/>
                      </a:lnTo>
                      <a:lnTo>
                        <a:pt x="273" y="323"/>
                      </a:lnTo>
                      <a:lnTo>
                        <a:pt x="291" y="314"/>
                      </a:lnTo>
                      <a:lnTo>
                        <a:pt x="291" y="309"/>
                      </a:lnTo>
                      <a:lnTo>
                        <a:pt x="291" y="305"/>
                      </a:lnTo>
                      <a:lnTo>
                        <a:pt x="291" y="305"/>
                      </a:lnTo>
                      <a:lnTo>
                        <a:pt x="291" y="300"/>
                      </a:lnTo>
                      <a:lnTo>
                        <a:pt x="286" y="287"/>
                      </a:lnTo>
                      <a:lnTo>
                        <a:pt x="282" y="277"/>
                      </a:lnTo>
                      <a:lnTo>
                        <a:pt x="277" y="268"/>
                      </a:lnTo>
                      <a:lnTo>
                        <a:pt x="273" y="250"/>
                      </a:lnTo>
                      <a:lnTo>
                        <a:pt x="291" y="223"/>
                      </a:lnTo>
                      <a:lnTo>
                        <a:pt x="327" y="214"/>
                      </a:lnTo>
                      <a:lnTo>
                        <a:pt x="364" y="205"/>
                      </a:lnTo>
                      <a:lnTo>
                        <a:pt x="382" y="177"/>
                      </a:lnTo>
                      <a:lnTo>
                        <a:pt x="373" y="173"/>
                      </a:lnTo>
                      <a:lnTo>
                        <a:pt x="368" y="168"/>
                      </a:lnTo>
                      <a:lnTo>
                        <a:pt x="364" y="155"/>
                      </a:lnTo>
                      <a:lnTo>
                        <a:pt x="364" y="146"/>
                      </a:lnTo>
                      <a:lnTo>
                        <a:pt x="364" y="137"/>
                      </a:lnTo>
                      <a:lnTo>
                        <a:pt x="368" y="127"/>
                      </a:lnTo>
                      <a:lnTo>
                        <a:pt x="373" y="118"/>
                      </a:lnTo>
                      <a:lnTo>
                        <a:pt x="373" y="109"/>
                      </a:lnTo>
                      <a:lnTo>
                        <a:pt x="368" y="91"/>
                      </a:lnTo>
                      <a:lnTo>
                        <a:pt x="359" y="77"/>
                      </a:lnTo>
                      <a:lnTo>
                        <a:pt x="350" y="64"/>
                      </a:lnTo>
                      <a:lnTo>
                        <a:pt x="346" y="41"/>
                      </a:lnTo>
                      <a:lnTo>
                        <a:pt x="346" y="37"/>
                      </a:lnTo>
                      <a:lnTo>
                        <a:pt x="346" y="32"/>
                      </a:lnTo>
                      <a:lnTo>
                        <a:pt x="346" y="32"/>
                      </a:lnTo>
                      <a:lnTo>
                        <a:pt x="350" y="27"/>
                      </a:lnTo>
                      <a:lnTo>
                        <a:pt x="350" y="27"/>
                      </a:lnTo>
                      <a:lnTo>
                        <a:pt x="350" y="27"/>
                      </a:lnTo>
                      <a:lnTo>
                        <a:pt x="350" y="27"/>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120" name="Freeform 209">
                  <a:extLst>
                    <a:ext uri="{FF2B5EF4-FFF2-40B4-BE49-F238E27FC236}">
                      <a16:creationId xmlns="" xmlns:a16="http://schemas.microsoft.com/office/drawing/2014/main" id="{5B312F28-E2B2-4520-BCF3-DF76BEFE9925}"/>
                    </a:ext>
                  </a:extLst>
                </p:cNvPr>
                <p:cNvSpPr>
                  <a:spLocks noChangeAspect="1"/>
                </p:cNvSpPr>
                <p:nvPr/>
              </p:nvSpPr>
              <p:spPr bwMode="auto">
                <a:xfrm>
                  <a:off x="2520" y="2909"/>
                  <a:ext cx="524" cy="573"/>
                </a:xfrm>
                <a:custGeom>
                  <a:avLst/>
                  <a:gdLst>
                    <a:gd name="T0" fmla="*/ 382 w 524"/>
                    <a:gd name="T1" fmla="*/ 132 h 573"/>
                    <a:gd name="T2" fmla="*/ 401 w 524"/>
                    <a:gd name="T3" fmla="*/ 159 h 573"/>
                    <a:gd name="T4" fmla="*/ 414 w 524"/>
                    <a:gd name="T5" fmla="*/ 186 h 573"/>
                    <a:gd name="T6" fmla="*/ 419 w 524"/>
                    <a:gd name="T7" fmla="*/ 236 h 573"/>
                    <a:gd name="T8" fmla="*/ 433 w 524"/>
                    <a:gd name="T9" fmla="*/ 295 h 573"/>
                    <a:gd name="T10" fmla="*/ 464 w 524"/>
                    <a:gd name="T11" fmla="*/ 345 h 573"/>
                    <a:gd name="T12" fmla="*/ 487 w 524"/>
                    <a:gd name="T13" fmla="*/ 368 h 573"/>
                    <a:gd name="T14" fmla="*/ 483 w 524"/>
                    <a:gd name="T15" fmla="*/ 377 h 573"/>
                    <a:gd name="T16" fmla="*/ 487 w 524"/>
                    <a:gd name="T17" fmla="*/ 395 h 573"/>
                    <a:gd name="T18" fmla="*/ 519 w 524"/>
                    <a:gd name="T19" fmla="*/ 414 h 573"/>
                    <a:gd name="T20" fmla="*/ 519 w 524"/>
                    <a:gd name="T21" fmla="*/ 441 h 573"/>
                    <a:gd name="T22" fmla="*/ 505 w 524"/>
                    <a:gd name="T23" fmla="*/ 455 h 573"/>
                    <a:gd name="T24" fmla="*/ 501 w 524"/>
                    <a:gd name="T25" fmla="*/ 473 h 573"/>
                    <a:gd name="T26" fmla="*/ 501 w 524"/>
                    <a:gd name="T27" fmla="*/ 477 h 573"/>
                    <a:gd name="T28" fmla="*/ 492 w 524"/>
                    <a:gd name="T29" fmla="*/ 491 h 573"/>
                    <a:gd name="T30" fmla="*/ 469 w 524"/>
                    <a:gd name="T31" fmla="*/ 509 h 573"/>
                    <a:gd name="T32" fmla="*/ 437 w 524"/>
                    <a:gd name="T33" fmla="*/ 518 h 573"/>
                    <a:gd name="T34" fmla="*/ 401 w 524"/>
                    <a:gd name="T35" fmla="*/ 523 h 573"/>
                    <a:gd name="T36" fmla="*/ 396 w 524"/>
                    <a:gd name="T37" fmla="*/ 541 h 573"/>
                    <a:gd name="T38" fmla="*/ 410 w 524"/>
                    <a:gd name="T39" fmla="*/ 550 h 573"/>
                    <a:gd name="T40" fmla="*/ 405 w 524"/>
                    <a:gd name="T41" fmla="*/ 568 h 573"/>
                    <a:gd name="T42" fmla="*/ 382 w 524"/>
                    <a:gd name="T43" fmla="*/ 568 h 573"/>
                    <a:gd name="T44" fmla="*/ 337 w 524"/>
                    <a:gd name="T45" fmla="*/ 559 h 573"/>
                    <a:gd name="T46" fmla="*/ 278 w 524"/>
                    <a:gd name="T47" fmla="*/ 545 h 573"/>
                    <a:gd name="T48" fmla="*/ 237 w 524"/>
                    <a:gd name="T49" fmla="*/ 514 h 573"/>
                    <a:gd name="T50" fmla="*/ 209 w 524"/>
                    <a:gd name="T51" fmla="*/ 445 h 573"/>
                    <a:gd name="T52" fmla="*/ 173 w 524"/>
                    <a:gd name="T53" fmla="*/ 400 h 573"/>
                    <a:gd name="T54" fmla="*/ 127 w 524"/>
                    <a:gd name="T55" fmla="*/ 364 h 573"/>
                    <a:gd name="T56" fmla="*/ 82 w 524"/>
                    <a:gd name="T57" fmla="*/ 350 h 573"/>
                    <a:gd name="T58" fmla="*/ 36 w 524"/>
                    <a:gd name="T59" fmla="*/ 350 h 573"/>
                    <a:gd name="T60" fmla="*/ 36 w 524"/>
                    <a:gd name="T61" fmla="*/ 336 h 573"/>
                    <a:gd name="T62" fmla="*/ 36 w 524"/>
                    <a:gd name="T63" fmla="*/ 327 h 573"/>
                    <a:gd name="T64" fmla="*/ 27 w 524"/>
                    <a:gd name="T65" fmla="*/ 300 h 573"/>
                    <a:gd name="T66" fmla="*/ 18 w 524"/>
                    <a:gd name="T67" fmla="*/ 282 h 573"/>
                    <a:gd name="T68" fmla="*/ 18 w 524"/>
                    <a:gd name="T69" fmla="*/ 273 h 573"/>
                    <a:gd name="T70" fmla="*/ 18 w 524"/>
                    <a:gd name="T71" fmla="*/ 268 h 573"/>
                    <a:gd name="T72" fmla="*/ 9 w 524"/>
                    <a:gd name="T73" fmla="*/ 245 h 573"/>
                    <a:gd name="T74" fmla="*/ 0 w 524"/>
                    <a:gd name="T75" fmla="*/ 218 h 573"/>
                    <a:gd name="T76" fmla="*/ 54 w 524"/>
                    <a:gd name="T77" fmla="*/ 182 h 573"/>
                    <a:gd name="T78" fmla="*/ 109 w 524"/>
                    <a:gd name="T79" fmla="*/ 145 h 573"/>
                    <a:gd name="T80" fmla="*/ 127 w 524"/>
                    <a:gd name="T81" fmla="*/ 136 h 573"/>
                    <a:gd name="T82" fmla="*/ 141 w 524"/>
                    <a:gd name="T83" fmla="*/ 132 h 573"/>
                    <a:gd name="T84" fmla="*/ 155 w 524"/>
                    <a:gd name="T85" fmla="*/ 136 h 573"/>
                    <a:gd name="T86" fmla="*/ 168 w 524"/>
                    <a:gd name="T87" fmla="*/ 141 h 573"/>
                    <a:gd name="T88" fmla="*/ 191 w 524"/>
                    <a:gd name="T89" fmla="*/ 127 h 573"/>
                    <a:gd name="T90" fmla="*/ 205 w 524"/>
                    <a:gd name="T91" fmla="*/ 100 h 573"/>
                    <a:gd name="T92" fmla="*/ 237 w 524"/>
                    <a:gd name="T93" fmla="*/ 45 h 573"/>
                    <a:gd name="T94" fmla="*/ 287 w 524"/>
                    <a:gd name="T95" fmla="*/ 0 h 573"/>
                    <a:gd name="T96" fmla="*/ 300 w 524"/>
                    <a:gd name="T97" fmla="*/ 0 h 573"/>
                    <a:gd name="T98" fmla="*/ 300 w 524"/>
                    <a:gd name="T99" fmla="*/ 14 h 573"/>
                    <a:gd name="T100" fmla="*/ 296 w 524"/>
                    <a:gd name="T101" fmla="*/ 23 h 573"/>
                    <a:gd name="T102" fmla="*/ 291 w 524"/>
                    <a:gd name="T103" fmla="*/ 32 h 573"/>
                    <a:gd name="T104" fmla="*/ 300 w 524"/>
                    <a:gd name="T105" fmla="*/ 36 h 573"/>
                    <a:gd name="T106" fmla="*/ 319 w 524"/>
                    <a:gd name="T107" fmla="*/ 41 h 573"/>
                    <a:gd name="T108" fmla="*/ 346 w 524"/>
                    <a:gd name="T109" fmla="*/ 73 h 573"/>
                    <a:gd name="T110" fmla="*/ 378 w 524"/>
                    <a:gd name="T111" fmla="*/ 114 h 573"/>
                    <a:gd name="T112" fmla="*/ 378 w 524"/>
                    <a:gd name="T113" fmla="*/ 11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4" h="573">
                      <a:moveTo>
                        <a:pt x="378" y="114"/>
                      </a:moveTo>
                      <a:lnTo>
                        <a:pt x="382" y="132"/>
                      </a:lnTo>
                      <a:lnTo>
                        <a:pt x="392" y="145"/>
                      </a:lnTo>
                      <a:lnTo>
                        <a:pt x="401" y="159"/>
                      </a:lnTo>
                      <a:lnTo>
                        <a:pt x="410" y="168"/>
                      </a:lnTo>
                      <a:lnTo>
                        <a:pt x="414" y="186"/>
                      </a:lnTo>
                      <a:lnTo>
                        <a:pt x="419" y="209"/>
                      </a:lnTo>
                      <a:lnTo>
                        <a:pt x="419" y="236"/>
                      </a:lnTo>
                      <a:lnTo>
                        <a:pt x="423" y="255"/>
                      </a:lnTo>
                      <a:lnTo>
                        <a:pt x="433" y="295"/>
                      </a:lnTo>
                      <a:lnTo>
                        <a:pt x="446" y="323"/>
                      </a:lnTo>
                      <a:lnTo>
                        <a:pt x="464" y="345"/>
                      </a:lnTo>
                      <a:lnTo>
                        <a:pt x="492" y="364"/>
                      </a:lnTo>
                      <a:lnTo>
                        <a:pt x="487" y="368"/>
                      </a:lnTo>
                      <a:lnTo>
                        <a:pt x="487" y="373"/>
                      </a:lnTo>
                      <a:lnTo>
                        <a:pt x="483" y="377"/>
                      </a:lnTo>
                      <a:lnTo>
                        <a:pt x="483" y="382"/>
                      </a:lnTo>
                      <a:lnTo>
                        <a:pt x="487" y="395"/>
                      </a:lnTo>
                      <a:lnTo>
                        <a:pt x="505" y="405"/>
                      </a:lnTo>
                      <a:lnTo>
                        <a:pt x="519" y="414"/>
                      </a:lnTo>
                      <a:lnTo>
                        <a:pt x="524" y="427"/>
                      </a:lnTo>
                      <a:lnTo>
                        <a:pt x="519" y="441"/>
                      </a:lnTo>
                      <a:lnTo>
                        <a:pt x="515" y="445"/>
                      </a:lnTo>
                      <a:lnTo>
                        <a:pt x="505" y="455"/>
                      </a:lnTo>
                      <a:lnTo>
                        <a:pt x="501" y="468"/>
                      </a:lnTo>
                      <a:lnTo>
                        <a:pt x="501" y="473"/>
                      </a:lnTo>
                      <a:lnTo>
                        <a:pt x="501" y="473"/>
                      </a:lnTo>
                      <a:lnTo>
                        <a:pt x="501" y="477"/>
                      </a:lnTo>
                      <a:lnTo>
                        <a:pt x="505" y="482"/>
                      </a:lnTo>
                      <a:lnTo>
                        <a:pt x="492" y="491"/>
                      </a:lnTo>
                      <a:lnTo>
                        <a:pt x="483" y="500"/>
                      </a:lnTo>
                      <a:lnTo>
                        <a:pt x="469" y="509"/>
                      </a:lnTo>
                      <a:lnTo>
                        <a:pt x="455" y="518"/>
                      </a:lnTo>
                      <a:lnTo>
                        <a:pt x="437" y="518"/>
                      </a:lnTo>
                      <a:lnTo>
                        <a:pt x="419" y="518"/>
                      </a:lnTo>
                      <a:lnTo>
                        <a:pt x="401" y="523"/>
                      </a:lnTo>
                      <a:lnTo>
                        <a:pt x="396" y="532"/>
                      </a:lnTo>
                      <a:lnTo>
                        <a:pt x="396" y="541"/>
                      </a:lnTo>
                      <a:lnTo>
                        <a:pt x="405" y="545"/>
                      </a:lnTo>
                      <a:lnTo>
                        <a:pt x="410" y="550"/>
                      </a:lnTo>
                      <a:lnTo>
                        <a:pt x="410" y="559"/>
                      </a:lnTo>
                      <a:lnTo>
                        <a:pt x="405" y="568"/>
                      </a:lnTo>
                      <a:lnTo>
                        <a:pt x="396" y="573"/>
                      </a:lnTo>
                      <a:lnTo>
                        <a:pt x="382" y="568"/>
                      </a:lnTo>
                      <a:lnTo>
                        <a:pt x="369" y="573"/>
                      </a:lnTo>
                      <a:lnTo>
                        <a:pt x="337" y="559"/>
                      </a:lnTo>
                      <a:lnTo>
                        <a:pt x="305" y="550"/>
                      </a:lnTo>
                      <a:lnTo>
                        <a:pt x="278" y="545"/>
                      </a:lnTo>
                      <a:lnTo>
                        <a:pt x="255" y="536"/>
                      </a:lnTo>
                      <a:lnTo>
                        <a:pt x="237" y="514"/>
                      </a:lnTo>
                      <a:lnTo>
                        <a:pt x="223" y="482"/>
                      </a:lnTo>
                      <a:lnTo>
                        <a:pt x="209" y="445"/>
                      </a:lnTo>
                      <a:lnTo>
                        <a:pt x="191" y="423"/>
                      </a:lnTo>
                      <a:lnTo>
                        <a:pt x="173" y="400"/>
                      </a:lnTo>
                      <a:lnTo>
                        <a:pt x="150" y="377"/>
                      </a:lnTo>
                      <a:lnTo>
                        <a:pt x="127" y="364"/>
                      </a:lnTo>
                      <a:lnTo>
                        <a:pt x="82" y="350"/>
                      </a:lnTo>
                      <a:lnTo>
                        <a:pt x="82" y="350"/>
                      </a:lnTo>
                      <a:lnTo>
                        <a:pt x="36" y="350"/>
                      </a:lnTo>
                      <a:lnTo>
                        <a:pt x="36" y="350"/>
                      </a:lnTo>
                      <a:lnTo>
                        <a:pt x="36" y="341"/>
                      </a:lnTo>
                      <a:lnTo>
                        <a:pt x="36" y="336"/>
                      </a:lnTo>
                      <a:lnTo>
                        <a:pt x="36" y="332"/>
                      </a:lnTo>
                      <a:lnTo>
                        <a:pt x="36" y="327"/>
                      </a:lnTo>
                      <a:lnTo>
                        <a:pt x="32" y="314"/>
                      </a:lnTo>
                      <a:lnTo>
                        <a:pt x="27" y="300"/>
                      </a:lnTo>
                      <a:lnTo>
                        <a:pt x="23" y="291"/>
                      </a:lnTo>
                      <a:lnTo>
                        <a:pt x="18" y="282"/>
                      </a:lnTo>
                      <a:lnTo>
                        <a:pt x="18" y="277"/>
                      </a:lnTo>
                      <a:lnTo>
                        <a:pt x="18" y="273"/>
                      </a:lnTo>
                      <a:lnTo>
                        <a:pt x="18" y="273"/>
                      </a:lnTo>
                      <a:lnTo>
                        <a:pt x="18" y="268"/>
                      </a:lnTo>
                      <a:lnTo>
                        <a:pt x="13" y="255"/>
                      </a:lnTo>
                      <a:lnTo>
                        <a:pt x="9" y="245"/>
                      </a:lnTo>
                      <a:lnTo>
                        <a:pt x="4" y="236"/>
                      </a:lnTo>
                      <a:lnTo>
                        <a:pt x="0" y="218"/>
                      </a:lnTo>
                      <a:lnTo>
                        <a:pt x="18" y="191"/>
                      </a:lnTo>
                      <a:lnTo>
                        <a:pt x="54" y="182"/>
                      </a:lnTo>
                      <a:lnTo>
                        <a:pt x="91" y="173"/>
                      </a:lnTo>
                      <a:lnTo>
                        <a:pt x="109" y="145"/>
                      </a:lnTo>
                      <a:lnTo>
                        <a:pt x="118" y="145"/>
                      </a:lnTo>
                      <a:lnTo>
                        <a:pt x="127" y="136"/>
                      </a:lnTo>
                      <a:lnTo>
                        <a:pt x="132" y="132"/>
                      </a:lnTo>
                      <a:lnTo>
                        <a:pt x="141" y="132"/>
                      </a:lnTo>
                      <a:lnTo>
                        <a:pt x="150" y="132"/>
                      </a:lnTo>
                      <a:lnTo>
                        <a:pt x="155" y="136"/>
                      </a:lnTo>
                      <a:lnTo>
                        <a:pt x="164" y="141"/>
                      </a:lnTo>
                      <a:lnTo>
                        <a:pt x="168" y="141"/>
                      </a:lnTo>
                      <a:lnTo>
                        <a:pt x="182" y="136"/>
                      </a:lnTo>
                      <a:lnTo>
                        <a:pt x="191" y="127"/>
                      </a:lnTo>
                      <a:lnTo>
                        <a:pt x="196" y="114"/>
                      </a:lnTo>
                      <a:lnTo>
                        <a:pt x="205" y="100"/>
                      </a:lnTo>
                      <a:lnTo>
                        <a:pt x="218" y="73"/>
                      </a:lnTo>
                      <a:lnTo>
                        <a:pt x="237" y="45"/>
                      </a:lnTo>
                      <a:lnTo>
                        <a:pt x="259" y="23"/>
                      </a:lnTo>
                      <a:lnTo>
                        <a:pt x="287" y="0"/>
                      </a:lnTo>
                      <a:lnTo>
                        <a:pt x="287" y="0"/>
                      </a:lnTo>
                      <a:lnTo>
                        <a:pt x="300" y="0"/>
                      </a:lnTo>
                      <a:lnTo>
                        <a:pt x="300" y="14"/>
                      </a:lnTo>
                      <a:lnTo>
                        <a:pt x="300" y="14"/>
                      </a:lnTo>
                      <a:lnTo>
                        <a:pt x="296" y="18"/>
                      </a:lnTo>
                      <a:lnTo>
                        <a:pt x="296" y="23"/>
                      </a:lnTo>
                      <a:lnTo>
                        <a:pt x="291" y="27"/>
                      </a:lnTo>
                      <a:lnTo>
                        <a:pt x="291" y="32"/>
                      </a:lnTo>
                      <a:lnTo>
                        <a:pt x="296" y="36"/>
                      </a:lnTo>
                      <a:lnTo>
                        <a:pt x="300" y="36"/>
                      </a:lnTo>
                      <a:lnTo>
                        <a:pt x="310" y="41"/>
                      </a:lnTo>
                      <a:lnTo>
                        <a:pt x="319" y="41"/>
                      </a:lnTo>
                      <a:lnTo>
                        <a:pt x="332" y="55"/>
                      </a:lnTo>
                      <a:lnTo>
                        <a:pt x="346" y="73"/>
                      </a:lnTo>
                      <a:lnTo>
                        <a:pt x="360" y="95"/>
                      </a:lnTo>
                      <a:lnTo>
                        <a:pt x="378" y="114"/>
                      </a:lnTo>
                      <a:lnTo>
                        <a:pt x="378" y="114"/>
                      </a:lnTo>
                      <a:lnTo>
                        <a:pt x="378" y="114"/>
                      </a:lnTo>
                      <a:lnTo>
                        <a:pt x="378" y="114"/>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grpSp>
        </p:grpSp>
        <p:grpSp>
          <p:nvGrpSpPr>
            <p:cNvPr id="6" name="Group 210">
              <a:extLst>
                <a:ext uri="{FF2B5EF4-FFF2-40B4-BE49-F238E27FC236}">
                  <a16:creationId xmlns="" xmlns:a16="http://schemas.microsoft.com/office/drawing/2014/main" id="{68AD9750-7DE8-4599-A94E-258C90A9C8D0}"/>
                </a:ext>
              </a:extLst>
            </p:cNvPr>
            <p:cNvGrpSpPr>
              <a:grpSpLocks noChangeAspect="1"/>
            </p:cNvGrpSpPr>
            <p:nvPr/>
          </p:nvGrpSpPr>
          <p:grpSpPr bwMode="auto">
            <a:xfrm>
              <a:off x="3023695" y="4497453"/>
              <a:ext cx="2254864" cy="1579541"/>
              <a:chOff x="3477" y="2858"/>
              <a:chExt cx="1458" cy="1021"/>
            </a:xfrm>
            <a:solidFill>
              <a:schemeClr val="bg1">
                <a:lumMod val="20000"/>
                <a:lumOff val="80000"/>
              </a:schemeClr>
            </a:solidFill>
          </p:grpSpPr>
          <p:grpSp>
            <p:nvGrpSpPr>
              <p:cNvPr id="98" name="Group 211">
                <a:extLst>
                  <a:ext uri="{FF2B5EF4-FFF2-40B4-BE49-F238E27FC236}">
                    <a16:creationId xmlns="" xmlns:a16="http://schemas.microsoft.com/office/drawing/2014/main" id="{34A32A5E-D607-453A-8713-A57D3B5BBABF}"/>
                  </a:ext>
                </a:extLst>
              </p:cNvPr>
              <p:cNvGrpSpPr>
                <a:grpSpLocks noChangeAspect="1"/>
              </p:cNvGrpSpPr>
              <p:nvPr/>
            </p:nvGrpSpPr>
            <p:grpSpPr bwMode="auto">
              <a:xfrm>
                <a:off x="3477" y="2932"/>
                <a:ext cx="760" cy="947"/>
                <a:chOff x="2470" y="2895"/>
                <a:chExt cx="1047" cy="1205"/>
              </a:xfrm>
              <a:grpFill/>
            </p:grpSpPr>
            <p:sp>
              <p:nvSpPr>
                <p:cNvPr id="106" name="Freeform 212">
                  <a:extLst>
                    <a:ext uri="{FF2B5EF4-FFF2-40B4-BE49-F238E27FC236}">
                      <a16:creationId xmlns="" xmlns:a16="http://schemas.microsoft.com/office/drawing/2014/main" id="{60B9F740-1DCE-450C-AC24-CE8BC8D2D8E0}"/>
                    </a:ext>
                  </a:extLst>
                </p:cNvPr>
                <p:cNvSpPr>
                  <a:spLocks noChangeAspect="1"/>
                </p:cNvSpPr>
                <p:nvPr/>
              </p:nvSpPr>
              <p:spPr bwMode="auto">
                <a:xfrm>
                  <a:off x="2497" y="3850"/>
                  <a:ext cx="492" cy="250"/>
                </a:xfrm>
                <a:custGeom>
                  <a:avLst/>
                  <a:gdLst>
                    <a:gd name="T0" fmla="*/ 5 w 492"/>
                    <a:gd name="T1" fmla="*/ 154 h 250"/>
                    <a:gd name="T2" fmla="*/ 5 w 492"/>
                    <a:gd name="T3" fmla="*/ 164 h 250"/>
                    <a:gd name="T4" fmla="*/ 18 w 492"/>
                    <a:gd name="T5" fmla="*/ 182 h 250"/>
                    <a:gd name="T6" fmla="*/ 77 w 492"/>
                    <a:gd name="T7" fmla="*/ 214 h 250"/>
                    <a:gd name="T8" fmla="*/ 100 w 492"/>
                    <a:gd name="T9" fmla="*/ 232 h 250"/>
                    <a:gd name="T10" fmla="*/ 114 w 492"/>
                    <a:gd name="T11" fmla="*/ 236 h 250"/>
                    <a:gd name="T12" fmla="*/ 141 w 492"/>
                    <a:gd name="T13" fmla="*/ 232 h 250"/>
                    <a:gd name="T14" fmla="*/ 159 w 492"/>
                    <a:gd name="T15" fmla="*/ 209 h 250"/>
                    <a:gd name="T16" fmla="*/ 210 w 492"/>
                    <a:gd name="T17" fmla="*/ 214 h 250"/>
                    <a:gd name="T18" fmla="*/ 260 w 492"/>
                    <a:gd name="T19" fmla="*/ 241 h 250"/>
                    <a:gd name="T20" fmla="*/ 301 w 492"/>
                    <a:gd name="T21" fmla="*/ 250 h 250"/>
                    <a:gd name="T22" fmla="*/ 323 w 492"/>
                    <a:gd name="T23" fmla="*/ 241 h 250"/>
                    <a:gd name="T24" fmla="*/ 333 w 492"/>
                    <a:gd name="T25" fmla="*/ 232 h 250"/>
                    <a:gd name="T26" fmla="*/ 333 w 492"/>
                    <a:gd name="T27" fmla="*/ 223 h 250"/>
                    <a:gd name="T28" fmla="*/ 346 w 492"/>
                    <a:gd name="T29" fmla="*/ 214 h 250"/>
                    <a:gd name="T30" fmla="*/ 369 w 492"/>
                    <a:gd name="T31" fmla="*/ 209 h 250"/>
                    <a:gd name="T32" fmla="*/ 383 w 492"/>
                    <a:gd name="T33" fmla="*/ 200 h 250"/>
                    <a:gd name="T34" fmla="*/ 401 w 492"/>
                    <a:gd name="T35" fmla="*/ 186 h 250"/>
                    <a:gd name="T36" fmla="*/ 428 w 492"/>
                    <a:gd name="T37" fmla="*/ 182 h 250"/>
                    <a:gd name="T38" fmla="*/ 451 w 492"/>
                    <a:gd name="T39" fmla="*/ 195 h 250"/>
                    <a:gd name="T40" fmla="*/ 474 w 492"/>
                    <a:gd name="T41" fmla="*/ 195 h 250"/>
                    <a:gd name="T42" fmla="*/ 487 w 492"/>
                    <a:gd name="T43" fmla="*/ 191 h 250"/>
                    <a:gd name="T44" fmla="*/ 492 w 492"/>
                    <a:gd name="T45" fmla="*/ 182 h 250"/>
                    <a:gd name="T46" fmla="*/ 487 w 492"/>
                    <a:gd name="T47" fmla="*/ 168 h 250"/>
                    <a:gd name="T48" fmla="*/ 460 w 492"/>
                    <a:gd name="T49" fmla="*/ 154 h 250"/>
                    <a:gd name="T50" fmla="*/ 446 w 492"/>
                    <a:gd name="T51" fmla="*/ 141 h 250"/>
                    <a:gd name="T52" fmla="*/ 433 w 492"/>
                    <a:gd name="T53" fmla="*/ 104 h 250"/>
                    <a:gd name="T54" fmla="*/ 442 w 492"/>
                    <a:gd name="T55" fmla="*/ 91 h 250"/>
                    <a:gd name="T56" fmla="*/ 446 w 492"/>
                    <a:gd name="T57" fmla="*/ 68 h 250"/>
                    <a:gd name="T58" fmla="*/ 437 w 492"/>
                    <a:gd name="T59" fmla="*/ 36 h 250"/>
                    <a:gd name="T60" fmla="*/ 424 w 492"/>
                    <a:gd name="T61" fmla="*/ 27 h 250"/>
                    <a:gd name="T62" fmla="*/ 396 w 492"/>
                    <a:gd name="T63" fmla="*/ 23 h 250"/>
                    <a:gd name="T64" fmla="*/ 383 w 492"/>
                    <a:gd name="T65" fmla="*/ 14 h 250"/>
                    <a:gd name="T66" fmla="*/ 374 w 492"/>
                    <a:gd name="T67" fmla="*/ 0 h 250"/>
                    <a:gd name="T68" fmla="*/ 346 w 492"/>
                    <a:gd name="T69" fmla="*/ 4 h 250"/>
                    <a:gd name="T70" fmla="*/ 305 w 492"/>
                    <a:gd name="T71" fmla="*/ 27 h 250"/>
                    <a:gd name="T72" fmla="*/ 251 w 492"/>
                    <a:gd name="T73" fmla="*/ 32 h 250"/>
                    <a:gd name="T74" fmla="*/ 219 w 492"/>
                    <a:gd name="T75" fmla="*/ 27 h 250"/>
                    <a:gd name="T76" fmla="*/ 205 w 492"/>
                    <a:gd name="T77" fmla="*/ 23 h 250"/>
                    <a:gd name="T78" fmla="*/ 191 w 492"/>
                    <a:gd name="T79" fmla="*/ 23 h 250"/>
                    <a:gd name="T80" fmla="*/ 182 w 492"/>
                    <a:gd name="T81" fmla="*/ 41 h 250"/>
                    <a:gd name="T82" fmla="*/ 191 w 492"/>
                    <a:gd name="T83" fmla="*/ 59 h 250"/>
                    <a:gd name="T84" fmla="*/ 182 w 492"/>
                    <a:gd name="T85" fmla="*/ 82 h 250"/>
                    <a:gd name="T86" fmla="*/ 155 w 492"/>
                    <a:gd name="T87" fmla="*/ 95 h 250"/>
                    <a:gd name="T88" fmla="*/ 123 w 492"/>
                    <a:gd name="T89" fmla="*/ 114 h 250"/>
                    <a:gd name="T90" fmla="*/ 82 w 492"/>
                    <a:gd name="T91" fmla="*/ 114 h 250"/>
                    <a:gd name="T92" fmla="*/ 50 w 492"/>
                    <a:gd name="T93" fmla="*/ 127 h 250"/>
                    <a:gd name="T94" fmla="*/ 0 w 492"/>
                    <a:gd name="T95" fmla="*/ 145 h 250"/>
                    <a:gd name="T96" fmla="*/ 5 w 492"/>
                    <a:gd name="T97" fmla="*/ 1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92" h="250">
                      <a:moveTo>
                        <a:pt x="5" y="150"/>
                      </a:moveTo>
                      <a:lnTo>
                        <a:pt x="5" y="154"/>
                      </a:lnTo>
                      <a:lnTo>
                        <a:pt x="5" y="159"/>
                      </a:lnTo>
                      <a:lnTo>
                        <a:pt x="5" y="164"/>
                      </a:lnTo>
                      <a:lnTo>
                        <a:pt x="5" y="168"/>
                      </a:lnTo>
                      <a:lnTo>
                        <a:pt x="18" y="182"/>
                      </a:lnTo>
                      <a:lnTo>
                        <a:pt x="46" y="195"/>
                      </a:lnTo>
                      <a:lnTo>
                        <a:pt x="77" y="214"/>
                      </a:lnTo>
                      <a:lnTo>
                        <a:pt x="96" y="227"/>
                      </a:lnTo>
                      <a:lnTo>
                        <a:pt x="100" y="232"/>
                      </a:lnTo>
                      <a:lnTo>
                        <a:pt x="109" y="232"/>
                      </a:lnTo>
                      <a:lnTo>
                        <a:pt x="114" y="236"/>
                      </a:lnTo>
                      <a:lnTo>
                        <a:pt x="123" y="236"/>
                      </a:lnTo>
                      <a:lnTo>
                        <a:pt x="141" y="232"/>
                      </a:lnTo>
                      <a:lnTo>
                        <a:pt x="150" y="218"/>
                      </a:lnTo>
                      <a:lnTo>
                        <a:pt x="159" y="209"/>
                      </a:lnTo>
                      <a:lnTo>
                        <a:pt x="178" y="204"/>
                      </a:lnTo>
                      <a:lnTo>
                        <a:pt x="210" y="214"/>
                      </a:lnTo>
                      <a:lnTo>
                        <a:pt x="232" y="227"/>
                      </a:lnTo>
                      <a:lnTo>
                        <a:pt x="260" y="241"/>
                      </a:lnTo>
                      <a:lnTo>
                        <a:pt x="287" y="250"/>
                      </a:lnTo>
                      <a:lnTo>
                        <a:pt x="301" y="250"/>
                      </a:lnTo>
                      <a:lnTo>
                        <a:pt x="310" y="245"/>
                      </a:lnTo>
                      <a:lnTo>
                        <a:pt x="323" y="241"/>
                      </a:lnTo>
                      <a:lnTo>
                        <a:pt x="328" y="236"/>
                      </a:lnTo>
                      <a:lnTo>
                        <a:pt x="333" y="232"/>
                      </a:lnTo>
                      <a:lnTo>
                        <a:pt x="333" y="227"/>
                      </a:lnTo>
                      <a:lnTo>
                        <a:pt x="333" y="223"/>
                      </a:lnTo>
                      <a:lnTo>
                        <a:pt x="337" y="218"/>
                      </a:lnTo>
                      <a:lnTo>
                        <a:pt x="346" y="214"/>
                      </a:lnTo>
                      <a:lnTo>
                        <a:pt x="360" y="209"/>
                      </a:lnTo>
                      <a:lnTo>
                        <a:pt x="369" y="209"/>
                      </a:lnTo>
                      <a:lnTo>
                        <a:pt x="378" y="204"/>
                      </a:lnTo>
                      <a:lnTo>
                        <a:pt x="383" y="200"/>
                      </a:lnTo>
                      <a:lnTo>
                        <a:pt x="392" y="191"/>
                      </a:lnTo>
                      <a:lnTo>
                        <a:pt x="401" y="186"/>
                      </a:lnTo>
                      <a:lnTo>
                        <a:pt x="415" y="182"/>
                      </a:lnTo>
                      <a:lnTo>
                        <a:pt x="428" y="182"/>
                      </a:lnTo>
                      <a:lnTo>
                        <a:pt x="442" y="186"/>
                      </a:lnTo>
                      <a:lnTo>
                        <a:pt x="451" y="195"/>
                      </a:lnTo>
                      <a:lnTo>
                        <a:pt x="465" y="195"/>
                      </a:lnTo>
                      <a:lnTo>
                        <a:pt x="474" y="195"/>
                      </a:lnTo>
                      <a:lnTo>
                        <a:pt x="478" y="191"/>
                      </a:lnTo>
                      <a:lnTo>
                        <a:pt x="487" y="191"/>
                      </a:lnTo>
                      <a:lnTo>
                        <a:pt x="492" y="191"/>
                      </a:lnTo>
                      <a:lnTo>
                        <a:pt x="492" y="182"/>
                      </a:lnTo>
                      <a:lnTo>
                        <a:pt x="487" y="173"/>
                      </a:lnTo>
                      <a:lnTo>
                        <a:pt x="487" y="168"/>
                      </a:lnTo>
                      <a:lnTo>
                        <a:pt x="487" y="159"/>
                      </a:lnTo>
                      <a:lnTo>
                        <a:pt x="460" y="154"/>
                      </a:lnTo>
                      <a:lnTo>
                        <a:pt x="451" y="150"/>
                      </a:lnTo>
                      <a:lnTo>
                        <a:pt x="446" y="141"/>
                      </a:lnTo>
                      <a:lnTo>
                        <a:pt x="437" y="123"/>
                      </a:lnTo>
                      <a:lnTo>
                        <a:pt x="433" y="104"/>
                      </a:lnTo>
                      <a:lnTo>
                        <a:pt x="437" y="95"/>
                      </a:lnTo>
                      <a:lnTo>
                        <a:pt x="442" y="91"/>
                      </a:lnTo>
                      <a:lnTo>
                        <a:pt x="446" y="82"/>
                      </a:lnTo>
                      <a:lnTo>
                        <a:pt x="446" y="68"/>
                      </a:lnTo>
                      <a:lnTo>
                        <a:pt x="442" y="54"/>
                      </a:lnTo>
                      <a:lnTo>
                        <a:pt x="437" y="36"/>
                      </a:lnTo>
                      <a:lnTo>
                        <a:pt x="437" y="27"/>
                      </a:lnTo>
                      <a:lnTo>
                        <a:pt x="424" y="27"/>
                      </a:lnTo>
                      <a:lnTo>
                        <a:pt x="410" y="27"/>
                      </a:lnTo>
                      <a:lnTo>
                        <a:pt x="396" y="23"/>
                      </a:lnTo>
                      <a:lnTo>
                        <a:pt x="387" y="18"/>
                      </a:lnTo>
                      <a:lnTo>
                        <a:pt x="383" y="14"/>
                      </a:lnTo>
                      <a:lnTo>
                        <a:pt x="378" y="9"/>
                      </a:lnTo>
                      <a:lnTo>
                        <a:pt x="374" y="0"/>
                      </a:lnTo>
                      <a:lnTo>
                        <a:pt x="369" y="0"/>
                      </a:lnTo>
                      <a:lnTo>
                        <a:pt x="346" y="4"/>
                      </a:lnTo>
                      <a:lnTo>
                        <a:pt x="328" y="18"/>
                      </a:lnTo>
                      <a:lnTo>
                        <a:pt x="305" y="27"/>
                      </a:lnTo>
                      <a:lnTo>
                        <a:pt x="269" y="32"/>
                      </a:lnTo>
                      <a:lnTo>
                        <a:pt x="251" y="32"/>
                      </a:lnTo>
                      <a:lnTo>
                        <a:pt x="232" y="32"/>
                      </a:lnTo>
                      <a:lnTo>
                        <a:pt x="219" y="27"/>
                      </a:lnTo>
                      <a:lnTo>
                        <a:pt x="205" y="23"/>
                      </a:lnTo>
                      <a:lnTo>
                        <a:pt x="205" y="23"/>
                      </a:lnTo>
                      <a:lnTo>
                        <a:pt x="191" y="23"/>
                      </a:lnTo>
                      <a:lnTo>
                        <a:pt x="191" y="23"/>
                      </a:lnTo>
                      <a:lnTo>
                        <a:pt x="182" y="32"/>
                      </a:lnTo>
                      <a:lnTo>
                        <a:pt x="182" y="41"/>
                      </a:lnTo>
                      <a:lnTo>
                        <a:pt x="187" y="50"/>
                      </a:lnTo>
                      <a:lnTo>
                        <a:pt x="191" y="59"/>
                      </a:lnTo>
                      <a:lnTo>
                        <a:pt x="187" y="73"/>
                      </a:lnTo>
                      <a:lnTo>
                        <a:pt x="182" y="82"/>
                      </a:lnTo>
                      <a:lnTo>
                        <a:pt x="169" y="91"/>
                      </a:lnTo>
                      <a:lnTo>
                        <a:pt x="155" y="95"/>
                      </a:lnTo>
                      <a:lnTo>
                        <a:pt x="141" y="109"/>
                      </a:lnTo>
                      <a:lnTo>
                        <a:pt x="123" y="114"/>
                      </a:lnTo>
                      <a:lnTo>
                        <a:pt x="105" y="114"/>
                      </a:lnTo>
                      <a:lnTo>
                        <a:pt x="82" y="114"/>
                      </a:lnTo>
                      <a:lnTo>
                        <a:pt x="64" y="118"/>
                      </a:lnTo>
                      <a:lnTo>
                        <a:pt x="50" y="127"/>
                      </a:lnTo>
                      <a:lnTo>
                        <a:pt x="27" y="141"/>
                      </a:lnTo>
                      <a:lnTo>
                        <a:pt x="0" y="145"/>
                      </a:lnTo>
                      <a:lnTo>
                        <a:pt x="0" y="145"/>
                      </a:lnTo>
                      <a:lnTo>
                        <a:pt x="5" y="150"/>
                      </a:lnTo>
                      <a:lnTo>
                        <a:pt x="5" y="150"/>
                      </a:lnTo>
                      <a:close/>
                    </a:path>
                  </a:pathLst>
                </a:custGeom>
                <a:solidFill>
                  <a:schemeClr val="accent2"/>
                </a:solid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107" name="Freeform 213">
                  <a:extLst>
                    <a:ext uri="{FF2B5EF4-FFF2-40B4-BE49-F238E27FC236}">
                      <a16:creationId xmlns="" xmlns:a16="http://schemas.microsoft.com/office/drawing/2014/main" id="{E2CB7DD4-897C-409E-913D-22A99ADE98A2}"/>
                    </a:ext>
                  </a:extLst>
                </p:cNvPr>
                <p:cNvSpPr>
                  <a:spLocks noChangeAspect="1"/>
                </p:cNvSpPr>
                <p:nvPr/>
              </p:nvSpPr>
              <p:spPr bwMode="auto">
                <a:xfrm>
                  <a:off x="2470" y="3604"/>
                  <a:ext cx="519" cy="341"/>
                </a:xfrm>
                <a:custGeom>
                  <a:avLst/>
                  <a:gdLst>
                    <a:gd name="T0" fmla="*/ 510 w 519"/>
                    <a:gd name="T1" fmla="*/ 100 h 341"/>
                    <a:gd name="T2" fmla="*/ 492 w 519"/>
                    <a:gd name="T3" fmla="*/ 87 h 341"/>
                    <a:gd name="T4" fmla="*/ 469 w 519"/>
                    <a:gd name="T5" fmla="*/ 87 h 341"/>
                    <a:gd name="T6" fmla="*/ 464 w 519"/>
                    <a:gd name="T7" fmla="*/ 69 h 341"/>
                    <a:gd name="T8" fmla="*/ 442 w 519"/>
                    <a:gd name="T9" fmla="*/ 60 h 341"/>
                    <a:gd name="T10" fmla="*/ 410 w 519"/>
                    <a:gd name="T11" fmla="*/ 60 h 341"/>
                    <a:gd name="T12" fmla="*/ 373 w 519"/>
                    <a:gd name="T13" fmla="*/ 50 h 341"/>
                    <a:gd name="T14" fmla="*/ 360 w 519"/>
                    <a:gd name="T15" fmla="*/ 73 h 341"/>
                    <a:gd name="T16" fmla="*/ 346 w 519"/>
                    <a:gd name="T17" fmla="*/ 73 h 341"/>
                    <a:gd name="T18" fmla="*/ 341 w 519"/>
                    <a:gd name="T19" fmla="*/ 64 h 341"/>
                    <a:gd name="T20" fmla="*/ 323 w 519"/>
                    <a:gd name="T21" fmla="*/ 55 h 341"/>
                    <a:gd name="T22" fmla="*/ 296 w 519"/>
                    <a:gd name="T23" fmla="*/ 46 h 341"/>
                    <a:gd name="T24" fmla="*/ 291 w 519"/>
                    <a:gd name="T25" fmla="*/ 28 h 341"/>
                    <a:gd name="T26" fmla="*/ 291 w 519"/>
                    <a:gd name="T27" fmla="*/ 14 h 341"/>
                    <a:gd name="T28" fmla="*/ 296 w 519"/>
                    <a:gd name="T29" fmla="*/ 10 h 341"/>
                    <a:gd name="T30" fmla="*/ 259 w 519"/>
                    <a:gd name="T31" fmla="*/ 10 h 341"/>
                    <a:gd name="T32" fmla="*/ 232 w 519"/>
                    <a:gd name="T33" fmla="*/ 0 h 341"/>
                    <a:gd name="T34" fmla="*/ 205 w 519"/>
                    <a:gd name="T35" fmla="*/ 0 h 341"/>
                    <a:gd name="T36" fmla="*/ 186 w 519"/>
                    <a:gd name="T37" fmla="*/ 5 h 341"/>
                    <a:gd name="T38" fmla="*/ 168 w 519"/>
                    <a:gd name="T39" fmla="*/ 14 h 341"/>
                    <a:gd name="T40" fmla="*/ 159 w 519"/>
                    <a:gd name="T41" fmla="*/ 10 h 341"/>
                    <a:gd name="T42" fmla="*/ 150 w 519"/>
                    <a:gd name="T43" fmla="*/ 10 h 341"/>
                    <a:gd name="T44" fmla="*/ 141 w 519"/>
                    <a:gd name="T45" fmla="*/ 10 h 341"/>
                    <a:gd name="T46" fmla="*/ 127 w 519"/>
                    <a:gd name="T47" fmla="*/ 14 h 341"/>
                    <a:gd name="T48" fmla="*/ 104 w 519"/>
                    <a:gd name="T49" fmla="*/ 10 h 341"/>
                    <a:gd name="T50" fmla="*/ 82 w 519"/>
                    <a:gd name="T51" fmla="*/ 5 h 341"/>
                    <a:gd name="T52" fmla="*/ 27 w 519"/>
                    <a:gd name="T53" fmla="*/ 23 h 341"/>
                    <a:gd name="T54" fmla="*/ 0 w 519"/>
                    <a:gd name="T55" fmla="*/ 73 h 341"/>
                    <a:gd name="T56" fmla="*/ 22 w 519"/>
                    <a:gd name="T57" fmla="*/ 114 h 341"/>
                    <a:gd name="T58" fmla="*/ 68 w 519"/>
                    <a:gd name="T59" fmla="*/ 132 h 341"/>
                    <a:gd name="T60" fmla="*/ 95 w 519"/>
                    <a:gd name="T61" fmla="*/ 173 h 341"/>
                    <a:gd name="T62" fmla="*/ 100 w 519"/>
                    <a:gd name="T63" fmla="*/ 228 h 341"/>
                    <a:gd name="T64" fmla="*/ 82 w 519"/>
                    <a:gd name="T65" fmla="*/ 255 h 341"/>
                    <a:gd name="T66" fmla="*/ 63 w 519"/>
                    <a:gd name="T67" fmla="*/ 278 h 341"/>
                    <a:gd name="T68" fmla="*/ 68 w 519"/>
                    <a:gd name="T69" fmla="*/ 287 h 341"/>
                    <a:gd name="T70" fmla="*/ 73 w 519"/>
                    <a:gd name="T71" fmla="*/ 296 h 341"/>
                    <a:gd name="T72" fmla="*/ 104 w 519"/>
                    <a:gd name="T73" fmla="*/ 300 h 341"/>
                    <a:gd name="T74" fmla="*/ 132 w 519"/>
                    <a:gd name="T75" fmla="*/ 310 h 341"/>
                    <a:gd name="T76" fmla="*/ 150 w 519"/>
                    <a:gd name="T77" fmla="*/ 328 h 341"/>
                    <a:gd name="T78" fmla="*/ 182 w 519"/>
                    <a:gd name="T79" fmla="*/ 341 h 341"/>
                    <a:gd name="T80" fmla="*/ 209 w 519"/>
                    <a:gd name="T81" fmla="*/ 328 h 341"/>
                    <a:gd name="T82" fmla="*/ 218 w 519"/>
                    <a:gd name="T83" fmla="*/ 305 h 341"/>
                    <a:gd name="T84" fmla="*/ 209 w 519"/>
                    <a:gd name="T85" fmla="*/ 287 h 341"/>
                    <a:gd name="T86" fmla="*/ 218 w 519"/>
                    <a:gd name="T87" fmla="*/ 269 h 341"/>
                    <a:gd name="T88" fmla="*/ 232 w 519"/>
                    <a:gd name="T89" fmla="*/ 269 h 341"/>
                    <a:gd name="T90" fmla="*/ 246 w 519"/>
                    <a:gd name="T91" fmla="*/ 273 h 341"/>
                    <a:gd name="T92" fmla="*/ 278 w 519"/>
                    <a:gd name="T93" fmla="*/ 278 h 341"/>
                    <a:gd name="T94" fmla="*/ 332 w 519"/>
                    <a:gd name="T95" fmla="*/ 273 h 341"/>
                    <a:gd name="T96" fmla="*/ 373 w 519"/>
                    <a:gd name="T97" fmla="*/ 250 h 341"/>
                    <a:gd name="T98" fmla="*/ 401 w 519"/>
                    <a:gd name="T99" fmla="*/ 246 h 341"/>
                    <a:gd name="T100" fmla="*/ 410 w 519"/>
                    <a:gd name="T101" fmla="*/ 260 h 341"/>
                    <a:gd name="T102" fmla="*/ 423 w 519"/>
                    <a:gd name="T103" fmla="*/ 269 h 341"/>
                    <a:gd name="T104" fmla="*/ 451 w 519"/>
                    <a:gd name="T105" fmla="*/ 273 h 341"/>
                    <a:gd name="T106" fmla="*/ 469 w 519"/>
                    <a:gd name="T107" fmla="*/ 241 h 341"/>
                    <a:gd name="T108" fmla="*/ 455 w 519"/>
                    <a:gd name="T109" fmla="*/ 228 h 341"/>
                    <a:gd name="T110" fmla="*/ 455 w 519"/>
                    <a:gd name="T111" fmla="*/ 214 h 341"/>
                    <a:gd name="T112" fmla="*/ 473 w 519"/>
                    <a:gd name="T113" fmla="*/ 205 h 341"/>
                    <a:gd name="T114" fmla="*/ 473 w 519"/>
                    <a:gd name="T115" fmla="*/ 187 h 341"/>
                    <a:gd name="T116" fmla="*/ 483 w 519"/>
                    <a:gd name="T117" fmla="*/ 164 h 341"/>
                    <a:gd name="T118" fmla="*/ 492 w 519"/>
                    <a:gd name="T119" fmla="*/ 137 h 341"/>
                    <a:gd name="T120" fmla="*/ 505 w 519"/>
                    <a:gd name="T121" fmla="*/ 114 h 341"/>
                    <a:gd name="T122" fmla="*/ 514 w 519"/>
                    <a:gd name="T123" fmla="*/ 105 h 341"/>
                    <a:gd name="T124" fmla="*/ 519 w 519"/>
                    <a:gd name="T125" fmla="*/ 105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9" h="341">
                      <a:moveTo>
                        <a:pt x="519" y="105"/>
                      </a:moveTo>
                      <a:lnTo>
                        <a:pt x="510" y="100"/>
                      </a:lnTo>
                      <a:lnTo>
                        <a:pt x="501" y="91"/>
                      </a:lnTo>
                      <a:lnTo>
                        <a:pt x="492" y="87"/>
                      </a:lnTo>
                      <a:lnTo>
                        <a:pt x="473" y="91"/>
                      </a:lnTo>
                      <a:lnTo>
                        <a:pt x="469" y="87"/>
                      </a:lnTo>
                      <a:lnTo>
                        <a:pt x="464" y="78"/>
                      </a:lnTo>
                      <a:lnTo>
                        <a:pt x="464" y="69"/>
                      </a:lnTo>
                      <a:lnTo>
                        <a:pt x="460" y="64"/>
                      </a:lnTo>
                      <a:lnTo>
                        <a:pt x="442" y="60"/>
                      </a:lnTo>
                      <a:lnTo>
                        <a:pt x="428" y="60"/>
                      </a:lnTo>
                      <a:lnTo>
                        <a:pt x="410" y="60"/>
                      </a:lnTo>
                      <a:lnTo>
                        <a:pt x="391" y="55"/>
                      </a:lnTo>
                      <a:lnTo>
                        <a:pt x="373" y="50"/>
                      </a:lnTo>
                      <a:lnTo>
                        <a:pt x="364" y="60"/>
                      </a:lnTo>
                      <a:lnTo>
                        <a:pt x="360" y="73"/>
                      </a:lnTo>
                      <a:lnTo>
                        <a:pt x="350" y="78"/>
                      </a:lnTo>
                      <a:lnTo>
                        <a:pt x="346" y="73"/>
                      </a:lnTo>
                      <a:lnTo>
                        <a:pt x="346" y="69"/>
                      </a:lnTo>
                      <a:lnTo>
                        <a:pt x="341" y="64"/>
                      </a:lnTo>
                      <a:lnTo>
                        <a:pt x="337" y="60"/>
                      </a:lnTo>
                      <a:lnTo>
                        <a:pt x="323" y="55"/>
                      </a:lnTo>
                      <a:lnTo>
                        <a:pt x="309" y="50"/>
                      </a:lnTo>
                      <a:lnTo>
                        <a:pt x="296" y="46"/>
                      </a:lnTo>
                      <a:lnTo>
                        <a:pt x="291" y="32"/>
                      </a:lnTo>
                      <a:lnTo>
                        <a:pt x="291" y="28"/>
                      </a:lnTo>
                      <a:lnTo>
                        <a:pt x="291" y="19"/>
                      </a:lnTo>
                      <a:lnTo>
                        <a:pt x="291" y="14"/>
                      </a:lnTo>
                      <a:lnTo>
                        <a:pt x="296" y="10"/>
                      </a:lnTo>
                      <a:lnTo>
                        <a:pt x="296" y="10"/>
                      </a:lnTo>
                      <a:lnTo>
                        <a:pt x="259" y="10"/>
                      </a:lnTo>
                      <a:lnTo>
                        <a:pt x="259" y="10"/>
                      </a:lnTo>
                      <a:lnTo>
                        <a:pt x="246" y="5"/>
                      </a:lnTo>
                      <a:lnTo>
                        <a:pt x="232" y="0"/>
                      </a:lnTo>
                      <a:lnTo>
                        <a:pt x="218" y="0"/>
                      </a:lnTo>
                      <a:lnTo>
                        <a:pt x="205" y="0"/>
                      </a:lnTo>
                      <a:lnTo>
                        <a:pt x="191" y="0"/>
                      </a:lnTo>
                      <a:lnTo>
                        <a:pt x="186" y="5"/>
                      </a:lnTo>
                      <a:lnTo>
                        <a:pt x="177" y="14"/>
                      </a:lnTo>
                      <a:lnTo>
                        <a:pt x="168" y="14"/>
                      </a:lnTo>
                      <a:lnTo>
                        <a:pt x="159" y="14"/>
                      </a:lnTo>
                      <a:lnTo>
                        <a:pt x="159" y="10"/>
                      </a:lnTo>
                      <a:lnTo>
                        <a:pt x="155" y="10"/>
                      </a:lnTo>
                      <a:lnTo>
                        <a:pt x="150" y="10"/>
                      </a:lnTo>
                      <a:lnTo>
                        <a:pt x="145" y="10"/>
                      </a:lnTo>
                      <a:lnTo>
                        <a:pt x="141" y="10"/>
                      </a:lnTo>
                      <a:lnTo>
                        <a:pt x="132" y="14"/>
                      </a:lnTo>
                      <a:lnTo>
                        <a:pt x="127" y="14"/>
                      </a:lnTo>
                      <a:lnTo>
                        <a:pt x="118" y="14"/>
                      </a:lnTo>
                      <a:lnTo>
                        <a:pt x="104" y="10"/>
                      </a:lnTo>
                      <a:lnTo>
                        <a:pt x="95" y="5"/>
                      </a:lnTo>
                      <a:lnTo>
                        <a:pt x="82" y="5"/>
                      </a:lnTo>
                      <a:lnTo>
                        <a:pt x="50" y="10"/>
                      </a:lnTo>
                      <a:lnTo>
                        <a:pt x="27" y="23"/>
                      </a:lnTo>
                      <a:lnTo>
                        <a:pt x="9" y="46"/>
                      </a:lnTo>
                      <a:lnTo>
                        <a:pt x="0" y="73"/>
                      </a:lnTo>
                      <a:lnTo>
                        <a:pt x="4" y="100"/>
                      </a:lnTo>
                      <a:lnTo>
                        <a:pt x="22" y="114"/>
                      </a:lnTo>
                      <a:lnTo>
                        <a:pt x="45" y="123"/>
                      </a:lnTo>
                      <a:lnTo>
                        <a:pt x="68" y="132"/>
                      </a:lnTo>
                      <a:lnTo>
                        <a:pt x="86" y="150"/>
                      </a:lnTo>
                      <a:lnTo>
                        <a:pt x="95" y="173"/>
                      </a:lnTo>
                      <a:lnTo>
                        <a:pt x="100" y="200"/>
                      </a:lnTo>
                      <a:lnTo>
                        <a:pt x="100" y="228"/>
                      </a:lnTo>
                      <a:lnTo>
                        <a:pt x="95" y="246"/>
                      </a:lnTo>
                      <a:lnTo>
                        <a:pt x="82" y="255"/>
                      </a:lnTo>
                      <a:lnTo>
                        <a:pt x="68" y="264"/>
                      </a:lnTo>
                      <a:lnTo>
                        <a:pt x="63" y="278"/>
                      </a:lnTo>
                      <a:lnTo>
                        <a:pt x="63" y="282"/>
                      </a:lnTo>
                      <a:lnTo>
                        <a:pt x="68" y="287"/>
                      </a:lnTo>
                      <a:lnTo>
                        <a:pt x="68" y="291"/>
                      </a:lnTo>
                      <a:lnTo>
                        <a:pt x="73" y="296"/>
                      </a:lnTo>
                      <a:lnTo>
                        <a:pt x="91" y="300"/>
                      </a:lnTo>
                      <a:lnTo>
                        <a:pt x="104" y="300"/>
                      </a:lnTo>
                      <a:lnTo>
                        <a:pt x="118" y="305"/>
                      </a:lnTo>
                      <a:lnTo>
                        <a:pt x="132" y="310"/>
                      </a:lnTo>
                      <a:lnTo>
                        <a:pt x="141" y="319"/>
                      </a:lnTo>
                      <a:lnTo>
                        <a:pt x="150" y="328"/>
                      </a:lnTo>
                      <a:lnTo>
                        <a:pt x="164" y="337"/>
                      </a:lnTo>
                      <a:lnTo>
                        <a:pt x="182" y="341"/>
                      </a:lnTo>
                      <a:lnTo>
                        <a:pt x="196" y="337"/>
                      </a:lnTo>
                      <a:lnTo>
                        <a:pt x="209" y="328"/>
                      </a:lnTo>
                      <a:lnTo>
                        <a:pt x="214" y="319"/>
                      </a:lnTo>
                      <a:lnTo>
                        <a:pt x="218" y="305"/>
                      </a:lnTo>
                      <a:lnTo>
                        <a:pt x="214" y="296"/>
                      </a:lnTo>
                      <a:lnTo>
                        <a:pt x="209" y="287"/>
                      </a:lnTo>
                      <a:lnTo>
                        <a:pt x="209" y="278"/>
                      </a:lnTo>
                      <a:lnTo>
                        <a:pt x="218" y="269"/>
                      </a:lnTo>
                      <a:lnTo>
                        <a:pt x="218" y="269"/>
                      </a:lnTo>
                      <a:lnTo>
                        <a:pt x="232" y="269"/>
                      </a:lnTo>
                      <a:lnTo>
                        <a:pt x="232" y="269"/>
                      </a:lnTo>
                      <a:lnTo>
                        <a:pt x="246" y="273"/>
                      </a:lnTo>
                      <a:lnTo>
                        <a:pt x="259" y="278"/>
                      </a:lnTo>
                      <a:lnTo>
                        <a:pt x="278" y="278"/>
                      </a:lnTo>
                      <a:lnTo>
                        <a:pt x="296" y="278"/>
                      </a:lnTo>
                      <a:lnTo>
                        <a:pt x="332" y="273"/>
                      </a:lnTo>
                      <a:lnTo>
                        <a:pt x="355" y="264"/>
                      </a:lnTo>
                      <a:lnTo>
                        <a:pt x="373" y="250"/>
                      </a:lnTo>
                      <a:lnTo>
                        <a:pt x="396" y="246"/>
                      </a:lnTo>
                      <a:lnTo>
                        <a:pt x="401" y="246"/>
                      </a:lnTo>
                      <a:lnTo>
                        <a:pt x="405" y="255"/>
                      </a:lnTo>
                      <a:lnTo>
                        <a:pt x="410" y="260"/>
                      </a:lnTo>
                      <a:lnTo>
                        <a:pt x="414" y="264"/>
                      </a:lnTo>
                      <a:lnTo>
                        <a:pt x="423" y="269"/>
                      </a:lnTo>
                      <a:lnTo>
                        <a:pt x="437" y="273"/>
                      </a:lnTo>
                      <a:lnTo>
                        <a:pt x="451" y="273"/>
                      </a:lnTo>
                      <a:lnTo>
                        <a:pt x="464" y="273"/>
                      </a:lnTo>
                      <a:lnTo>
                        <a:pt x="469" y="241"/>
                      </a:lnTo>
                      <a:lnTo>
                        <a:pt x="464" y="232"/>
                      </a:lnTo>
                      <a:lnTo>
                        <a:pt x="455" y="228"/>
                      </a:lnTo>
                      <a:lnTo>
                        <a:pt x="451" y="223"/>
                      </a:lnTo>
                      <a:lnTo>
                        <a:pt x="455" y="214"/>
                      </a:lnTo>
                      <a:lnTo>
                        <a:pt x="464" y="210"/>
                      </a:lnTo>
                      <a:lnTo>
                        <a:pt x="473" y="205"/>
                      </a:lnTo>
                      <a:lnTo>
                        <a:pt x="478" y="200"/>
                      </a:lnTo>
                      <a:lnTo>
                        <a:pt x="473" y="187"/>
                      </a:lnTo>
                      <a:lnTo>
                        <a:pt x="478" y="173"/>
                      </a:lnTo>
                      <a:lnTo>
                        <a:pt x="483" y="164"/>
                      </a:lnTo>
                      <a:lnTo>
                        <a:pt x="487" y="150"/>
                      </a:lnTo>
                      <a:lnTo>
                        <a:pt x="492" y="137"/>
                      </a:lnTo>
                      <a:lnTo>
                        <a:pt x="501" y="128"/>
                      </a:lnTo>
                      <a:lnTo>
                        <a:pt x="505" y="114"/>
                      </a:lnTo>
                      <a:lnTo>
                        <a:pt x="514" y="105"/>
                      </a:lnTo>
                      <a:lnTo>
                        <a:pt x="514" y="105"/>
                      </a:lnTo>
                      <a:lnTo>
                        <a:pt x="519" y="105"/>
                      </a:lnTo>
                      <a:lnTo>
                        <a:pt x="519" y="105"/>
                      </a:lnTo>
                      <a:close/>
                    </a:path>
                  </a:pathLst>
                </a:custGeom>
                <a:solidFill>
                  <a:schemeClr val="accent2"/>
                </a:solid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108" name="Freeform 214">
                  <a:extLst>
                    <a:ext uri="{FF2B5EF4-FFF2-40B4-BE49-F238E27FC236}">
                      <a16:creationId xmlns="" xmlns:a16="http://schemas.microsoft.com/office/drawing/2014/main" id="{61450052-ED8C-4927-B6D3-F7890BBBBF5C}"/>
                    </a:ext>
                  </a:extLst>
                </p:cNvPr>
                <p:cNvSpPr>
                  <a:spLocks noChangeAspect="1"/>
                </p:cNvSpPr>
                <p:nvPr/>
              </p:nvSpPr>
              <p:spPr bwMode="auto">
                <a:xfrm>
                  <a:off x="2761" y="3354"/>
                  <a:ext cx="556" cy="355"/>
                </a:xfrm>
                <a:custGeom>
                  <a:avLst/>
                  <a:gdLst>
                    <a:gd name="T0" fmla="*/ 228 w 556"/>
                    <a:gd name="T1" fmla="*/ 350 h 355"/>
                    <a:gd name="T2" fmla="*/ 233 w 556"/>
                    <a:gd name="T3" fmla="*/ 346 h 355"/>
                    <a:gd name="T4" fmla="*/ 242 w 556"/>
                    <a:gd name="T5" fmla="*/ 332 h 355"/>
                    <a:gd name="T6" fmla="*/ 260 w 556"/>
                    <a:gd name="T7" fmla="*/ 314 h 355"/>
                    <a:gd name="T8" fmla="*/ 287 w 556"/>
                    <a:gd name="T9" fmla="*/ 305 h 355"/>
                    <a:gd name="T10" fmla="*/ 315 w 556"/>
                    <a:gd name="T11" fmla="*/ 314 h 355"/>
                    <a:gd name="T12" fmla="*/ 337 w 556"/>
                    <a:gd name="T13" fmla="*/ 305 h 355"/>
                    <a:gd name="T14" fmla="*/ 351 w 556"/>
                    <a:gd name="T15" fmla="*/ 287 h 355"/>
                    <a:gd name="T16" fmla="*/ 383 w 556"/>
                    <a:gd name="T17" fmla="*/ 264 h 355"/>
                    <a:gd name="T18" fmla="*/ 428 w 556"/>
                    <a:gd name="T19" fmla="*/ 228 h 355"/>
                    <a:gd name="T20" fmla="*/ 469 w 556"/>
                    <a:gd name="T21" fmla="*/ 205 h 355"/>
                    <a:gd name="T22" fmla="*/ 492 w 556"/>
                    <a:gd name="T23" fmla="*/ 187 h 355"/>
                    <a:gd name="T24" fmla="*/ 520 w 556"/>
                    <a:gd name="T25" fmla="*/ 187 h 355"/>
                    <a:gd name="T26" fmla="*/ 533 w 556"/>
                    <a:gd name="T27" fmla="*/ 205 h 355"/>
                    <a:gd name="T28" fmla="*/ 542 w 556"/>
                    <a:gd name="T29" fmla="*/ 205 h 355"/>
                    <a:gd name="T30" fmla="*/ 556 w 556"/>
                    <a:gd name="T31" fmla="*/ 187 h 355"/>
                    <a:gd name="T32" fmla="*/ 556 w 556"/>
                    <a:gd name="T33" fmla="*/ 164 h 355"/>
                    <a:gd name="T34" fmla="*/ 542 w 556"/>
                    <a:gd name="T35" fmla="*/ 150 h 355"/>
                    <a:gd name="T36" fmla="*/ 538 w 556"/>
                    <a:gd name="T37" fmla="*/ 123 h 355"/>
                    <a:gd name="T38" fmla="*/ 510 w 556"/>
                    <a:gd name="T39" fmla="*/ 91 h 355"/>
                    <a:gd name="T40" fmla="*/ 483 w 556"/>
                    <a:gd name="T41" fmla="*/ 69 h 355"/>
                    <a:gd name="T42" fmla="*/ 469 w 556"/>
                    <a:gd name="T43" fmla="*/ 50 h 355"/>
                    <a:gd name="T44" fmla="*/ 447 w 556"/>
                    <a:gd name="T45" fmla="*/ 46 h 355"/>
                    <a:gd name="T46" fmla="*/ 428 w 556"/>
                    <a:gd name="T47" fmla="*/ 41 h 355"/>
                    <a:gd name="T48" fmla="*/ 410 w 556"/>
                    <a:gd name="T49" fmla="*/ 28 h 355"/>
                    <a:gd name="T50" fmla="*/ 406 w 556"/>
                    <a:gd name="T51" fmla="*/ 5 h 355"/>
                    <a:gd name="T52" fmla="*/ 387 w 556"/>
                    <a:gd name="T53" fmla="*/ 5 h 355"/>
                    <a:gd name="T54" fmla="*/ 378 w 556"/>
                    <a:gd name="T55" fmla="*/ 23 h 355"/>
                    <a:gd name="T56" fmla="*/ 365 w 556"/>
                    <a:gd name="T57" fmla="*/ 32 h 355"/>
                    <a:gd name="T58" fmla="*/ 328 w 556"/>
                    <a:gd name="T59" fmla="*/ 50 h 355"/>
                    <a:gd name="T60" fmla="*/ 305 w 556"/>
                    <a:gd name="T61" fmla="*/ 55 h 355"/>
                    <a:gd name="T62" fmla="*/ 278 w 556"/>
                    <a:gd name="T63" fmla="*/ 41 h 355"/>
                    <a:gd name="T64" fmla="*/ 251 w 556"/>
                    <a:gd name="T65" fmla="*/ 46 h 355"/>
                    <a:gd name="T66" fmla="*/ 228 w 556"/>
                    <a:gd name="T67" fmla="*/ 64 h 355"/>
                    <a:gd name="T68" fmla="*/ 196 w 556"/>
                    <a:gd name="T69" fmla="*/ 73 h 355"/>
                    <a:gd name="T70" fmla="*/ 160 w 556"/>
                    <a:gd name="T71" fmla="*/ 78 h 355"/>
                    <a:gd name="T72" fmla="*/ 155 w 556"/>
                    <a:gd name="T73" fmla="*/ 96 h 355"/>
                    <a:gd name="T74" fmla="*/ 169 w 556"/>
                    <a:gd name="T75" fmla="*/ 105 h 355"/>
                    <a:gd name="T76" fmla="*/ 164 w 556"/>
                    <a:gd name="T77" fmla="*/ 123 h 355"/>
                    <a:gd name="T78" fmla="*/ 141 w 556"/>
                    <a:gd name="T79" fmla="*/ 123 h 355"/>
                    <a:gd name="T80" fmla="*/ 123 w 556"/>
                    <a:gd name="T81" fmla="*/ 132 h 355"/>
                    <a:gd name="T82" fmla="*/ 114 w 556"/>
                    <a:gd name="T83" fmla="*/ 141 h 355"/>
                    <a:gd name="T84" fmla="*/ 82 w 556"/>
                    <a:gd name="T85" fmla="*/ 150 h 355"/>
                    <a:gd name="T86" fmla="*/ 28 w 556"/>
                    <a:gd name="T87" fmla="*/ 155 h 355"/>
                    <a:gd name="T88" fmla="*/ 18 w 556"/>
                    <a:gd name="T89" fmla="*/ 187 h 355"/>
                    <a:gd name="T90" fmla="*/ 28 w 556"/>
                    <a:gd name="T91" fmla="*/ 200 h 355"/>
                    <a:gd name="T92" fmla="*/ 23 w 556"/>
                    <a:gd name="T93" fmla="*/ 232 h 355"/>
                    <a:gd name="T94" fmla="*/ 5 w 556"/>
                    <a:gd name="T95" fmla="*/ 260 h 355"/>
                    <a:gd name="T96" fmla="*/ 5 w 556"/>
                    <a:gd name="T97" fmla="*/ 296 h 355"/>
                    <a:gd name="T98" fmla="*/ 32 w 556"/>
                    <a:gd name="T99" fmla="*/ 305 h 355"/>
                    <a:gd name="T100" fmla="*/ 50 w 556"/>
                    <a:gd name="T101" fmla="*/ 314 h 355"/>
                    <a:gd name="T102" fmla="*/ 55 w 556"/>
                    <a:gd name="T103" fmla="*/ 323 h 355"/>
                    <a:gd name="T104" fmla="*/ 69 w 556"/>
                    <a:gd name="T105" fmla="*/ 323 h 355"/>
                    <a:gd name="T106" fmla="*/ 82 w 556"/>
                    <a:gd name="T107" fmla="*/ 300 h 355"/>
                    <a:gd name="T108" fmla="*/ 119 w 556"/>
                    <a:gd name="T109" fmla="*/ 310 h 355"/>
                    <a:gd name="T110" fmla="*/ 151 w 556"/>
                    <a:gd name="T111" fmla="*/ 310 h 355"/>
                    <a:gd name="T112" fmla="*/ 173 w 556"/>
                    <a:gd name="T113" fmla="*/ 319 h 355"/>
                    <a:gd name="T114" fmla="*/ 178 w 556"/>
                    <a:gd name="T115" fmla="*/ 337 h 355"/>
                    <a:gd name="T116" fmla="*/ 201 w 556"/>
                    <a:gd name="T117" fmla="*/ 337 h 355"/>
                    <a:gd name="T118" fmla="*/ 219 w 556"/>
                    <a:gd name="T119" fmla="*/ 350 h 355"/>
                    <a:gd name="T120" fmla="*/ 228 w 556"/>
                    <a:gd name="T121" fmla="*/ 355 h 355"/>
                    <a:gd name="T122" fmla="*/ 223 w 556"/>
                    <a:gd name="T123"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6" h="355">
                      <a:moveTo>
                        <a:pt x="223" y="355"/>
                      </a:moveTo>
                      <a:lnTo>
                        <a:pt x="228" y="350"/>
                      </a:lnTo>
                      <a:lnTo>
                        <a:pt x="233" y="346"/>
                      </a:lnTo>
                      <a:lnTo>
                        <a:pt x="233" y="346"/>
                      </a:lnTo>
                      <a:lnTo>
                        <a:pt x="237" y="341"/>
                      </a:lnTo>
                      <a:lnTo>
                        <a:pt x="242" y="332"/>
                      </a:lnTo>
                      <a:lnTo>
                        <a:pt x="251" y="319"/>
                      </a:lnTo>
                      <a:lnTo>
                        <a:pt x="260" y="314"/>
                      </a:lnTo>
                      <a:lnTo>
                        <a:pt x="269" y="310"/>
                      </a:lnTo>
                      <a:lnTo>
                        <a:pt x="287" y="305"/>
                      </a:lnTo>
                      <a:lnTo>
                        <a:pt x="301" y="310"/>
                      </a:lnTo>
                      <a:lnTo>
                        <a:pt x="315" y="314"/>
                      </a:lnTo>
                      <a:lnTo>
                        <a:pt x="333" y="310"/>
                      </a:lnTo>
                      <a:lnTo>
                        <a:pt x="337" y="305"/>
                      </a:lnTo>
                      <a:lnTo>
                        <a:pt x="346" y="296"/>
                      </a:lnTo>
                      <a:lnTo>
                        <a:pt x="351" y="287"/>
                      </a:lnTo>
                      <a:lnTo>
                        <a:pt x="356" y="278"/>
                      </a:lnTo>
                      <a:lnTo>
                        <a:pt x="383" y="264"/>
                      </a:lnTo>
                      <a:lnTo>
                        <a:pt x="406" y="246"/>
                      </a:lnTo>
                      <a:lnTo>
                        <a:pt x="428" y="228"/>
                      </a:lnTo>
                      <a:lnTo>
                        <a:pt x="456" y="214"/>
                      </a:lnTo>
                      <a:lnTo>
                        <a:pt x="469" y="205"/>
                      </a:lnTo>
                      <a:lnTo>
                        <a:pt x="479" y="196"/>
                      </a:lnTo>
                      <a:lnTo>
                        <a:pt x="492" y="187"/>
                      </a:lnTo>
                      <a:lnTo>
                        <a:pt x="506" y="182"/>
                      </a:lnTo>
                      <a:lnTo>
                        <a:pt x="520" y="187"/>
                      </a:lnTo>
                      <a:lnTo>
                        <a:pt x="529" y="196"/>
                      </a:lnTo>
                      <a:lnTo>
                        <a:pt x="533" y="205"/>
                      </a:lnTo>
                      <a:lnTo>
                        <a:pt x="538" y="214"/>
                      </a:lnTo>
                      <a:lnTo>
                        <a:pt x="542" y="205"/>
                      </a:lnTo>
                      <a:lnTo>
                        <a:pt x="547" y="196"/>
                      </a:lnTo>
                      <a:lnTo>
                        <a:pt x="556" y="187"/>
                      </a:lnTo>
                      <a:lnTo>
                        <a:pt x="556" y="173"/>
                      </a:lnTo>
                      <a:lnTo>
                        <a:pt x="556" y="164"/>
                      </a:lnTo>
                      <a:lnTo>
                        <a:pt x="551" y="160"/>
                      </a:lnTo>
                      <a:lnTo>
                        <a:pt x="542" y="150"/>
                      </a:lnTo>
                      <a:lnTo>
                        <a:pt x="542" y="141"/>
                      </a:lnTo>
                      <a:lnTo>
                        <a:pt x="538" y="123"/>
                      </a:lnTo>
                      <a:lnTo>
                        <a:pt x="524" y="105"/>
                      </a:lnTo>
                      <a:lnTo>
                        <a:pt x="510" y="91"/>
                      </a:lnTo>
                      <a:lnTo>
                        <a:pt x="492" y="78"/>
                      </a:lnTo>
                      <a:lnTo>
                        <a:pt x="483" y="69"/>
                      </a:lnTo>
                      <a:lnTo>
                        <a:pt x="474" y="60"/>
                      </a:lnTo>
                      <a:lnTo>
                        <a:pt x="469" y="50"/>
                      </a:lnTo>
                      <a:lnTo>
                        <a:pt x="456" y="46"/>
                      </a:lnTo>
                      <a:lnTo>
                        <a:pt x="447" y="46"/>
                      </a:lnTo>
                      <a:lnTo>
                        <a:pt x="438" y="41"/>
                      </a:lnTo>
                      <a:lnTo>
                        <a:pt x="428" y="41"/>
                      </a:lnTo>
                      <a:lnTo>
                        <a:pt x="415" y="37"/>
                      </a:lnTo>
                      <a:lnTo>
                        <a:pt x="410" y="28"/>
                      </a:lnTo>
                      <a:lnTo>
                        <a:pt x="410" y="19"/>
                      </a:lnTo>
                      <a:lnTo>
                        <a:pt x="406" y="5"/>
                      </a:lnTo>
                      <a:lnTo>
                        <a:pt x="392" y="0"/>
                      </a:lnTo>
                      <a:lnTo>
                        <a:pt x="387" y="5"/>
                      </a:lnTo>
                      <a:lnTo>
                        <a:pt x="383" y="14"/>
                      </a:lnTo>
                      <a:lnTo>
                        <a:pt x="378" y="23"/>
                      </a:lnTo>
                      <a:lnTo>
                        <a:pt x="374" y="28"/>
                      </a:lnTo>
                      <a:lnTo>
                        <a:pt x="365" y="32"/>
                      </a:lnTo>
                      <a:lnTo>
                        <a:pt x="346" y="41"/>
                      </a:lnTo>
                      <a:lnTo>
                        <a:pt x="328" y="50"/>
                      </a:lnTo>
                      <a:lnTo>
                        <a:pt x="319" y="55"/>
                      </a:lnTo>
                      <a:lnTo>
                        <a:pt x="305" y="55"/>
                      </a:lnTo>
                      <a:lnTo>
                        <a:pt x="292" y="50"/>
                      </a:lnTo>
                      <a:lnTo>
                        <a:pt x="278" y="41"/>
                      </a:lnTo>
                      <a:lnTo>
                        <a:pt x="264" y="37"/>
                      </a:lnTo>
                      <a:lnTo>
                        <a:pt x="251" y="46"/>
                      </a:lnTo>
                      <a:lnTo>
                        <a:pt x="242" y="55"/>
                      </a:lnTo>
                      <a:lnTo>
                        <a:pt x="228" y="64"/>
                      </a:lnTo>
                      <a:lnTo>
                        <a:pt x="214" y="73"/>
                      </a:lnTo>
                      <a:lnTo>
                        <a:pt x="196" y="73"/>
                      </a:lnTo>
                      <a:lnTo>
                        <a:pt x="178" y="73"/>
                      </a:lnTo>
                      <a:lnTo>
                        <a:pt x="160" y="78"/>
                      </a:lnTo>
                      <a:lnTo>
                        <a:pt x="155" y="87"/>
                      </a:lnTo>
                      <a:lnTo>
                        <a:pt x="155" y="96"/>
                      </a:lnTo>
                      <a:lnTo>
                        <a:pt x="164" y="100"/>
                      </a:lnTo>
                      <a:lnTo>
                        <a:pt x="169" y="105"/>
                      </a:lnTo>
                      <a:lnTo>
                        <a:pt x="169" y="114"/>
                      </a:lnTo>
                      <a:lnTo>
                        <a:pt x="164" y="123"/>
                      </a:lnTo>
                      <a:lnTo>
                        <a:pt x="155" y="128"/>
                      </a:lnTo>
                      <a:lnTo>
                        <a:pt x="141" y="123"/>
                      </a:lnTo>
                      <a:lnTo>
                        <a:pt x="128" y="128"/>
                      </a:lnTo>
                      <a:lnTo>
                        <a:pt x="123" y="132"/>
                      </a:lnTo>
                      <a:lnTo>
                        <a:pt x="119" y="137"/>
                      </a:lnTo>
                      <a:lnTo>
                        <a:pt x="114" y="141"/>
                      </a:lnTo>
                      <a:lnTo>
                        <a:pt x="110" y="146"/>
                      </a:lnTo>
                      <a:lnTo>
                        <a:pt x="82" y="150"/>
                      </a:lnTo>
                      <a:lnTo>
                        <a:pt x="55" y="150"/>
                      </a:lnTo>
                      <a:lnTo>
                        <a:pt x="28" y="155"/>
                      </a:lnTo>
                      <a:lnTo>
                        <a:pt x="18" y="178"/>
                      </a:lnTo>
                      <a:lnTo>
                        <a:pt x="18" y="187"/>
                      </a:lnTo>
                      <a:lnTo>
                        <a:pt x="23" y="191"/>
                      </a:lnTo>
                      <a:lnTo>
                        <a:pt x="28" y="200"/>
                      </a:lnTo>
                      <a:lnTo>
                        <a:pt x="28" y="210"/>
                      </a:lnTo>
                      <a:lnTo>
                        <a:pt x="23" y="232"/>
                      </a:lnTo>
                      <a:lnTo>
                        <a:pt x="14" y="246"/>
                      </a:lnTo>
                      <a:lnTo>
                        <a:pt x="5" y="260"/>
                      </a:lnTo>
                      <a:lnTo>
                        <a:pt x="0" y="282"/>
                      </a:lnTo>
                      <a:lnTo>
                        <a:pt x="5" y="296"/>
                      </a:lnTo>
                      <a:lnTo>
                        <a:pt x="18" y="300"/>
                      </a:lnTo>
                      <a:lnTo>
                        <a:pt x="32" y="305"/>
                      </a:lnTo>
                      <a:lnTo>
                        <a:pt x="46" y="310"/>
                      </a:lnTo>
                      <a:lnTo>
                        <a:pt x="50" y="314"/>
                      </a:lnTo>
                      <a:lnTo>
                        <a:pt x="55" y="319"/>
                      </a:lnTo>
                      <a:lnTo>
                        <a:pt x="55" y="323"/>
                      </a:lnTo>
                      <a:lnTo>
                        <a:pt x="59" y="328"/>
                      </a:lnTo>
                      <a:lnTo>
                        <a:pt x="69" y="323"/>
                      </a:lnTo>
                      <a:lnTo>
                        <a:pt x="73" y="310"/>
                      </a:lnTo>
                      <a:lnTo>
                        <a:pt x="82" y="300"/>
                      </a:lnTo>
                      <a:lnTo>
                        <a:pt x="100" y="305"/>
                      </a:lnTo>
                      <a:lnTo>
                        <a:pt x="119" y="310"/>
                      </a:lnTo>
                      <a:lnTo>
                        <a:pt x="137" y="310"/>
                      </a:lnTo>
                      <a:lnTo>
                        <a:pt x="151" y="310"/>
                      </a:lnTo>
                      <a:lnTo>
                        <a:pt x="169" y="314"/>
                      </a:lnTo>
                      <a:lnTo>
                        <a:pt x="173" y="319"/>
                      </a:lnTo>
                      <a:lnTo>
                        <a:pt x="173" y="328"/>
                      </a:lnTo>
                      <a:lnTo>
                        <a:pt x="178" y="337"/>
                      </a:lnTo>
                      <a:lnTo>
                        <a:pt x="182" y="341"/>
                      </a:lnTo>
                      <a:lnTo>
                        <a:pt x="201" y="337"/>
                      </a:lnTo>
                      <a:lnTo>
                        <a:pt x="210" y="341"/>
                      </a:lnTo>
                      <a:lnTo>
                        <a:pt x="219" y="350"/>
                      </a:lnTo>
                      <a:lnTo>
                        <a:pt x="228" y="355"/>
                      </a:lnTo>
                      <a:lnTo>
                        <a:pt x="228" y="355"/>
                      </a:lnTo>
                      <a:lnTo>
                        <a:pt x="223" y="355"/>
                      </a:lnTo>
                      <a:lnTo>
                        <a:pt x="223" y="355"/>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109" name="Freeform 215">
                  <a:extLst>
                    <a:ext uri="{FF2B5EF4-FFF2-40B4-BE49-F238E27FC236}">
                      <a16:creationId xmlns="" xmlns:a16="http://schemas.microsoft.com/office/drawing/2014/main" id="{C17E5F44-52F5-4E2A-A47F-5C14D26A8E78}"/>
                    </a:ext>
                  </a:extLst>
                </p:cNvPr>
                <p:cNvSpPr>
                  <a:spLocks noChangeAspect="1"/>
                </p:cNvSpPr>
                <p:nvPr/>
              </p:nvSpPr>
              <p:spPr bwMode="auto">
                <a:xfrm>
                  <a:off x="2898" y="2895"/>
                  <a:ext cx="337" cy="396"/>
                </a:xfrm>
                <a:custGeom>
                  <a:avLst/>
                  <a:gdLst>
                    <a:gd name="T0" fmla="*/ 328 w 337"/>
                    <a:gd name="T1" fmla="*/ 237 h 396"/>
                    <a:gd name="T2" fmla="*/ 314 w 337"/>
                    <a:gd name="T3" fmla="*/ 259 h 396"/>
                    <a:gd name="T4" fmla="*/ 314 w 337"/>
                    <a:gd name="T5" fmla="*/ 278 h 396"/>
                    <a:gd name="T6" fmla="*/ 323 w 337"/>
                    <a:gd name="T7" fmla="*/ 305 h 396"/>
                    <a:gd name="T8" fmla="*/ 323 w 337"/>
                    <a:gd name="T9" fmla="*/ 346 h 396"/>
                    <a:gd name="T10" fmla="*/ 296 w 337"/>
                    <a:gd name="T11" fmla="*/ 373 h 396"/>
                    <a:gd name="T12" fmla="*/ 269 w 337"/>
                    <a:gd name="T13" fmla="*/ 373 h 396"/>
                    <a:gd name="T14" fmla="*/ 246 w 337"/>
                    <a:gd name="T15" fmla="*/ 364 h 396"/>
                    <a:gd name="T16" fmla="*/ 223 w 337"/>
                    <a:gd name="T17" fmla="*/ 364 h 396"/>
                    <a:gd name="T18" fmla="*/ 200 w 337"/>
                    <a:gd name="T19" fmla="*/ 391 h 396"/>
                    <a:gd name="T20" fmla="*/ 173 w 337"/>
                    <a:gd name="T21" fmla="*/ 391 h 396"/>
                    <a:gd name="T22" fmla="*/ 155 w 337"/>
                    <a:gd name="T23" fmla="*/ 378 h 396"/>
                    <a:gd name="T24" fmla="*/ 132 w 337"/>
                    <a:gd name="T25" fmla="*/ 373 h 396"/>
                    <a:gd name="T26" fmla="*/ 118 w 337"/>
                    <a:gd name="T27" fmla="*/ 373 h 396"/>
                    <a:gd name="T28" fmla="*/ 86 w 337"/>
                    <a:gd name="T29" fmla="*/ 359 h 396"/>
                    <a:gd name="T30" fmla="*/ 55 w 337"/>
                    <a:gd name="T31" fmla="*/ 309 h 396"/>
                    <a:gd name="T32" fmla="*/ 41 w 337"/>
                    <a:gd name="T33" fmla="*/ 250 h 396"/>
                    <a:gd name="T34" fmla="*/ 36 w 337"/>
                    <a:gd name="T35" fmla="*/ 200 h 396"/>
                    <a:gd name="T36" fmla="*/ 23 w 337"/>
                    <a:gd name="T37" fmla="*/ 173 h 396"/>
                    <a:gd name="T38" fmla="*/ 4 w 337"/>
                    <a:gd name="T39" fmla="*/ 146 h 396"/>
                    <a:gd name="T40" fmla="*/ 4 w 337"/>
                    <a:gd name="T41" fmla="*/ 105 h 396"/>
                    <a:gd name="T42" fmla="*/ 27 w 337"/>
                    <a:gd name="T43" fmla="*/ 59 h 396"/>
                    <a:gd name="T44" fmla="*/ 50 w 337"/>
                    <a:gd name="T45" fmla="*/ 41 h 396"/>
                    <a:gd name="T46" fmla="*/ 73 w 337"/>
                    <a:gd name="T47" fmla="*/ 41 h 396"/>
                    <a:gd name="T48" fmla="*/ 91 w 337"/>
                    <a:gd name="T49" fmla="*/ 28 h 396"/>
                    <a:gd name="T50" fmla="*/ 96 w 337"/>
                    <a:gd name="T51" fmla="*/ 9 h 396"/>
                    <a:gd name="T52" fmla="*/ 118 w 337"/>
                    <a:gd name="T53" fmla="*/ 9 h 396"/>
                    <a:gd name="T54" fmla="*/ 137 w 337"/>
                    <a:gd name="T55" fmla="*/ 32 h 396"/>
                    <a:gd name="T56" fmla="*/ 150 w 337"/>
                    <a:gd name="T57" fmla="*/ 55 h 396"/>
                    <a:gd name="T58" fmla="*/ 159 w 337"/>
                    <a:gd name="T59" fmla="*/ 73 h 396"/>
                    <a:gd name="T60" fmla="*/ 178 w 337"/>
                    <a:gd name="T61" fmla="*/ 73 h 396"/>
                    <a:gd name="T62" fmla="*/ 191 w 337"/>
                    <a:gd name="T63" fmla="*/ 59 h 396"/>
                    <a:gd name="T64" fmla="*/ 209 w 337"/>
                    <a:gd name="T65" fmla="*/ 55 h 396"/>
                    <a:gd name="T66" fmla="*/ 246 w 337"/>
                    <a:gd name="T67" fmla="*/ 69 h 396"/>
                    <a:gd name="T68" fmla="*/ 264 w 337"/>
                    <a:gd name="T69" fmla="*/ 78 h 396"/>
                    <a:gd name="T70" fmla="*/ 282 w 337"/>
                    <a:gd name="T71" fmla="*/ 96 h 396"/>
                    <a:gd name="T72" fmla="*/ 291 w 337"/>
                    <a:gd name="T73" fmla="*/ 105 h 396"/>
                    <a:gd name="T74" fmla="*/ 291 w 337"/>
                    <a:gd name="T75" fmla="*/ 119 h 396"/>
                    <a:gd name="T76" fmla="*/ 296 w 337"/>
                    <a:gd name="T77" fmla="*/ 150 h 396"/>
                    <a:gd name="T78" fmla="*/ 328 w 337"/>
                    <a:gd name="T79" fmla="*/ 200 h 396"/>
                    <a:gd name="T80" fmla="*/ 332 w 337"/>
                    <a:gd name="T81" fmla="*/ 237 h 396"/>
                    <a:gd name="T82" fmla="*/ 337 w 337"/>
                    <a:gd name="T83" fmla="*/ 23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7" h="396">
                      <a:moveTo>
                        <a:pt x="337" y="232"/>
                      </a:moveTo>
                      <a:lnTo>
                        <a:pt x="328" y="237"/>
                      </a:lnTo>
                      <a:lnTo>
                        <a:pt x="319" y="246"/>
                      </a:lnTo>
                      <a:lnTo>
                        <a:pt x="314" y="259"/>
                      </a:lnTo>
                      <a:lnTo>
                        <a:pt x="310" y="269"/>
                      </a:lnTo>
                      <a:lnTo>
                        <a:pt x="314" y="278"/>
                      </a:lnTo>
                      <a:lnTo>
                        <a:pt x="319" y="291"/>
                      </a:lnTo>
                      <a:lnTo>
                        <a:pt x="323" y="305"/>
                      </a:lnTo>
                      <a:lnTo>
                        <a:pt x="328" y="323"/>
                      </a:lnTo>
                      <a:lnTo>
                        <a:pt x="323" y="346"/>
                      </a:lnTo>
                      <a:lnTo>
                        <a:pt x="314" y="364"/>
                      </a:lnTo>
                      <a:lnTo>
                        <a:pt x="296" y="373"/>
                      </a:lnTo>
                      <a:lnTo>
                        <a:pt x="278" y="378"/>
                      </a:lnTo>
                      <a:lnTo>
                        <a:pt x="269" y="373"/>
                      </a:lnTo>
                      <a:lnTo>
                        <a:pt x="260" y="369"/>
                      </a:lnTo>
                      <a:lnTo>
                        <a:pt x="246" y="364"/>
                      </a:lnTo>
                      <a:lnTo>
                        <a:pt x="237" y="359"/>
                      </a:lnTo>
                      <a:lnTo>
                        <a:pt x="223" y="364"/>
                      </a:lnTo>
                      <a:lnTo>
                        <a:pt x="209" y="378"/>
                      </a:lnTo>
                      <a:lnTo>
                        <a:pt x="200" y="391"/>
                      </a:lnTo>
                      <a:lnTo>
                        <a:pt x="182" y="396"/>
                      </a:lnTo>
                      <a:lnTo>
                        <a:pt x="173" y="391"/>
                      </a:lnTo>
                      <a:lnTo>
                        <a:pt x="164" y="382"/>
                      </a:lnTo>
                      <a:lnTo>
                        <a:pt x="155" y="378"/>
                      </a:lnTo>
                      <a:lnTo>
                        <a:pt x="137" y="373"/>
                      </a:lnTo>
                      <a:lnTo>
                        <a:pt x="132" y="373"/>
                      </a:lnTo>
                      <a:lnTo>
                        <a:pt x="127" y="373"/>
                      </a:lnTo>
                      <a:lnTo>
                        <a:pt x="118" y="373"/>
                      </a:lnTo>
                      <a:lnTo>
                        <a:pt x="114" y="378"/>
                      </a:lnTo>
                      <a:lnTo>
                        <a:pt x="86" y="359"/>
                      </a:lnTo>
                      <a:lnTo>
                        <a:pt x="68" y="337"/>
                      </a:lnTo>
                      <a:lnTo>
                        <a:pt x="55" y="309"/>
                      </a:lnTo>
                      <a:lnTo>
                        <a:pt x="45" y="269"/>
                      </a:lnTo>
                      <a:lnTo>
                        <a:pt x="41" y="250"/>
                      </a:lnTo>
                      <a:lnTo>
                        <a:pt x="41" y="223"/>
                      </a:lnTo>
                      <a:lnTo>
                        <a:pt x="36" y="200"/>
                      </a:lnTo>
                      <a:lnTo>
                        <a:pt x="32" y="182"/>
                      </a:lnTo>
                      <a:lnTo>
                        <a:pt x="23" y="173"/>
                      </a:lnTo>
                      <a:lnTo>
                        <a:pt x="14" y="159"/>
                      </a:lnTo>
                      <a:lnTo>
                        <a:pt x="4" y="146"/>
                      </a:lnTo>
                      <a:lnTo>
                        <a:pt x="0" y="128"/>
                      </a:lnTo>
                      <a:lnTo>
                        <a:pt x="4" y="105"/>
                      </a:lnTo>
                      <a:lnTo>
                        <a:pt x="14" y="82"/>
                      </a:lnTo>
                      <a:lnTo>
                        <a:pt x="27" y="59"/>
                      </a:lnTo>
                      <a:lnTo>
                        <a:pt x="41" y="46"/>
                      </a:lnTo>
                      <a:lnTo>
                        <a:pt x="50" y="41"/>
                      </a:lnTo>
                      <a:lnTo>
                        <a:pt x="64" y="41"/>
                      </a:lnTo>
                      <a:lnTo>
                        <a:pt x="73" y="41"/>
                      </a:lnTo>
                      <a:lnTo>
                        <a:pt x="82" y="37"/>
                      </a:lnTo>
                      <a:lnTo>
                        <a:pt x="91" y="28"/>
                      </a:lnTo>
                      <a:lnTo>
                        <a:pt x="91" y="19"/>
                      </a:lnTo>
                      <a:lnTo>
                        <a:pt x="96" y="9"/>
                      </a:lnTo>
                      <a:lnTo>
                        <a:pt x="109" y="0"/>
                      </a:lnTo>
                      <a:lnTo>
                        <a:pt x="118" y="9"/>
                      </a:lnTo>
                      <a:lnTo>
                        <a:pt x="127" y="19"/>
                      </a:lnTo>
                      <a:lnTo>
                        <a:pt x="137" y="32"/>
                      </a:lnTo>
                      <a:lnTo>
                        <a:pt x="146" y="41"/>
                      </a:lnTo>
                      <a:lnTo>
                        <a:pt x="150" y="55"/>
                      </a:lnTo>
                      <a:lnTo>
                        <a:pt x="155" y="64"/>
                      </a:lnTo>
                      <a:lnTo>
                        <a:pt x="159" y="73"/>
                      </a:lnTo>
                      <a:lnTo>
                        <a:pt x="168" y="78"/>
                      </a:lnTo>
                      <a:lnTo>
                        <a:pt x="178" y="73"/>
                      </a:lnTo>
                      <a:lnTo>
                        <a:pt x="182" y="64"/>
                      </a:lnTo>
                      <a:lnTo>
                        <a:pt x="191" y="59"/>
                      </a:lnTo>
                      <a:lnTo>
                        <a:pt x="196" y="55"/>
                      </a:lnTo>
                      <a:lnTo>
                        <a:pt x="209" y="55"/>
                      </a:lnTo>
                      <a:lnTo>
                        <a:pt x="228" y="64"/>
                      </a:lnTo>
                      <a:lnTo>
                        <a:pt x="246" y="69"/>
                      </a:lnTo>
                      <a:lnTo>
                        <a:pt x="255" y="73"/>
                      </a:lnTo>
                      <a:lnTo>
                        <a:pt x="264" y="78"/>
                      </a:lnTo>
                      <a:lnTo>
                        <a:pt x="273" y="87"/>
                      </a:lnTo>
                      <a:lnTo>
                        <a:pt x="282" y="96"/>
                      </a:lnTo>
                      <a:lnTo>
                        <a:pt x="296" y="100"/>
                      </a:lnTo>
                      <a:lnTo>
                        <a:pt x="291" y="105"/>
                      </a:lnTo>
                      <a:lnTo>
                        <a:pt x="291" y="109"/>
                      </a:lnTo>
                      <a:lnTo>
                        <a:pt x="291" y="119"/>
                      </a:lnTo>
                      <a:lnTo>
                        <a:pt x="291" y="123"/>
                      </a:lnTo>
                      <a:lnTo>
                        <a:pt x="296" y="150"/>
                      </a:lnTo>
                      <a:lnTo>
                        <a:pt x="314" y="178"/>
                      </a:lnTo>
                      <a:lnTo>
                        <a:pt x="328" y="200"/>
                      </a:lnTo>
                      <a:lnTo>
                        <a:pt x="332" y="237"/>
                      </a:lnTo>
                      <a:lnTo>
                        <a:pt x="332" y="237"/>
                      </a:lnTo>
                      <a:lnTo>
                        <a:pt x="332" y="237"/>
                      </a:lnTo>
                      <a:lnTo>
                        <a:pt x="337" y="232"/>
                      </a:lnTo>
                      <a:lnTo>
                        <a:pt x="337" y="232"/>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110" name="Freeform 216">
                  <a:extLst>
                    <a:ext uri="{FF2B5EF4-FFF2-40B4-BE49-F238E27FC236}">
                      <a16:creationId xmlns="" xmlns:a16="http://schemas.microsoft.com/office/drawing/2014/main" id="{93872992-0CEF-4F23-A876-55986143661E}"/>
                    </a:ext>
                  </a:extLst>
                </p:cNvPr>
                <p:cNvSpPr>
                  <a:spLocks noChangeAspect="1"/>
                </p:cNvSpPr>
                <p:nvPr/>
              </p:nvSpPr>
              <p:spPr bwMode="auto">
                <a:xfrm>
                  <a:off x="3003" y="3127"/>
                  <a:ext cx="514" cy="455"/>
                </a:xfrm>
                <a:custGeom>
                  <a:avLst/>
                  <a:gdLst>
                    <a:gd name="T0" fmla="*/ 319 w 514"/>
                    <a:gd name="T1" fmla="*/ 450 h 455"/>
                    <a:gd name="T2" fmla="*/ 346 w 514"/>
                    <a:gd name="T3" fmla="*/ 455 h 455"/>
                    <a:gd name="T4" fmla="*/ 360 w 514"/>
                    <a:gd name="T5" fmla="*/ 455 h 455"/>
                    <a:gd name="T6" fmla="*/ 355 w 514"/>
                    <a:gd name="T7" fmla="*/ 450 h 455"/>
                    <a:gd name="T8" fmla="*/ 355 w 514"/>
                    <a:gd name="T9" fmla="*/ 423 h 455"/>
                    <a:gd name="T10" fmla="*/ 373 w 514"/>
                    <a:gd name="T11" fmla="*/ 405 h 455"/>
                    <a:gd name="T12" fmla="*/ 396 w 514"/>
                    <a:gd name="T13" fmla="*/ 387 h 455"/>
                    <a:gd name="T14" fmla="*/ 428 w 514"/>
                    <a:gd name="T15" fmla="*/ 346 h 455"/>
                    <a:gd name="T16" fmla="*/ 432 w 514"/>
                    <a:gd name="T17" fmla="*/ 346 h 455"/>
                    <a:gd name="T18" fmla="*/ 455 w 514"/>
                    <a:gd name="T19" fmla="*/ 318 h 455"/>
                    <a:gd name="T20" fmla="*/ 460 w 514"/>
                    <a:gd name="T21" fmla="*/ 264 h 455"/>
                    <a:gd name="T22" fmla="*/ 501 w 514"/>
                    <a:gd name="T23" fmla="*/ 227 h 455"/>
                    <a:gd name="T24" fmla="*/ 514 w 514"/>
                    <a:gd name="T25" fmla="*/ 205 h 455"/>
                    <a:gd name="T26" fmla="*/ 510 w 514"/>
                    <a:gd name="T27" fmla="*/ 182 h 455"/>
                    <a:gd name="T28" fmla="*/ 501 w 514"/>
                    <a:gd name="T29" fmla="*/ 168 h 455"/>
                    <a:gd name="T30" fmla="*/ 483 w 514"/>
                    <a:gd name="T31" fmla="*/ 150 h 455"/>
                    <a:gd name="T32" fmla="*/ 460 w 514"/>
                    <a:gd name="T33" fmla="*/ 77 h 455"/>
                    <a:gd name="T34" fmla="*/ 437 w 514"/>
                    <a:gd name="T35" fmla="*/ 50 h 455"/>
                    <a:gd name="T36" fmla="*/ 405 w 514"/>
                    <a:gd name="T37" fmla="*/ 50 h 455"/>
                    <a:gd name="T38" fmla="*/ 378 w 514"/>
                    <a:gd name="T39" fmla="*/ 73 h 455"/>
                    <a:gd name="T40" fmla="*/ 355 w 514"/>
                    <a:gd name="T41" fmla="*/ 59 h 455"/>
                    <a:gd name="T42" fmla="*/ 328 w 514"/>
                    <a:gd name="T43" fmla="*/ 73 h 455"/>
                    <a:gd name="T44" fmla="*/ 291 w 514"/>
                    <a:gd name="T45" fmla="*/ 82 h 455"/>
                    <a:gd name="T46" fmla="*/ 255 w 514"/>
                    <a:gd name="T47" fmla="*/ 37 h 455"/>
                    <a:gd name="T48" fmla="*/ 241 w 514"/>
                    <a:gd name="T49" fmla="*/ 5 h 455"/>
                    <a:gd name="T50" fmla="*/ 214 w 514"/>
                    <a:gd name="T51" fmla="*/ 14 h 455"/>
                    <a:gd name="T52" fmla="*/ 209 w 514"/>
                    <a:gd name="T53" fmla="*/ 46 h 455"/>
                    <a:gd name="T54" fmla="*/ 223 w 514"/>
                    <a:gd name="T55" fmla="*/ 91 h 455"/>
                    <a:gd name="T56" fmla="*/ 191 w 514"/>
                    <a:gd name="T57" fmla="*/ 141 h 455"/>
                    <a:gd name="T58" fmla="*/ 155 w 514"/>
                    <a:gd name="T59" fmla="*/ 137 h 455"/>
                    <a:gd name="T60" fmla="*/ 118 w 514"/>
                    <a:gd name="T61" fmla="*/ 132 h 455"/>
                    <a:gd name="T62" fmla="*/ 77 w 514"/>
                    <a:gd name="T63" fmla="*/ 164 h 455"/>
                    <a:gd name="T64" fmla="*/ 50 w 514"/>
                    <a:gd name="T65" fmla="*/ 146 h 455"/>
                    <a:gd name="T66" fmla="*/ 9 w 514"/>
                    <a:gd name="T67" fmla="*/ 146 h 455"/>
                    <a:gd name="T68" fmla="*/ 4 w 514"/>
                    <a:gd name="T69" fmla="*/ 177 h 455"/>
                    <a:gd name="T70" fmla="*/ 41 w 514"/>
                    <a:gd name="T71" fmla="*/ 209 h 455"/>
                    <a:gd name="T72" fmla="*/ 22 w 514"/>
                    <a:gd name="T73" fmla="*/ 237 h 455"/>
                    <a:gd name="T74" fmla="*/ 41 w 514"/>
                    <a:gd name="T75" fmla="*/ 273 h 455"/>
                    <a:gd name="T76" fmla="*/ 86 w 514"/>
                    <a:gd name="T77" fmla="*/ 277 h 455"/>
                    <a:gd name="T78" fmla="*/ 132 w 514"/>
                    <a:gd name="T79" fmla="*/ 255 h 455"/>
                    <a:gd name="T80" fmla="*/ 145 w 514"/>
                    <a:gd name="T81" fmla="*/ 232 h 455"/>
                    <a:gd name="T82" fmla="*/ 168 w 514"/>
                    <a:gd name="T83" fmla="*/ 246 h 455"/>
                    <a:gd name="T84" fmla="*/ 186 w 514"/>
                    <a:gd name="T85" fmla="*/ 268 h 455"/>
                    <a:gd name="T86" fmla="*/ 214 w 514"/>
                    <a:gd name="T87" fmla="*/ 273 h 455"/>
                    <a:gd name="T88" fmla="*/ 241 w 514"/>
                    <a:gd name="T89" fmla="*/ 296 h 455"/>
                    <a:gd name="T90" fmla="*/ 282 w 514"/>
                    <a:gd name="T91" fmla="*/ 332 h 455"/>
                    <a:gd name="T92" fmla="*/ 300 w 514"/>
                    <a:gd name="T93" fmla="*/ 377 h 455"/>
                    <a:gd name="T94" fmla="*/ 314 w 514"/>
                    <a:gd name="T95" fmla="*/ 400 h 455"/>
                    <a:gd name="T96" fmla="*/ 300 w 514"/>
                    <a:gd name="T97" fmla="*/ 432 h 455"/>
                    <a:gd name="T98" fmla="*/ 296 w 514"/>
                    <a:gd name="T99" fmla="*/ 441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4" h="455">
                      <a:moveTo>
                        <a:pt x="296" y="441"/>
                      </a:moveTo>
                      <a:lnTo>
                        <a:pt x="305" y="446"/>
                      </a:lnTo>
                      <a:lnTo>
                        <a:pt x="319" y="450"/>
                      </a:lnTo>
                      <a:lnTo>
                        <a:pt x="332" y="455"/>
                      </a:lnTo>
                      <a:lnTo>
                        <a:pt x="346" y="455"/>
                      </a:lnTo>
                      <a:lnTo>
                        <a:pt x="346" y="455"/>
                      </a:lnTo>
                      <a:lnTo>
                        <a:pt x="350" y="455"/>
                      </a:lnTo>
                      <a:lnTo>
                        <a:pt x="355" y="455"/>
                      </a:lnTo>
                      <a:lnTo>
                        <a:pt x="360" y="455"/>
                      </a:lnTo>
                      <a:lnTo>
                        <a:pt x="360" y="455"/>
                      </a:lnTo>
                      <a:lnTo>
                        <a:pt x="355" y="450"/>
                      </a:lnTo>
                      <a:lnTo>
                        <a:pt x="355" y="450"/>
                      </a:lnTo>
                      <a:lnTo>
                        <a:pt x="355" y="441"/>
                      </a:lnTo>
                      <a:lnTo>
                        <a:pt x="355" y="432"/>
                      </a:lnTo>
                      <a:lnTo>
                        <a:pt x="355" y="423"/>
                      </a:lnTo>
                      <a:lnTo>
                        <a:pt x="360" y="414"/>
                      </a:lnTo>
                      <a:lnTo>
                        <a:pt x="369" y="409"/>
                      </a:lnTo>
                      <a:lnTo>
                        <a:pt x="373" y="405"/>
                      </a:lnTo>
                      <a:lnTo>
                        <a:pt x="382" y="405"/>
                      </a:lnTo>
                      <a:lnTo>
                        <a:pt x="387" y="400"/>
                      </a:lnTo>
                      <a:lnTo>
                        <a:pt x="396" y="387"/>
                      </a:lnTo>
                      <a:lnTo>
                        <a:pt x="410" y="368"/>
                      </a:lnTo>
                      <a:lnTo>
                        <a:pt x="419" y="350"/>
                      </a:lnTo>
                      <a:lnTo>
                        <a:pt x="428" y="346"/>
                      </a:lnTo>
                      <a:lnTo>
                        <a:pt x="428" y="346"/>
                      </a:lnTo>
                      <a:lnTo>
                        <a:pt x="432" y="346"/>
                      </a:lnTo>
                      <a:lnTo>
                        <a:pt x="432" y="346"/>
                      </a:lnTo>
                      <a:lnTo>
                        <a:pt x="437" y="346"/>
                      </a:lnTo>
                      <a:lnTo>
                        <a:pt x="446" y="337"/>
                      </a:lnTo>
                      <a:lnTo>
                        <a:pt x="455" y="318"/>
                      </a:lnTo>
                      <a:lnTo>
                        <a:pt x="455" y="300"/>
                      </a:lnTo>
                      <a:lnTo>
                        <a:pt x="455" y="282"/>
                      </a:lnTo>
                      <a:lnTo>
                        <a:pt x="460" y="264"/>
                      </a:lnTo>
                      <a:lnTo>
                        <a:pt x="469" y="246"/>
                      </a:lnTo>
                      <a:lnTo>
                        <a:pt x="483" y="237"/>
                      </a:lnTo>
                      <a:lnTo>
                        <a:pt x="501" y="227"/>
                      </a:lnTo>
                      <a:lnTo>
                        <a:pt x="501" y="218"/>
                      </a:lnTo>
                      <a:lnTo>
                        <a:pt x="510" y="214"/>
                      </a:lnTo>
                      <a:lnTo>
                        <a:pt x="514" y="205"/>
                      </a:lnTo>
                      <a:lnTo>
                        <a:pt x="514" y="196"/>
                      </a:lnTo>
                      <a:lnTo>
                        <a:pt x="514" y="187"/>
                      </a:lnTo>
                      <a:lnTo>
                        <a:pt x="510" y="182"/>
                      </a:lnTo>
                      <a:lnTo>
                        <a:pt x="505" y="173"/>
                      </a:lnTo>
                      <a:lnTo>
                        <a:pt x="505" y="168"/>
                      </a:lnTo>
                      <a:lnTo>
                        <a:pt x="501" y="168"/>
                      </a:lnTo>
                      <a:lnTo>
                        <a:pt x="492" y="159"/>
                      </a:lnTo>
                      <a:lnTo>
                        <a:pt x="487" y="155"/>
                      </a:lnTo>
                      <a:lnTo>
                        <a:pt x="483" y="150"/>
                      </a:lnTo>
                      <a:lnTo>
                        <a:pt x="473" y="127"/>
                      </a:lnTo>
                      <a:lnTo>
                        <a:pt x="464" y="105"/>
                      </a:lnTo>
                      <a:lnTo>
                        <a:pt x="460" y="77"/>
                      </a:lnTo>
                      <a:lnTo>
                        <a:pt x="455" y="55"/>
                      </a:lnTo>
                      <a:lnTo>
                        <a:pt x="446" y="50"/>
                      </a:lnTo>
                      <a:lnTo>
                        <a:pt x="437" y="50"/>
                      </a:lnTo>
                      <a:lnTo>
                        <a:pt x="423" y="46"/>
                      </a:lnTo>
                      <a:lnTo>
                        <a:pt x="414" y="46"/>
                      </a:lnTo>
                      <a:lnTo>
                        <a:pt x="405" y="50"/>
                      </a:lnTo>
                      <a:lnTo>
                        <a:pt x="396" y="59"/>
                      </a:lnTo>
                      <a:lnTo>
                        <a:pt x="387" y="68"/>
                      </a:lnTo>
                      <a:lnTo>
                        <a:pt x="378" y="73"/>
                      </a:lnTo>
                      <a:lnTo>
                        <a:pt x="369" y="73"/>
                      </a:lnTo>
                      <a:lnTo>
                        <a:pt x="364" y="64"/>
                      </a:lnTo>
                      <a:lnTo>
                        <a:pt x="355" y="59"/>
                      </a:lnTo>
                      <a:lnTo>
                        <a:pt x="346" y="59"/>
                      </a:lnTo>
                      <a:lnTo>
                        <a:pt x="337" y="64"/>
                      </a:lnTo>
                      <a:lnTo>
                        <a:pt x="328" y="73"/>
                      </a:lnTo>
                      <a:lnTo>
                        <a:pt x="323" y="82"/>
                      </a:lnTo>
                      <a:lnTo>
                        <a:pt x="309" y="87"/>
                      </a:lnTo>
                      <a:lnTo>
                        <a:pt x="291" y="82"/>
                      </a:lnTo>
                      <a:lnTo>
                        <a:pt x="273" y="68"/>
                      </a:lnTo>
                      <a:lnTo>
                        <a:pt x="259" y="55"/>
                      </a:lnTo>
                      <a:lnTo>
                        <a:pt x="255" y="37"/>
                      </a:lnTo>
                      <a:lnTo>
                        <a:pt x="255" y="23"/>
                      </a:lnTo>
                      <a:lnTo>
                        <a:pt x="250" y="9"/>
                      </a:lnTo>
                      <a:lnTo>
                        <a:pt x="241" y="5"/>
                      </a:lnTo>
                      <a:lnTo>
                        <a:pt x="232" y="0"/>
                      </a:lnTo>
                      <a:lnTo>
                        <a:pt x="223" y="5"/>
                      </a:lnTo>
                      <a:lnTo>
                        <a:pt x="214" y="14"/>
                      </a:lnTo>
                      <a:lnTo>
                        <a:pt x="209" y="27"/>
                      </a:lnTo>
                      <a:lnTo>
                        <a:pt x="205" y="37"/>
                      </a:lnTo>
                      <a:lnTo>
                        <a:pt x="209" y="46"/>
                      </a:lnTo>
                      <a:lnTo>
                        <a:pt x="214" y="59"/>
                      </a:lnTo>
                      <a:lnTo>
                        <a:pt x="218" y="73"/>
                      </a:lnTo>
                      <a:lnTo>
                        <a:pt x="223" y="91"/>
                      </a:lnTo>
                      <a:lnTo>
                        <a:pt x="218" y="114"/>
                      </a:lnTo>
                      <a:lnTo>
                        <a:pt x="209" y="132"/>
                      </a:lnTo>
                      <a:lnTo>
                        <a:pt x="191" y="141"/>
                      </a:lnTo>
                      <a:lnTo>
                        <a:pt x="173" y="146"/>
                      </a:lnTo>
                      <a:lnTo>
                        <a:pt x="164" y="141"/>
                      </a:lnTo>
                      <a:lnTo>
                        <a:pt x="155" y="137"/>
                      </a:lnTo>
                      <a:lnTo>
                        <a:pt x="141" y="132"/>
                      </a:lnTo>
                      <a:lnTo>
                        <a:pt x="132" y="127"/>
                      </a:lnTo>
                      <a:lnTo>
                        <a:pt x="118" y="132"/>
                      </a:lnTo>
                      <a:lnTo>
                        <a:pt x="104" y="146"/>
                      </a:lnTo>
                      <a:lnTo>
                        <a:pt x="95" y="159"/>
                      </a:lnTo>
                      <a:lnTo>
                        <a:pt x="77" y="164"/>
                      </a:lnTo>
                      <a:lnTo>
                        <a:pt x="68" y="159"/>
                      </a:lnTo>
                      <a:lnTo>
                        <a:pt x="59" y="150"/>
                      </a:lnTo>
                      <a:lnTo>
                        <a:pt x="50" y="146"/>
                      </a:lnTo>
                      <a:lnTo>
                        <a:pt x="32" y="141"/>
                      </a:lnTo>
                      <a:lnTo>
                        <a:pt x="22" y="141"/>
                      </a:lnTo>
                      <a:lnTo>
                        <a:pt x="9" y="146"/>
                      </a:lnTo>
                      <a:lnTo>
                        <a:pt x="4" y="155"/>
                      </a:lnTo>
                      <a:lnTo>
                        <a:pt x="0" y="164"/>
                      </a:lnTo>
                      <a:lnTo>
                        <a:pt x="4" y="177"/>
                      </a:lnTo>
                      <a:lnTo>
                        <a:pt x="22" y="187"/>
                      </a:lnTo>
                      <a:lnTo>
                        <a:pt x="36" y="196"/>
                      </a:lnTo>
                      <a:lnTo>
                        <a:pt x="41" y="209"/>
                      </a:lnTo>
                      <a:lnTo>
                        <a:pt x="36" y="223"/>
                      </a:lnTo>
                      <a:lnTo>
                        <a:pt x="32" y="227"/>
                      </a:lnTo>
                      <a:lnTo>
                        <a:pt x="22" y="237"/>
                      </a:lnTo>
                      <a:lnTo>
                        <a:pt x="18" y="250"/>
                      </a:lnTo>
                      <a:lnTo>
                        <a:pt x="22" y="264"/>
                      </a:lnTo>
                      <a:lnTo>
                        <a:pt x="41" y="273"/>
                      </a:lnTo>
                      <a:lnTo>
                        <a:pt x="59" y="282"/>
                      </a:lnTo>
                      <a:lnTo>
                        <a:pt x="77" y="282"/>
                      </a:lnTo>
                      <a:lnTo>
                        <a:pt x="86" y="277"/>
                      </a:lnTo>
                      <a:lnTo>
                        <a:pt x="104" y="268"/>
                      </a:lnTo>
                      <a:lnTo>
                        <a:pt x="123" y="259"/>
                      </a:lnTo>
                      <a:lnTo>
                        <a:pt x="132" y="255"/>
                      </a:lnTo>
                      <a:lnTo>
                        <a:pt x="136" y="250"/>
                      </a:lnTo>
                      <a:lnTo>
                        <a:pt x="141" y="241"/>
                      </a:lnTo>
                      <a:lnTo>
                        <a:pt x="145" y="232"/>
                      </a:lnTo>
                      <a:lnTo>
                        <a:pt x="150" y="227"/>
                      </a:lnTo>
                      <a:lnTo>
                        <a:pt x="164" y="232"/>
                      </a:lnTo>
                      <a:lnTo>
                        <a:pt x="168" y="246"/>
                      </a:lnTo>
                      <a:lnTo>
                        <a:pt x="168" y="255"/>
                      </a:lnTo>
                      <a:lnTo>
                        <a:pt x="173" y="264"/>
                      </a:lnTo>
                      <a:lnTo>
                        <a:pt x="186" y="268"/>
                      </a:lnTo>
                      <a:lnTo>
                        <a:pt x="196" y="268"/>
                      </a:lnTo>
                      <a:lnTo>
                        <a:pt x="205" y="273"/>
                      </a:lnTo>
                      <a:lnTo>
                        <a:pt x="214" y="273"/>
                      </a:lnTo>
                      <a:lnTo>
                        <a:pt x="227" y="277"/>
                      </a:lnTo>
                      <a:lnTo>
                        <a:pt x="232" y="287"/>
                      </a:lnTo>
                      <a:lnTo>
                        <a:pt x="241" y="296"/>
                      </a:lnTo>
                      <a:lnTo>
                        <a:pt x="250" y="305"/>
                      </a:lnTo>
                      <a:lnTo>
                        <a:pt x="268" y="318"/>
                      </a:lnTo>
                      <a:lnTo>
                        <a:pt x="282" y="332"/>
                      </a:lnTo>
                      <a:lnTo>
                        <a:pt x="296" y="350"/>
                      </a:lnTo>
                      <a:lnTo>
                        <a:pt x="300" y="368"/>
                      </a:lnTo>
                      <a:lnTo>
                        <a:pt x="300" y="377"/>
                      </a:lnTo>
                      <a:lnTo>
                        <a:pt x="309" y="387"/>
                      </a:lnTo>
                      <a:lnTo>
                        <a:pt x="314" y="391"/>
                      </a:lnTo>
                      <a:lnTo>
                        <a:pt x="314" y="400"/>
                      </a:lnTo>
                      <a:lnTo>
                        <a:pt x="314" y="414"/>
                      </a:lnTo>
                      <a:lnTo>
                        <a:pt x="305" y="423"/>
                      </a:lnTo>
                      <a:lnTo>
                        <a:pt x="300" y="432"/>
                      </a:lnTo>
                      <a:lnTo>
                        <a:pt x="296" y="437"/>
                      </a:lnTo>
                      <a:lnTo>
                        <a:pt x="296" y="437"/>
                      </a:lnTo>
                      <a:lnTo>
                        <a:pt x="296" y="441"/>
                      </a:lnTo>
                      <a:lnTo>
                        <a:pt x="296" y="441"/>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grpSp>
          <p:grpSp>
            <p:nvGrpSpPr>
              <p:cNvPr id="99" name="Group 217">
                <a:extLst>
                  <a:ext uri="{FF2B5EF4-FFF2-40B4-BE49-F238E27FC236}">
                    <a16:creationId xmlns="" xmlns:a16="http://schemas.microsoft.com/office/drawing/2014/main" id="{AED0ECC1-6E93-40C3-BFCA-F96F8B1F1EDF}"/>
                  </a:ext>
                </a:extLst>
              </p:cNvPr>
              <p:cNvGrpSpPr>
                <a:grpSpLocks noChangeAspect="1"/>
              </p:cNvGrpSpPr>
              <p:nvPr/>
            </p:nvGrpSpPr>
            <p:grpSpPr bwMode="auto">
              <a:xfrm>
                <a:off x="4122" y="2858"/>
                <a:ext cx="813" cy="743"/>
                <a:chOff x="3358" y="2800"/>
                <a:chExt cx="1121" cy="945"/>
              </a:xfrm>
              <a:grpFill/>
            </p:grpSpPr>
            <p:sp>
              <p:nvSpPr>
                <p:cNvPr id="100" name="Freeform 218">
                  <a:extLst>
                    <a:ext uri="{FF2B5EF4-FFF2-40B4-BE49-F238E27FC236}">
                      <a16:creationId xmlns="" xmlns:a16="http://schemas.microsoft.com/office/drawing/2014/main" id="{9632B901-A738-4412-B8A7-71D12305C8A4}"/>
                    </a:ext>
                  </a:extLst>
                </p:cNvPr>
                <p:cNvSpPr>
                  <a:spLocks noChangeAspect="1"/>
                </p:cNvSpPr>
                <p:nvPr/>
              </p:nvSpPr>
              <p:spPr bwMode="auto">
                <a:xfrm>
                  <a:off x="3713" y="2800"/>
                  <a:ext cx="538" cy="436"/>
                </a:xfrm>
                <a:custGeom>
                  <a:avLst/>
                  <a:gdLst>
                    <a:gd name="T0" fmla="*/ 456 w 538"/>
                    <a:gd name="T1" fmla="*/ 218 h 436"/>
                    <a:gd name="T2" fmla="*/ 410 w 538"/>
                    <a:gd name="T3" fmla="*/ 264 h 436"/>
                    <a:gd name="T4" fmla="*/ 360 w 538"/>
                    <a:gd name="T5" fmla="*/ 309 h 436"/>
                    <a:gd name="T6" fmla="*/ 315 w 538"/>
                    <a:gd name="T7" fmla="*/ 286 h 436"/>
                    <a:gd name="T8" fmla="*/ 274 w 538"/>
                    <a:gd name="T9" fmla="*/ 304 h 436"/>
                    <a:gd name="T10" fmla="*/ 242 w 538"/>
                    <a:gd name="T11" fmla="*/ 327 h 436"/>
                    <a:gd name="T12" fmla="*/ 224 w 538"/>
                    <a:gd name="T13" fmla="*/ 304 h 436"/>
                    <a:gd name="T14" fmla="*/ 201 w 538"/>
                    <a:gd name="T15" fmla="*/ 318 h 436"/>
                    <a:gd name="T16" fmla="*/ 173 w 538"/>
                    <a:gd name="T17" fmla="*/ 341 h 436"/>
                    <a:gd name="T18" fmla="*/ 160 w 538"/>
                    <a:gd name="T19" fmla="*/ 373 h 436"/>
                    <a:gd name="T20" fmla="*/ 160 w 538"/>
                    <a:gd name="T21" fmla="*/ 382 h 436"/>
                    <a:gd name="T22" fmla="*/ 164 w 538"/>
                    <a:gd name="T23" fmla="*/ 404 h 436"/>
                    <a:gd name="T24" fmla="*/ 160 w 538"/>
                    <a:gd name="T25" fmla="*/ 427 h 436"/>
                    <a:gd name="T26" fmla="*/ 137 w 538"/>
                    <a:gd name="T27" fmla="*/ 432 h 436"/>
                    <a:gd name="T28" fmla="*/ 96 w 538"/>
                    <a:gd name="T29" fmla="*/ 436 h 436"/>
                    <a:gd name="T30" fmla="*/ 87 w 538"/>
                    <a:gd name="T31" fmla="*/ 436 h 436"/>
                    <a:gd name="T32" fmla="*/ 82 w 538"/>
                    <a:gd name="T33" fmla="*/ 427 h 436"/>
                    <a:gd name="T34" fmla="*/ 82 w 538"/>
                    <a:gd name="T35" fmla="*/ 418 h 436"/>
                    <a:gd name="T36" fmla="*/ 82 w 538"/>
                    <a:gd name="T37" fmla="*/ 409 h 436"/>
                    <a:gd name="T38" fmla="*/ 69 w 538"/>
                    <a:gd name="T39" fmla="*/ 400 h 436"/>
                    <a:gd name="T40" fmla="*/ 60 w 538"/>
                    <a:gd name="T41" fmla="*/ 377 h 436"/>
                    <a:gd name="T42" fmla="*/ 32 w 538"/>
                    <a:gd name="T43" fmla="*/ 359 h 436"/>
                    <a:gd name="T44" fmla="*/ 0 w 538"/>
                    <a:gd name="T45" fmla="*/ 336 h 436"/>
                    <a:gd name="T46" fmla="*/ 14 w 538"/>
                    <a:gd name="T47" fmla="*/ 323 h 436"/>
                    <a:gd name="T48" fmla="*/ 5 w 538"/>
                    <a:gd name="T49" fmla="*/ 304 h 436"/>
                    <a:gd name="T50" fmla="*/ 41 w 538"/>
                    <a:gd name="T51" fmla="*/ 304 h 436"/>
                    <a:gd name="T52" fmla="*/ 55 w 538"/>
                    <a:gd name="T53" fmla="*/ 295 h 436"/>
                    <a:gd name="T54" fmla="*/ 60 w 538"/>
                    <a:gd name="T55" fmla="*/ 273 h 436"/>
                    <a:gd name="T56" fmla="*/ 50 w 538"/>
                    <a:gd name="T57" fmla="*/ 254 h 436"/>
                    <a:gd name="T58" fmla="*/ 87 w 538"/>
                    <a:gd name="T59" fmla="*/ 218 h 436"/>
                    <a:gd name="T60" fmla="*/ 114 w 538"/>
                    <a:gd name="T61" fmla="*/ 186 h 436"/>
                    <a:gd name="T62" fmla="*/ 151 w 538"/>
                    <a:gd name="T63" fmla="*/ 164 h 436"/>
                    <a:gd name="T64" fmla="*/ 183 w 538"/>
                    <a:gd name="T65" fmla="*/ 136 h 436"/>
                    <a:gd name="T66" fmla="*/ 233 w 538"/>
                    <a:gd name="T67" fmla="*/ 118 h 436"/>
                    <a:gd name="T68" fmla="*/ 274 w 538"/>
                    <a:gd name="T69" fmla="*/ 114 h 436"/>
                    <a:gd name="T70" fmla="*/ 278 w 538"/>
                    <a:gd name="T71" fmla="*/ 73 h 436"/>
                    <a:gd name="T72" fmla="*/ 242 w 538"/>
                    <a:gd name="T73" fmla="*/ 14 h 436"/>
                    <a:gd name="T74" fmla="*/ 251 w 538"/>
                    <a:gd name="T75" fmla="*/ 0 h 436"/>
                    <a:gd name="T76" fmla="*/ 278 w 538"/>
                    <a:gd name="T77" fmla="*/ 14 h 436"/>
                    <a:gd name="T78" fmla="*/ 324 w 538"/>
                    <a:gd name="T79" fmla="*/ 14 h 436"/>
                    <a:gd name="T80" fmla="*/ 360 w 538"/>
                    <a:gd name="T81" fmla="*/ 0 h 436"/>
                    <a:gd name="T82" fmla="*/ 378 w 538"/>
                    <a:gd name="T83" fmla="*/ 4 h 436"/>
                    <a:gd name="T84" fmla="*/ 397 w 538"/>
                    <a:gd name="T85" fmla="*/ 23 h 436"/>
                    <a:gd name="T86" fmla="*/ 429 w 538"/>
                    <a:gd name="T87" fmla="*/ 45 h 436"/>
                    <a:gd name="T88" fmla="*/ 470 w 538"/>
                    <a:gd name="T89" fmla="*/ 104 h 436"/>
                    <a:gd name="T90" fmla="*/ 483 w 538"/>
                    <a:gd name="T91" fmla="*/ 100 h 436"/>
                    <a:gd name="T92" fmla="*/ 506 w 538"/>
                    <a:gd name="T93" fmla="*/ 114 h 436"/>
                    <a:gd name="T94" fmla="*/ 538 w 538"/>
                    <a:gd name="T95" fmla="*/ 168 h 436"/>
                    <a:gd name="T96" fmla="*/ 488 w 538"/>
                    <a:gd name="T97" fmla="*/ 191 h 436"/>
                    <a:gd name="T98" fmla="*/ 492 w 538"/>
                    <a:gd name="T99" fmla="*/ 200 h 436"/>
                    <a:gd name="T100" fmla="*/ 492 w 538"/>
                    <a:gd name="T101" fmla="*/ 209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38" h="436">
                      <a:moveTo>
                        <a:pt x="492" y="209"/>
                      </a:moveTo>
                      <a:lnTo>
                        <a:pt x="474" y="214"/>
                      </a:lnTo>
                      <a:lnTo>
                        <a:pt x="456" y="218"/>
                      </a:lnTo>
                      <a:lnTo>
                        <a:pt x="438" y="232"/>
                      </a:lnTo>
                      <a:lnTo>
                        <a:pt x="424" y="245"/>
                      </a:lnTo>
                      <a:lnTo>
                        <a:pt x="410" y="264"/>
                      </a:lnTo>
                      <a:lnTo>
                        <a:pt x="401" y="282"/>
                      </a:lnTo>
                      <a:lnTo>
                        <a:pt x="388" y="300"/>
                      </a:lnTo>
                      <a:lnTo>
                        <a:pt x="360" y="309"/>
                      </a:lnTo>
                      <a:lnTo>
                        <a:pt x="342" y="304"/>
                      </a:lnTo>
                      <a:lnTo>
                        <a:pt x="328" y="295"/>
                      </a:lnTo>
                      <a:lnTo>
                        <a:pt x="315" y="286"/>
                      </a:lnTo>
                      <a:lnTo>
                        <a:pt x="296" y="282"/>
                      </a:lnTo>
                      <a:lnTo>
                        <a:pt x="283" y="291"/>
                      </a:lnTo>
                      <a:lnTo>
                        <a:pt x="274" y="304"/>
                      </a:lnTo>
                      <a:lnTo>
                        <a:pt x="260" y="323"/>
                      </a:lnTo>
                      <a:lnTo>
                        <a:pt x="246" y="332"/>
                      </a:lnTo>
                      <a:lnTo>
                        <a:pt x="242" y="327"/>
                      </a:lnTo>
                      <a:lnTo>
                        <a:pt x="237" y="318"/>
                      </a:lnTo>
                      <a:lnTo>
                        <a:pt x="233" y="309"/>
                      </a:lnTo>
                      <a:lnTo>
                        <a:pt x="224" y="304"/>
                      </a:lnTo>
                      <a:lnTo>
                        <a:pt x="214" y="304"/>
                      </a:lnTo>
                      <a:lnTo>
                        <a:pt x="210" y="314"/>
                      </a:lnTo>
                      <a:lnTo>
                        <a:pt x="201" y="318"/>
                      </a:lnTo>
                      <a:lnTo>
                        <a:pt x="196" y="323"/>
                      </a:lnTo>
                      <a:lnTo>
                        <a:pt x="187" y="332"/>
                      </a:lnTo>
                      <a:lnTo>
                        <a:pt x="173" y="341"/>
                      </a:lnTo>
                      <a:lnTo>
                        <a:pt x="164" y="354"/>
                      </a:lnTo>
                      <a:lnTo>
                        <a:pt x="160" y="368"/>
                      </a:lnTo>
                      <a:lnTo>
                        <a:pt x="160" y="373"/>
                      </a:lnTo>
                      <a:lnTo>
                        <a:pt x="160" y="373"/>
                      </a:lnTo>
                      <a:lnTo>
                        <a:pt x="160" y="377"/>
                      </a:lnTo>
                      <a:lnTo>
                        <a:pt x="160" y="382"/>
                      </a:lnTo>
                      <a:lnTo>
                        <a:pt x="160" y="391"/>
                      </a:lnTo>
                      <a:lnTo>
                        <a:pt x="164" y="400"/>
                      </a:lnTo>
                      <a:lnTo>
                        <a:pt x="164" y="404"/>
                      </a:lnTo>
                      <a:lnTo>
                        <a:pt x="164" y="414"/>
                      </a:lnTo>
                      <a:lnTo>
                        <a:pt x="164" y="418"/>
                      </a:lnTo>
                      <a:lnTo>
                        <a:pt x="160" y="427"/>
                      </a:lnTo>
                      <a:lnTo>
                        <a:pt x="155" y="432"/>
                      </a:lnTo>
                      <a:lnTo>
                        <a:pt x="151" y="432"/>
                      </a:lnTo>
                      <a:lnTo>
                        <a:pt x="137" y="432"/>
                      </a:lnTo>
                      <a:lnTo>
                        <a:pt x="123" y="432"/>
                      </a:lnTo>
                      <a:lnTo>
                        <a:pt x="110" y="436"/>
                      </a:lnTo>
                      <a:lnTo>
                        <a:pt x="96" y="436"/>
                      </a:lnTo>
                      <a:lnTo>
                        <a:pt x="91" y="436"/>
                      </a:lnTo>
                      <a:lnTo>
                        <a:pt x="87" y="436"/>
                      </a:lnTo>
                      <a:lnTo>
                        <a:pt x="87" y="436"/>
                      </a:lnTo>
                      <a:lnTo>
                        <a:pt x="82" y="436"/>
                      </a:lnTo>
                      <a:lnTo>
                        <a:pt x="82" y="432"/>
                      </a:lnTo>
                      <a:lnTo>
                        <a:pt x="82" y="427"/>
                      </a:lnTo>
                      <a:lnTo>
                        <a:pt x="82" y="427"/>
                      </a:lnTo>
                      <a:lnTo>
                        <a:pt x="82" y="423"/>
                      </a:lnTo>
                      <a:lnTo>
                        <a:pt x="82" y="418"/>
                      </a:lnTo>
                      <a:lnTo>
                        <a:pt x="82" y="414"/>
                      </a:lnTo>
                      <a:lnTo>
                        <a:pt x="82" y="414"/>
                      </a:lnTo>
                      <a:lnTo>
                        <a:pt x="82" y="409"/>
                      </a:lnTo>
                      <a:lnTo>
                        <a:pt x="78" y="404"/>
                      </a:lnTo>
                      <a:lnTo>
                        <a:pt x="73" y="400"/>
                      </a:lnTo>
                      <a:lnTo>
                        <a:pt x="69" y="400"/>
                      </a:lnTo>
                      <a:lnTo>
                        <a:pt x="69" y="395"/>
                      </a:lnTo>
                      <a:lnTo>
                        <a:pt x="64" y="386"/>
                      </a:lnTo>
                      <a:lnTo>
                        <a:pt x="60" y="377"/>
                      </a:lnTo>
                      <a:lnTo>
                        <a:pt x="50" y="368"/>
                      </a:lnTo>
                      <a:lnTo>
                        <a:pt x="46" y="364"/>
                      </a:lnTo>
                      <a:lnTo>
                        <a:pt x="32" y="359"/>
                      </a:lnTo>
                      <a:lnTo>
                        <a:pt x="19" y="354"/>
                      </a:lnTo>
                      <a:lnTo>
                        <a:pt x="9" y="345"/>
                      </a:lnTo>
                      <a:lnTo>
                        <a:pt x="0" y="336"/>
                      </a:lnTo>
                      <a:lnTo>
                        <a:pt x="5" y="336"/>
                      </a:lnTo>
                      <a:lnTo>
                        <a:pt x="9" y="327"/>
                      </a:lnTo>
                      <a:lnTo>
                        <a:pt x="14" y="323"/>
                      </a:lnTo>
                      <a:lnTo>
                        <a:pt x="14" y="318"/>
                      </a:lnTo>
                      <a:lnTo>
                        <a:pt x="14" y="318"/>
                      </a:lnTo>
                      <a:lnTo>
                        <a:pt x="5" y="304"/>
                      </a:lnTo>
                      <a:lnTo>
                        <a:pt x="5" y="300"/>
                      </a:lnTo>
                      <a:lnTo>
                        <a:pt x="14" y="300"/>
                      </a:lnTo>
                      <a:lnTo>
                        <a:pt x="41" y="304"/>
                      </a:lnTo>
                      <a:lnTo>
                        <a:pt x="41" y="304"/>
                      </a:lnTo>
                      <a:lnTo>
                        <a:pt x="50" y="300"/>
                      </a:lnTo>
                      <a:lnTo>
                        <a:pt x="55" y="295"/>
                      </a:lnTo>
                      <a:lnTo>
                        <a:pt x="60" y="291"/>
                      </a:lnTo>
                      <a:lnTo>
                        <a:pt x="60" y="282"/>
                      </a:lnTo>
                      <a:lnTo>
                        <a:pt x="60" y="273"/>
                      </a:lnTo>
                      <a:lnTo>
                        <a:pt x="55" y="268"/>
                      </a:lnTo>
                      <a:lnTo>
                        <a:pt x="50" y="259"/>
                      </a:lnTo>
                      <a:lnTo>
                        <a:pt x="50" y="254"/>
                      </a:lnTo>
                      <a:lnTo>
                        <a:pt x="55" y="236"/>
                      </a:lnTo>
                      <a:lnTo>
                        <a:pt x="73" y="227"/>
                      </a:lnTo>
                      <a:lnTo>
                        <a:pt x="87" y="218"/>
                      </a:lnTo>
                      <a:lnTo>
                        <a:pt x="91" y="204"/>
                      </a:lnTo>
                      <a:lnTo>
                        <a:pt x="105" y="200"/>
                      </a:lnTo>
                      <a:lnTo>
                        <a:pt x="114" y="186"/>
                      </a:lnTo>
                      <a:lnTo>
                        <a:pt x="119" y="173"/>
                      </a:lnTo>
                      <a:lnTo>
                        <a:pt x="132" y="168"/>
                      </a:lnTo>
                      <a:lnTo>
                        <a:pt x="151" y="164"/>
                      </a:lnTo>
                      <a:lnTo>
                        <a:pt x="160" y="159"/>
                      </a:lnTo>
                      <a:lnTo>
                        <a:pt x="169" y="145"/>
                      </a:lnTo>
                      <a:lnTo>
                        <a:pt x="183" y="136"/>
                      </a:lnTo>
                      <a:lnTo>
                        <a:pt x="196" y="127"/>
                      </a:lnTo>
                      <a:lnTo>
                        <a:pt x="214" y="123"/>
                      </a:lnTo>
                      <a:lnTo>
                        <a:pt x="233" y="118"/>
                      </a:lnTo>
                      <a:lnTo>
                        <a:pt x="251" y="114"/>
                      </a:lnTo>
                      <a:lnTo>
                        <a:pt x="260" y="114"/>
                      </a:lnTo>
                      <a:lnTo>
                        <a:pt x="274" y="114"/>
                      </a:lnTo>
                      <a:lnTo>
                        <a:pt x="278" y="109"/>
                      </a:lnTo>
                      <a:lnTo>
                        <a:pt x="283" y="100"/>
                      </a:lnTo>
                      <a:lnTo>
                        <a:pt x="278" y="73"/>
                      </a:lnTo>
                      <a:lnTo>
                        <a:pt x="265" y="54"/>
                      </a:lnTo>
                      <a:lnTo>
                        <a:pt x="246" y="36"/>
                      </a:lnTo>
                      <a:lnTo>
                        <a:pt x="242" y="14"/>
                      </a:lnTo>
                      <a:lnTo>
                        <a:pt x="242" y="9"/>
                      </a:lnTo>
                      <a:lnTo>
                        <a:pt x="246" y="4"/>
                      </a:lnTo>
                      <a:lnTo>
                        <a:pt x="251" y="0"/>
                      </a:lnTo>
                      <a:lnTo>
                        <a:pt x="255" y="0"/>
                      </a:lnTo>
                      <a:lnTo>
                        <a:pt x="265" y="4"/>
                      </a:lnTo>
                      <a:lnTo>
                        <a:pt x="278" y="14"/>
                      </a:lnTo>
                      <a:lnTo>
                        <a:pt x="292" y="18"/>
                      </a:lnTo>
                      <a:lnTo>
                        <a:pt x="306" y="18"/>
                      </a:lnTo>
                      <a:lnTo>
                        <a:pt x="324" y="14"/>
                      </a:lnTo>
                      <a:lnTo>
                        <a:pt x="333" y="9"/>
                      </a:lnTo>
                      <a:lnTo>
                        <a:pt x="347" y="4"/>
                      </a:lnTo>
                      <a:lnTo>
                        <a:pt x="360" y="0"/>
                      </a:lnTo>
                      <a:lnTo>
                        <a:pt x="365" y="0"/>
                      </a:lnTo>
                      <a:lnTo>
                        <a:pt x="374" y="0"/>
                      </a:lnTo>
                      <a:lnTo>
                        <a:pt x="378" y="4"/>
                      </a:lnTo>
                      <a:lnTo>
                        <a:pt x="383" y="4"/>
                      </a:lnTo>
                      <a:lnTo>
                        <a:pt x="388" y="18"/>
                      </a:lnTo>
                      <a:lnTo>
                        <a:pt x="397" y="23"/>
                      </a:lnTo>
                      <a:lnTo>
                        <a:pt x="406" y="23"/>
                      </a:lnTo>
                      <a:lnTo>
                        <a:pt x="415" y="27"/>
                      </a:lnTo>
                      <a:lnTo>
                        <a:pt x="429" y="45"/>
                      </a:lnTo>
                      <a:lnTo>
                        <a:pt x="433" y="73"/>
                      </a:lnTo>
                      <a:lnTo>
                        <a:pt x="447" y="95"/>
                      </a:lnTo>
                      <a:lnTo>
                        <a:pt x="470" y="104"/>
                      </a:lnTo>
                      <a:lnTo>
                        <a:pt x="479" y="104"/>
                      </a:lnTo>
                      <a:lnTo>
                        <a:pt x="483" y="100"/>
                      </a:lnTo>
                      <a:lnTo>
                        <a:pt x="483" y="100"/>
                      </a:lnTo>
                      <a:lnTo>
                        <a:pt x="492" y="95"/>
                      </a:lnTo>
                      <a:lnTo>
                        <a:pt x="501" y="104"/>
                      </a:lnTo>
                      <a:lnTo>
                        <a:pt x="506" y="114"/>
                      </a:lnTo>
                      <a:lnTo>
                        <a:pt x="515" y="132"/>
                      </a:lnTo>
                      <a:lnTo>
                        <a:pt x="533" y="154"/>
                      </a:lnTo>
                      <a:lnTo>
                        <a:pt x="538" y="168"/>
                      </a:lnTo>
                      <a:lnTo>
                        <a:pt x="520" y="177"/>
                      </a:lnTo>
                      <a:lnTo>
                        <a:pt x="497" y="182"/>
                      </a:lnTo>
                      <a:lnTo>
                        <a:pt x="488" y="191"/>
                      </a:lnTo>
                      <a:lnTo>
                        <a:pt x="488" y="195"/>
                      </a:lnTo>
                      <a:lnTo>
                        <a:pt x="492" y="195"/>
                      </a:lnTo>
                      <a:lnTo>
                        <a:pt x="492" y="200"/>
                      </a:lnTo>
                      <a:lnTo>
                        <a:pt x="492" y="204"/>
                      </a:lnTo>
                      <a:lnTo>
                        <a:pt x="492" y="204"/>
                      </a:lnTo>
                      <a:lnTo>
                        <a:pt x="492" y="209"/>
                      </a:lnTo>
                      <a:lnTo>
                        <a:pt x="492" y="209"/>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101" name="Freeform 219">
                  <a:extLst>
                    <a:ext uri="{FF2B5EF4-FFF2-40B4-BE49-F238E27FC236}">
                      <a16:creationId xmlns="" xmlns:a16="http://schemas.microsoft.com/office/drawing/2014/main" id="{D136F265-9104-4D78-819A-12087D1B85CF}"/>
                    </a:ext>
                  </a:extLst>
                </p:cNvPr>
                <p:cNvSpPr>
                  <a:spLocks noChangeAspect="1"/>
                </p:cNvSpPr>
                <p:nvPr/>
              </p:nvSpPr>
              <p:spPr bwMode="auto">
                <a:xfrm>
                  <a:off x="3358" y="3354"/>
                  <a:ext cx="492" cy="346"/>
                </a:xfrm>
                <a:custGeom>
                  <a:avLst/>
                  <a:gdLst>
                    <a:gd name="T0" fmla="*/ 460 w 492"/>
                    <a:gd name="T1" fmla="*/ 319 h 346"/>
                    <a:gd name="T2" fmla="*/ 469 w 492"/>
                    <a:gd name="T3" fmla="*/ 291 h 346"/>
                    <a:gd name="T4" fmla="*/ 456 w 492"/>
                    <a:gd name="T5" fmla="*/ 269 h 346"/>
                    <a:gd name="T6" fmla="*/ 469 w 492"/>
                    <a:gd name="T7" fmla="*/ 241 h 346"/>
                    <a:gd name="T8" fmla="*/ 465 w 492"/>
                    <a:gd name="T9" fmla="*/ 214 h 346"/>
                    <a:gd name="T10" fmla="*/ 456 w 492"/>
                    <a:gd name="T11" fmla="*/ 191 h 346"/>
                    <a:gd name="T12" fmla="*/ 465 w 492"/>
                    <a:gd name="T13" fmla="*/ 173 h 346"/>
                    <a:gd name="T14" fmla="*/ 451 w 492"/>
                    <a:gd name="T15" fmla="*/ 160 h 346"/>
                    <a:gd name="T16" fmla="*/ 465 w 492"/>
                    <a:gd name="T17" fmla="*/ 132 h 346"/>
                    <a:gd name="T18" fmla="*/ 483 w 492"/>
                    <a:gd name="T19" fmla="*/ 110 h 346"/>
                    <a:gd name="T20" fmla="*/ 492 w 492"/>
                    <a:gd name="T21" fmla="*/ 96 h 346"/>
                    <a:gd name="T22" fmla="*/ 474 w 492"/>
                    <a:gd name="T23" fmla="*/ 82 h 346"/>
                    <a:gd name="T24" fmla="*/ 442 w 492"/>
                    <a:gd name="T25" fmla="*/ 64 h 346"/>
                    <a:gd name="T26" fmla="*/ 415 w 492"/>
                    <a:gd name="T27" fmla="*/ 50 h 346"/>
                    <a:gd name="T28" fmla="*/ 314 w 492"/>
                    <a:gd name="T29" fmla="*/ 41 h 346"/>
                    <a:gd name="T30" fmla="*/ 260 w 492"/>
                    <a:gd name="T31" fmla="*/ 41 h 346"/>
                    <a:gd name="T32" fmla="*/ 178 w 492"/>
                    <a:gd name="T33" fmla="*/ 28 h 346"/>
                    <a:gd name="T34" fmla="*/ 128 w 492"/>
                    <a:gd name="T35" fmla="*/ 10 h 346"/>
                    <a:gd name="T36" fmla="*/ 100 w 492"/>
                    <a:gd name="T37" fmla="*/ 55 h 346"/>
                    <a:gd name="T38" fmla="*/ 91 w 492"/>
                    <a:gd name="T39" fmla="*/ 110 h 346"/>
                    <a:gd name="T40" fmla="*/ 77 w 492"/>
                    <a:gd name="T41" fmla="*/ 119 h 346"/>
                    <a:gd name="T42" fmla="*/ 64 w 492"/>
                    <a:gd name="T43" fmla="*/ 123 h 346"/>
                    <a:gd name="T44" fmla="*/ 32 w 492"/>
                    <a:gd name="T45" fmla="*/ 173 h 346"/>
                    <a:gd name="T46" fmla="*/ 14 w 492"/>
                    <a:gd name="T47" fmla="*/ 182 h 346"/>
                    <a:gd name="T48" fmla="*/ 0 w 492"/>
                    <a:gd name="T49" fmla="*/ 205 h 346"/>
                    <a:gd name="T50" fmla="*/ 0 w 492"/>
                    <a:gd name="T51" fmla="*/ 223 h 346"/>
                    <a:gd name="T52" fmla="*/ 18 w 492"/>
                    <a:gd name="T53" fmla="*/ 228 h 346"/>
                    <a:gd name="T54" fmla="*/ 64 w 492"/>
                    <a:gd name="T55" fmla="*/ 219 h 346"/>
                    <a:gd name="T56" fmla="*/ 64 w 492"/>
                    <a:gd name="T57" fmla="*/ 205 h 346"/>
                    <a:gd name="T58" fmla="*/ 55 w 492"/>
                    <a:gd name="T59" fmla="*/ 200 h 346"/>
                    <a:gd name="T60" fmla="*/ 59 w 492"/>
                    <a:gd name="T61" fmla="*/ 182 h 346"/>
                    <a:gd name="T62" fmla="*/ 77 w 492"/>
                    <a:gd name="T63" fmla="*/ 169 h 346"/>
                    <a:gd name="T64" fmla="*/ 105 w 492"/>
                    <a:gd name="T65" fmla="*/ 187 h 346"/>
                    <a:gd name="T66" fmla="*/ 91 w 492"/>
                    <a:gd name="T67" fmla="*/ 200 h 346"/>
                    <a:gd name="T68" fmla="*/ 96 w 492"/>
                    <a:gd name="T69" fmla="*/ 210 h 346"/>
                    <a:gd name="T70" fmla="*/ 91 w 492"/>
                    <a:gd name="T71" fmla="*/ 223 h 346"/>
                    <a:gd name="T72" fmla="*/ 82 w 492"/>
                    <a:gd name="T73" fmla="*/ 232 h 346"/>
                    <a:gd name="T74" fmla="*/ 100 w 492"/>
                    <a:gd name="T75" fmla="*/ 264 h 346"/>
                    <a:gd name="T76" fmla="*/ 141 w 492"/>
                    <a:gd name="T77" fmla="*/ 273 h 346"/>
                    <a:gd name="T78" fmla="*/ 169 w 492"/>
                    <a:gd name="T79" fmla="*/ 273 h 346"/>
                    <a:gd name="T80" fmla="*/ 191 w 492"/>
                    <a:gd name="T81" fmla="*/ 264 h 346"/>
                    <a:gd name="T82" fmla="*/ 182 w 492"/>
                    <a:gd name="T83" fmla="*/ 250 h 346"/>
                    <a:gd name="T84" fmla="*/ 187 w 492"/>
                    <a:gd name="T85" fmla="*/ 237 h 346"/>
                    <a:gd name="T86" fmla="*/ 214 w 492"/>
                    <a:gd name="T87" fmla="*/ 241 h 346"/>
                    <a:gd name="T88" fmla="*/ 292 w 492"/>
                    <a:gd name="T89" fmla="*/ 273 h 346"/>
                    <a:gd name="T90" fmla="*/ 301 w 492"/>
                    <a:gd name="T91" fmla="*/ 273 h 346"/>
                    <a:gd name="T92" fmla="*/ 323 w 492"/>
                    <a:gd name="T93" fmla="*/ 260 h 346"/>
                    <a:gd name="T94" fmla="*/ 351 w 492"/>
                    <a:gd name="T95" fmla="*/ 287 h 346"/>
                    <a:gd name="T96" fmla="*/ 355 w 492"/>
                    <a:gd name="T97" fmla="*/ 323 h 346"/>
                    <a:gd name="T98" fmla="*/ 410 w 492"/>
                    <a:gd name="T99" fmla="*/ 328 h 346"/>
                    <a:gd name="T100" fmla="*/ 428 w 492"/>
                    <a:gd name="T101" fmla="*/ 346 h 346"/>
                    <a:gd name="T102" fmla="*/ 437 w 492"/>
                    <a:gd name="T103" fmla="*/ 332 h 346"/>
                    <a:gd name="T104" fmla="*/ 442 w 492"/>
                    <a:gd name="T105" fmla="*/ 32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2" h="346">
                      <a:moveTo>
                        <a:pt x="442" y="328"/>
                      </a:moveTo>
                      <a:lnTo>
                        <a:pt x="451" y="323"/>
                      </a:lnTo>
                      <a:lnTo>
                        <a:pt x="460" y="319"/>
                      </a:lnTo>
                      <a:lnTo>
                        <a:pt x="469" y="310"/>
                      </a:lnTo>
                      <a:lnTo>
                        <a:pt x="474" y="300"/>
                      </a:lnTo>
                      <a:lnTo>
                        <a:pt x="469" y="291"/>
                      </a:lnTo>
                      <a:lnTo>
                        <a:pt x="465" y="282"/>
                      </a:lnTo>
                      <a:lnTo>
                        <a:pt x="460" y="278"/>
                      </a:lnTo>
                      <a:lnTo>
                        <a:pt x="456" y="269"/>
                      </a:lnTo>
                      <a:lnTo>
                        <a:pt x="460" y="255"/>
                      </a:lnTo>
                      <a:lnTo>
                        <a:pt x="465" y="246"/>
                      </a:lnTo>
                      <a:lnTo>
                        <a:pt x="469" y="241"/>
                      </a:lnTo>
                      <a:lnTo>
                        <a:pt x="474" y="228"/>
                      </a:lnTo>
                      <a:lnTo>
                        <a:pt x="469" y="219"/>
                      </a:lnTo>
                      <a:lnTo>
                        <a:pt x="465" y="214"/>
                      </a:lnTo>
                      <a:lnTo>
                        <a:pt x="460" y="210"/>
                      </a:lnTo>
                      <a:lnTo>
                        <a:pt x="456" y="196"/>
                      </a:lnTo>
                      <a:lnTo>
                        <a:pt x="456" y="191"/>
                      </a:lnTo>
                      <a:lnTo>
                        <a:pt x="460" y="187"/>
                      </a:lnTo>
                      <a:lnTo>
                        <a:pt x="465" y="182"/>
                      </a:lnTo>
                      <a:lnTo>
                        <a:pt x="465" y="173"/>
                      </a:lnTo>
                      <a:lnTo>
                        <a:pt x="465" y="169"/>
                      </a:lnTo>
                      <a:lnTo>
                        <a:pt x="460" y="164"/>
                      </a:lnTo>
                      <a:lnTo>
                        <a:pt x="451" y="160"/>
                      </a:lnTo>
                      <a:lnTo>
                        <a:pt x="451" y="150"/>
                      </a:lnTo>
                      <a:lnTo>
                        <a:pt x="456" y="137"/>
                      </a:lnTo>
                      <a:lnTo>
                        <a:pt x="465" y="132"/>
                      </a:lnTo>
                      <a:lnTo>
                        <a:pt x="474" y="123"/>
                      </a:lnTo>
                      <a:lnTo>
                        <a:pt x="478" y="114"/>
                      </a:lnTo>
                      <a:lnTo>
                        <a:pt x="483" y="110"/>
                      </a:lnTo>
                      <a:lnTo>
                        <a:pt x="483" y="105"/>
                      </a:lnTo>
                      <a:lnTo>
                        <a:pt x="487" y="100"/>
                      </a:lnTo>
                      <a:lnTo>
                        <a:pt x="492" y="96"/>
                      </a:lnTo>
                      <a:lnTo>
                        <a:pt x="483" y="96"/>
                      </a:lnTo>
                      <a:lnTo>
                        <a:pt x="478" y="87"/>
                      </a:lnTo>
                      <a:lnTo>
                        <a:pt x="474" y="82"/>
                      </a:lnTo>
                      <a:lnTo>
                        <a:pt x="469" y="78"/>
                      </a:lnTo>
                      <a:lnTo>
                        <a:pt x="460" y="73"/>
                      </a:lnTo>
                      <a:lnTo>
                        <a:pt x="442" y="64"/>
                      </a:lnTo>
                      <a:lnTo>
                        <a:pt x="424" y="55"/>
                      </a:lnTo>
                      <a:lnTo>
                        <a:pt x="415" y="50"/>
                      </a:lnTo>
                      <a:lnTo>
                        <a:pt x="415" y="50"/>
                      </a:lnTo>
                      <a:lnTo>
                        <a:pt x="387" y="55"/>
                      </a:lnTo>
                      <a:lnTo>
                        <a:pt x="314" y="41"/>
                      </a:lnTo>
                      <a:lnTo>
                        <a:pt x="314" y="41"/>
                      </a:lnTo>
                      <a:lnTo>
                        <a:pt x="296" y="41"/>
                      </a:lnTo>
                      <a:lnTo>
                        <a:pt x="282" y="41"/>
                      </a:lnTo>
                      <a:lnTo>
                        <a:pt x="260" y="41"/>
                      </a:lnTo>
                      <a:lnTo>
                        <a:pt x="232" y="41"/>
                      </a:lnTo>
                      <a:lnTo>
                        <a:pt x="210" y="37"/>
                      </a:lnTo>
                      <a:lnTo>
                        <a:pt x="178" y="28"/>
                      </a:lnTo>
                      <a:lnTo>
                        <a:pt x="155" y="19"/>
                      </a:lnTo>
                      <a:lnTo>
                        <a:pt x="146" y="0"/>
                      </a:lnTo>
                      <a:lnTo>
                        <a:pt x="128" y="10"/>
                      </a:lnTo>
                      <a:lnTo>
                        <a:pt x="114" y="19"/>
                      </a:lnTo>
                      <a:lnTo>
                        <a:pt x="105" y="37"/>
                      </a:lnTo>
                      <a:lnTo>
                        <a:pt x="100" y="55"/>
                      </a:lnTo>
                      <a:lnTo>
                        <a:pt x="100" y="73"/>
                      </a:lnTo>
                      <a:lnTo>
                        <a:pt x="100" y="91"/>
                      </a:lnTo>
                      <a:lnTo>
                        <a:pt x="91" y="110"/>
                      </a:lnTo>
                      <a:lnTo>
                        <a:pt x="82" y="119"/>
                      </a:lnTo>
                      <a:lnTo>
                        <a:pt x="77" y="119"/>
                      </a:lnTo>
                      <a:lnTo>
                        <a:pt x="77" y="119"/>
                      </a:lnTo>
                      <a:lnTo>
                        <a:pt x="73" y="119"/>
                      </a:lnTo>
                      <a:lnTo>
                        <a:pt x="73" y="119"/>
                      </a:lnTo>
                      <a:lnTo>
                        <a:pt x="64" y="123"/>
                      </a:lnTo>
                      <a:lnTo>
                        <a:pt x="55" y="141"/>
                      </a:lnTo>
                      <a:lnTo>
                        <a:pt x="41" y="160"/>
                      </a:lnTo>
                      <a:lnTo>
                        <a:pt x="32" y="173"/>
                      </a:lnTo>
                      <a:lnTo>
                        <a:pt x="27" y="178"/>
                      </a:lnTo>
                      <a:lnTo>
                        <a:pt x="18" y="178"/>
                      </a:lnTo>
                      <a:lnTo>
                        <a:pt x="14" y="182"/>
                      </a:lnTo>
                      <a:lnTo>
                        <a:pt x="5" y="187"/>
                      </a:lnTo>
                      <a:lnTo>
                        <a:pt x="0" y="196"/>
                      </a:lnTo>
                      <a:lnTo>
                        <a:pt x="0" y="205"/>
                      </a:lnTo>
                      <a:lnTo>
                        <a:pt x="0" y="214"/>
                      </a:lnTo>
                      <a:lnTo>
                        <a:pt x="0" y="223"/>
                      </a:lnTo>
                      <a:lnTo>
                        <a:pt x="0" y="223"/>
                      </a:lnTo>
                      <a:lnTo>
                        <a:pt x="5" y="228"/>
                      </a:lnTo>
                      <a:lnTo>
                        <a:pt x="5" y="228"/>
                      </a:lnTo>
                      <a:lnTo>
                        <a:pt x="18" y="228"/>
                      </a:lnTo>
                      <a:lnTo>
                        <a:pt x="36" y="223"/>
                      </a:lnTo>
                      <a:lnTo>
                        <a:pt x="55" y="223"/>
                      </a:lnTo>
                      <a:lnTo>
                        <a:pt x="64" y="219"/>
                      </a:lnTo>
                      <a:lnTo>
                        <a:pt x="64" y="219"/>
                      </a:lnTo>
                      <a:lnTo>
                        <a:pt x="64" y="205"/>
                      </a:lnTo>
                      <a:lnTo>
                        <a:pt x="64" y="205"/>
                      </a:lnTo>
                      <a:lnTo>
                        <a:pt x="59" y="200"/>
                      </a:lnTo>
                      <a:lnTo>
                        <a:pt x="55" y="200"/>
                      </a:lnTo>
                      <a:lnTo>
                        <a:pt x="55" y="200"/>
                      </a:lnTo>
                      <a:lnTo>
                        <a:pt x="50" y="200"/>
                      </a:lnTo>
                      <a:lnTo>
                        <a:pt x="55" y="191"/>
                      </a:lnTo>
                      <a:lnTo>
                        <a:pt x="59" y="182"/>
                      </a:lnTo>
                      <a:lnTo>
                        <a:pt x="64" y="173"/>
                      </a:lnTo>
                      <a:lnTo>
                        <a:pt x="68" y="169"/>
                      </a:lnTo>
                      <a:lnTo>
                        <a:pt x="77" y="169"/>
                      </a:lnTo>
                      <a:lnTo>
                        <a:pt x="91" y="173"/>
                      </a:lnTo>
                      <a:lnTo>
                        <a:pt x="100" y="178"/>
                      </a:lnTo>
                      <a:lnTo>
                        <a:pt x="105" y="187"/>
                      </a:lnTo>
                      <a:lnTo>
                        <a:pt x="105" y="191"/>
                      </a:lnTo>
                      <a:lnTo>
                        <a:pt x="100" y="196"/>
                      </a:lnTo>
                      <a:lnTo>
                        <a:pt x="91" y="200"/>
                      </a:lnTo>
                      <a:lnTo>
                        <a:pt x="91" y="205"/>
                      </a:lnTo>
                      <a:lnTo>
                        <a:pt x="91" y="205"/>
                      </a:lnTo>
                      <a:lnTo>
                        <a:pt x="96" y="210"/>
                      </a:lnTo>
                      <a:lnTo>
                        <a:pt x="96" y="219"/>
                      </a:lnTo>
                      <a:lnTo>
                        <a:pt x="96" y="219"/>
                      </a:lnTo>
                      <a:lnTo>
                        <a:pt x="91" y="223"/>
                      </a:lnTo>
                      <a:lnTo>
                        <a:pt x="87" y="223"/>
                      </a:lnTo>
                      <a:lnTo>
                        <a:pt x="82" y="228"/>
                      </a:lnTo>
                      <a:lnTo>
                        <a:pt x="82" y="232"/>
                      </a:lnTo>
                      <a:lnTo>
                        <a:pt x="87" y="241"/>
                      </a:lnTo>
                      <a:lnTo>
                        <a:pt x="91" y="255"/>
                      </a:lnTo>
                      <a:lnTo>
                        <a:pt x="100" y="264"/>
                      </a:lnTo>
                      <a:lnTo>
                        <a:pt x="105" y="273"/>
                      </a:lnTo>
                      <a:lnTo>
                        <a:pt x="128" y="273"/>
                      </a:lnTo>
                      <a:lnTo>
                        <a:pt x="141" y="273"/>
                      </a:lnTo>
                      <a:lnTo>
                        <a:pt x="150" y="273"/>
                      </a:lnTo>
                      <a:lnTo>
                        <a:pt x="164" y="273"/>
                      </a:lnTo>
                      <a:lnTo>
                        <a:pt x="169" y="273"/>
                      </a:lnTo>
                      <a:lnTo>
                        <a:pt x="178" y="273"/>
                      </a:lnTo>
                      <a:lnTo>
                        <a:pt x="187" y="273"/>
                      </a:lnTo>
                      <a:lnTo>
                        <a:pt x="191" y="264"/>
                      </a:lnTo>
                      <a:lnTo>
                        <a:pt x="191" y="260"/>
                      </a:lnTo>
                      <a:lnTo>
                        <a:pt x="187" y="255"/>
                      </a:lnTo>
                      <a:lnTo>
                        <a:pt x="182" y="250"/>
                      </a:lnTo>
                      <a:lnTo>
                        <a:pt x="182" y="246"/>
                      </a:lnTo>
                      <a:lnTo>
                        <a:pt x="182" y="241"/>
                      </a:lnTo>
                      <a:lnTo>
                        <a:pt x="187" y="237"/>
                      </a:lnTo>
                      <a:lnTo>
                        <a:pt x="187" y="232"/>
                      </a:lnTo>
                      <a:lnTo>
                        <a:pt x="191" y="232"/>
                      </a:lnTo>
                      <a:lnTo>
                        <a:pt x="214" y="241"/>
                      </a:lnTo>
                      <a:lnTo>
                        <a:pt x="237" y="260"/>
                      </a:lnTo>
                      <a:lnTo>
                        <a:pt x="260" y="273"/>
                      </a:lnTo>
                      <a:lnTo>
                        <a:pt x="292" y="273"/>
                      </a:lnTo>
                      <a:lnTo>
                        <a:pt x="292" y="273"/>
                      </a:lnTo>
                      <a:lnTo>
                        <a:pt x="301" y="273"/>
                      </a:lnTo>
                      <a:lnTo>
                        <a:pt x="301" y="273"/>
                      </a:lnTo>
                      <a:lnTo>
                        <a:pt x="310" y="269"/>
                      </a:lnTo>
                      <a:lnTo>
                        <a:pt x="314" y="264"/>
                      </a:lnTo>
                      <a:lnTo>
                        <a:pt x="323" y="260"/>
                      </a:lnTo>
                      <a:lnTo>
                        <a:pt x="333" y="260"/>
                      </a:lnTo>
                      <a:lnTo>
                        <a:pt x="346" y="269"/>
                      </a:lnTo>
                      <a:lnTo>
                        <a:pt x="351" y="287"/>
                      </a:lnTo>
                      <a:lnTo>
                        <a:pt x="351" y="310"/>
                      </a:lnTo>
                      <a:lnTo>
                        <a:pt x="355" y="323"/>
                      </a:lnTo>
                      <a:lnTo>
                        <a:pt x="355" y="323"/>
                      </a:lnTo>
                      <a:lnTo>
                        <a:pt x="410" y="323"/>
                      </a:lnTo>
                      <a:lnTo>
                        <a:pt x="410" y="323"/>
                      </a:lnTo>
                      <a:lnTo>
                        <a:pt x="410" y="328"/>
                      </a:lnTo>
                      <a:lnTo>
                        <a:pt x="419" y="337"/>
                      </a:lnTo>
                      <a:lnTo>
                        <a:pt x="424" y="341"/>
                      </a:lnTo>
                      <a:lnTo>
                        <a:pt x="428" y="346"/>
                      </a:lnTo>
                      <a:lnTo>
                        <a:pt x="433" y="346"/>
                      </a:lnTo>
                      <a:lnTo>
                        <a:pt x="433" y="337"/>
                      </a:lnTo>
                      <a:lnTo>
                        <a:pt x="437" y="332"/>
                      </a:lnTo>
                      <a:lnTo>
                        <a:pt x="437" y="328"/>
                      </a:lnTo>
                      <a:lnTo>
                        <a:pt x="437" y="328"/>
                      </a:lnTo>
                      <a:lnTo>
                        <a:pt x="442" y="328"/>
                      </a:lnTo>
                      <a:lnTo>
                        <a:pt x="442" y="328"/>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102" name="Freeform 220">
                  <a:extLst>
                    <a:ext uri="{FF2B5EF4-FFF2-40B4-BE49-F238E27FC236}">
                      <a16:creationId xmlns="" xmlns:a16="http://schemas.microsoft.com/office/drawing/2014/main" id="{CADBD338-63C3-4569-B2E8-5580E72FD17C}"/>
                    </a:ext>
                  </a:extLst>
                </p:cNvPr>
                <p:cNvSpPr>
                  <a:spLocks noChangeAspect="1"/>
                </p:cNvSpPr>
                <p:nvPr/>
              </p:nvSpPr>
              <p:spPr bwMode="auto">
                <a:xfrm>
                  <a:off x="3795" y="3400"/>
                  <a:ext cx="424" cy="345"/>
                </a:xfrm>
                <a:custGeom>
                  <a:avLst/>
                  <a:gdLst>
                    <a:gd name="T0" fmla="*/ 0 w 424"/>
                    <a:gd name="T1" fmla="*/ 282 h 345"/>
                    <a:gd name="T2" fmla="*/ 28 w 424"/>
                    <a:gd name="T3" fmla="*/ 300 h 345"/>
                    <a:gd name="T4" fmla="*/ 64 w 424"/>
                    <a:gd name="T5" fmla="*/ 327 h 345"/>
                    <a:gd name="T6" fmla="*/ 91 w 424"/>
                    <a:gd name="T7" fmla="*/ 336 h 345"/>
                    <a:gd name="T8" fmla="*/ 114 w 424"/>
                    <a:gd name="T9" fmla="*/ 314 h 345"/>
                    <a:gd name="T10" fmla="*/ 151 w 424"/>
                    <a:gd name="T11" fmla="*/ 314 h 345"/>
                    <a:gd name="T12" fmla="*/ 169 w 424"/>
                    <a:gd name="T13" fmla="*/ 332 h 345"/>
                    <a:gd name="T14" fmla="*/ 187 w 424"/>
                    <a:gd name="T15" fmla="*/ 341 h 345"/>
                    <a:gd name="T16" fmla="*/ 196 w 424"/>
                    <a:gd name="T17" fmla="*/ 318 h 345"/>
                    <a:gd name="T18" fmla="*/ 214 w 424"/>
                    <a:gd name="T19" fmla="*/ 300 h 345"/>
                    <a:gd name="T20" fmla="*/ 246 w 424"/>
                    <a:gd name="T21" fmla="*/ 304 h 345"/>
                    <a:gd name="T22" fmla="*/ 269 w 424"/>
                    <a:gd name="T23" fmla="*/ 291 h 345"/>
                    <a:gd name="T24" fmla="*/ 310 w 424"/>
                    <a:gd name="T25" fmla="*/ 277 h 345"/>
                    <a:gd name="T26" fmla="*/ 324 w 424"/>
                    <a:gd name="T27" fmla="*/ 268 h 345"/>
                    <a:gd name="T28" fmla="*/ 337 w 424"/>
                    <a:gd name="T29" fmla="*/ 268 h 345"/>
                    <a:gd name="T30" fmla="*/ 356 w 424"/>
                    <a:gd name="T31" fmla="*/ 268 h 345"/>
                    <a:gd name="T32" fmla="*/ 360 w 424"/>
                    <a:gd name="T33" fmla="*/ 241 h 345"/>
                    <a:gd name="T34" fmla="*/ 369 w 424"/>
                    <a:gd name="T35" fmla="*/ 227 h 345"/>
                    <a:gd name="T36" fmla="*/ 351 w 424"/>
                    <a:gd name="T37" fmla="*/ 218 h 345"/>
                    <a:gd name="T38" fmla="*/ 333 w 424"/>
                    <a:gd name="T39" fmla="*/ 218 h 345"/>
                    <a:gd name="T40" fmla="*/ 347 w 424"/>
                    <a:gd name="T41" fmla="*/ 204 h 345"/>
                    <a:gd name="T42" fmla="*/ 374 w 424"/>
                    <a:gd name="T43" fmla="*/ 168 h 345"/>
                    <a:gd name="T44" fmla="*/ 392 w 424"/>
                    <a:gd name="T45" fmla="*/ 150 h 345"/>
                    <a:gd name="T46" fmla="*/ 406 w 424"/>
                    <a:gd name="T47" fmla="*/ 150 h 345"/>
                    <a:gd name="T48" fmla="*/ 424 w 424"/>
                    <a:gd name="T49" fmla="*/ 141 h 345"/>
                    <a:gd name="T50" fmla="*/ 410 w 424"/>
                    <a:gd name="T51" fmla="*/ 123 h 345"/>
                    <a:gd name="T52" fmla="*/ 415 w 424"/>
                    <a:gd name="T53" fmla="*/ 104 h 345"/>
                    <a:gd name="T54" fmla="*/ 415 w 424"/>
                    <a:gd name="T55" fmla="*/ 86 h 345"/>
                    <a:gd name="T56" fmla="*/ 383 w 424"/>
                    <a:gd name="T57" fmla="*/ 73 h 345"/>
                    <a:gd name="T58" fmla="*/ 374 w 424"/>
                    <a:gd name="T59" fmla="*/ 59 h 345"/>
                    <a:gd name="T60" fmla="*/ 351 w 424"/>
                    <a:gd name="T61" fmla="*/ 18 h 345"/>
                    <a:gd name="T62" fmla="*/ 324 w 424"/>
                    <a:gd name="T63" fmla="*/ 4 h 345"/>
                    <a:gd name="T64" fmla="*/ 287 w 424"/>
                    <a:gd name="T65" fmla="*/ 0 h 345"/>
                    <a:gd name="T66" fmla="*/ 251 w 424"/>
                    <a:gd name="T67" fmla="*/ 9 h 345"/>
                    <a:gd name="T68" fmla="*/ 237 w 424"/>
                    <a:gd name="T69" fmla="*/ 27 h 345"/>
                    <a:gd name="T70" fmla="*/ 210 w 424"/>
                    <a:gd name="T71" fmla="*/ 18 h 345"/>
                    <a:gd name="T72" fmla="*/ 187 w 424"/>
                    <a:gd name="T73" fmla="*/ 9 h 345"/>
                    <a:gd name="T74" fmla="*/ 173 w 424"/>
                    <a:gd name="T75" fmla="*/ 32 h 345"/>
                    <a:gd name="T76" fmla="*/ 155 w 424"/>
                    <a:gd name="T77" fmla="*/ 36 h 345"/>
                    <a:gd name="T78" fmla="*/ 142 w 424"/>
                    <a:gd name="T79" fmla="*/ 50 h 345"/>
                    <a:gd name="T80" fmla="*/ 123 w 424"/>
                    <a:gd name="T81" fmla="*/ 59 h 345"/>
                    <a:gd name="T82" fmla="*/ 105 w 424"/>
                    <a:gd name="T83" fmla="*/ 45 h 345"/>
                    <a:gd name="T84" fmla="*/ 101 w 424"/>
                    <a:gd name="T85" fmla="*/ 32 h 345"/>
                    <a:gd name="T86" fmla="*/ 78 w 424"/>
                    <a:gd name="T87" fmla="*/ 41 h 345"/>
                    <a:gd name="T88" fmla="*/ 50 w 424"/>
                    <a:gd name="T89" fmla="*/ 54 h 345"/>
                    <a:gd name="T90" fmla="*/ 41 w 424"/>
                    <a:gd name="T91" fmla="*/ 68 h 345"/>
                    <a:gd name="T92" fmla="*/ 19 w 424"/>
                    <a:gd name="T93" fmla="*/ 91 h 345"/>
                    <a:gd name="T94" fmla="*/ 23 w 424"/>
                    <a:gd name="T95" fmla="*/ 118 h 345"/>
                    <a:gd name="T96" fmla="*/ 28 w 424"/>
                    <a:gd name="T97" fmla="*/ 136 h 345"/>
                    <a:gd name="T98" fmla="*/ 19 w 424"/>
                    <a:gd name="T99" fmla="*/ 150 h 345"/>
                    <a:gd name="T100" fmla="*/ 32 w 424"/>
                    <a:gd name="T101" fmla="*/ 173 h 345"/>
                    <a:gd name="T102" fmla="*/ 28 w 424"/>
                    <a:gd name="T103" fmla="*/ 200 h 345"/>
                    <a:gd name="T104" fmla="*/ 23 w 424"/>
                    <a:gd name="T105" fmla="*/ 232 h 345"/>
                    <a:gd name="T106" fmla="*/ 37 w 424"/>
                    <a:gd name="T107" fmla="*/ 254 h 345"/>
                    <a:gd name="T108" fmla="*/ 14 w 424"/>
                    <a:gd name="T109" fmla="*/ 277 h 345"/>
                    <a:gd name="T110" fmla="*/ 0 w 424"/>
                    <a:gd name="T111" fmla="*/ 28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4" h="345">
                      <a:moveTo>
                        <a:pt x="0" y="282"/>
                      </a:moveTo>
                      <a:lnTo>
                        <a:pt x="0" y="282"/>
                      </a:lnTo>
                      <a:lnTo>
                        <a:pt x="0" y="282"/>
                      </a:lnTo>
                      <a:lnTo>
                        <a:pt x="9" y="286"/>
                      </a:lnTo>
                      <a:lnTo>
                        <a:pt x="19" y="291"/>
                      </a:lnTo>
                      <a:lnTo>
                        <a:pt x="28" y="300"/>
                      </a:lnTo>
                      <a:lnTo>
                        <a:pt x="41" y="314"/>
                      </a:lnTo>
                      <a:lnTo>
                        <a:pt x="55" y="318"/>
                      </a:lnTo>
                      <a:lnTo>
                        <a:pt x="64" y="327"/>
                      </a:lnTo>
                      <a:lnTo>
                        <a:pt x="73" y="336"/>
                      </a:lnTo>
                      <a:lnTo>
                        <a:pt x="82" y="341"/>
                      </a:lnTo>
                      <a:lnTo>
                        <a:pt x="91" y="336"/>
                      </a:lnTo>
                      <a:lnTo>
                        <a:pt x="96" y="327"/>
                      </a:lnTo>
                      <a:lnTo>
                        <a:pt x="101" y="318"/>
                      </a:lnTo>
                      <a:lnTo>
                        <a:pt x="114" y="314"/>
                      </a:lnTo>
                      <a:lnTo>
                        <a:pt x="128" y="314"/>
                      </a:lnTo>
                      <a:lnTo>
                        <a:pt x="137" y="314"/>
                      </a:lnTo>
                      <a:lnTo>
                        <a:pt x="151" y="314"/>
                      </a:lnTo>
                      <a:lnTo>
                        <a:pt x="160" y="318"/>
                      </a:lnTo>
                      <a:lnTo>
                        <a:pt x="164" y="323"/>
                      </a:lnTo>
                      <a:lnTo>
                        <a:pt x="169" y="332"/>
                      </a:lnTo>
                      <a:lnTo>
                        <a:pt x="173" y="341"/>
                      </a:lnTo>
                      <a:lnTo>
                        <a:pt x="178" y="345"/>
                      </a:lnTo>
                      <a:lnTo>
                        <a:pt x="187" y="341"/>
                      </a:lnTo>
                      <a:lnTo>
                        <a:pt x="192" y="336"/>
                      </a:lnTo>
                      <a:lnTo>
                        <a:pt x="192" y="327"/>
                      </a:lnTo>
                      <a:lnTo>
                        <a:pt x="196" y="318"/>
                      </a:lnTo>
                      <a:lnTo>
                        <a:pt x="201" y="314"/>
                      </a:lnTo>
                      <a:lnTo>
                        <a:pt x="210" y="309"/>
                      </a:lnTo>
                      <a:lnTo>
                        <a:pt x="214" y="300"/>
                      </a:lnTo>
                      <a:lnTo>
                        <a:pt x="224" y="300"/>
                      </a:lnTo>
                      <a:lnTo>
                        <a:pt x="237" y="300"/>
                      </a:lnTo>
                      <a:lnTo>
                        <a:pt x="246" y="304"/>
                      </a:lnTo>
                      <a:lnTo>
                        <a:pt x="251" y="309"/>
                      </a:lnTo>
                      <a:lnTo>
                        <a:pt x="260" y="309"/>
                      </a:lnTo>
                      <a:lnTo>
                        <a:pt x="269" y="291"/>
                      </a:lnTo>
                      <a:lnTo>
                        <a:pt x="278" y="277"/>
                      </a:lnTo>
                      <a:lnTo>
                        <a:pt x="292" y="277"/>
                      </a:lnTo>
                      <a:lnTo>
                        <a:pt x="310" y="277"/>
                      </a:lnTo>
                      <a:lnTo>
                        <a:pt x="319" y="273"/>
                      </a:lnTo>
                      <a:lnTo>
                        <a:pt x="324" y="268"/>
                      </a:lnTo>
                      <a:lnTo>
                        <a:pt x="324" y="268"/>
                      </a:lnTo>
                      <a:lnTo>
                        <a:pt x="328" y="264"/>
                      </a:lnTo>
                      <a:lnTo>
                        <a:pt x="333" y="268"/>
                      </a:lnTo>
                      <a:lnTo>
                        <a:pt x="337" y="268"/>
                      </a:lnTo>
                      <a:lnTo>
                        <a:pt x="342" y="273"/>
                      </a:lnTo>
                      <a:lnTo>
                        <a:pt x="347" y="273"/>
                      </a:lnTo>
                      <a:lnTo>
                        <a:pt x="356" y="268"/>
                      </a:lnTo>
                      <a:lnTo>
                        <a:pt x="356" y="259"/>
                      </a:lnTo>
                      <a:lnTo>
                        <a:pt x="356" y="250"/>
                      </a:lnTo>
                      <a:lnTo>
                        <a:pt x="360" y="241"/>
                      </a:lnTo>
                      <a:lnTo>
                        <a:pt x="360" y="241"/>
                      </a:lnTo>
                      <a:lnTo>
                        <a:pt x="365" y="232"/>
                      </a:lnTo>
                      <a:lnTo>
                        <a:pt x="369" y="227"/>
                      </a:lnTo>
                      <a:lnTo>
                        <a:pt x="369" y="214"/>
                      </a:lnTo>
                      <a:lnTo>
                        <a:pt x="360" y="209"/>
                      </a:lnTo>
                      <a:lnTo>
                        <a:pt x="351" y="218"/>
                      </a:lnTo>
                      <a:lnTo>
                        <a:pt x="342" y="223"/>
                      </a:lnTo>
                      <a:lnTo>
                        <a:pt x="333" y="223"/>
                      </a:lnTo>
                      <a:lnTo>
                        <a:pt x="333" y="218"/>
                      </a:lnTo>
                      <a:lnTo>
                        <a:pt x="337" y="214"/>
                      </a:lnTo>
                      <a:lnTo>
                        <a:pt x="342" y="209"/>
                      </a:lnTo>
                      <a:lnTo>
                        <a:pt x="347" y="204"/>
                      </a:lnTo>
                      <a:lnTo>
                        <a:pt x="360" y="195"/>
                      </a:lnTo>
                      <a:lnTo>
                        <a:pt x="365" y="182"/>
                      </a:lnTo>
                      <a:lnTo>
                        <a:pt x="374" y="168"/>
                      </a:lnTo>
                      <a:lnTo>
                        <a:pt x="383" y="150"/>
                      </a:lnTo>
                      <a:lnTo>
                        <a:pt x="388" y="150"/>
                      </a:lnTo>
                      <a:lnTo>
                        <a:pt x="392" y="150"/>
                      </a:lnTo>
                      <a:lnTo>
                        <a:pt x="392" y="150"/>
                      </a:lnTo>
                      <a:lnTo>
                        <a:pt x="397" y="150"/>
                      </a:lnTo>
                      <a:lnTo>
                        <a:pt x="406" y="150"/>
                      </a:lnTo>
                      <a:lnTo>
                        <a:pt x="415" y="145"/>
                      </a:lnTo>
                      <a:lnTo>
                        <a:pt x="419" y="145"/>
                      </a:lnTo>
                      <a:lnTo>
                        <a:pt x="424" y="141"/>
                      </a:lnTo>
                      <a:lnTo>
                        <a:pt x="419" y="136"/>
                      </a:lnTo>
                      <a:lnTo>
                        <a:pt x="415" y="132"/>
                      </a:lnTo>
                      <a:lnTo>
                        <a:pt x="410" y="123"/>
                      </a:lnTo>
                      <a:lnTo>
                        <a:pt x="410" y="118"/>
                      </a:lnTo>
                      <a:lnTo>
                        <a:pt x="410" y="114"/>
                      </a:lnTo>
                      <a:lnTo>
                        <a:pt x="415" y="104"/>
                      </a:lnTo>
                      <a:lnTo>
                        <a:pt x="419" y="100"/>
                      </a:lnTo>
                      <a:lnTo>
                        <a:pt x="419" y="91"/>
                      </a:lnTo>
                      <a:lnTo>
                        <a:pt x="415" y="86"/>
                      </a:lnTo>
                      <a:lnTo>
                        <a:pt x="406" y="82"/>
                      </a:lnTo>
                      <a:lnTo>
                        <a:pt x="392" y="77"/>
                      </a:lnTo>
                      <a:lnTo>
                        <a:pt x="383" y="73"/>
                      </a:lnTo>
                      <a:lnTo>
                        <a:pt x="383" y="68"/>
                      </a:lnTo>
                      <a:lnTo>
                        <a:pt x="378" y="64"/>
                      </a:lnTo>
                      <a:lnTo>
                        <a:pt x="374" y="59"/>
                      </a:lnTo>
                      <a:lnTo>
                        <a:pt x="369" y="50"/>
                      </a:lnTo>
                      <a:lnTo>
                        <a:pt x="360" y="32"/>
                      </a:lnTo>
                      <a:lnTo>
                        <a:pt x="351" y="18"/>
                      </a:lnTo>
                      <a:lnTo>
                        <a:pt x="337" y="9"/>
                      </a:lnTo>
                      <a:lnTo>
                        <a:pt x="324" y="4"/>
                      </a:lnTo>
                      <a:lnTo>
                        <a:pt x="324" y="4"/>
                      </a:lnTo>
                      <a:lnTo>
                        <a:pt x="301" y="4"/>
                      </a:lnTo>
                      <a:lnTo>
                        <a:pt x="301" y="4"/>
                      </a:lnTo>
                      <a:lnTo>
                        <a:pt x="287" y="0"/>
                      </a:lnTo>
                      <a:lnTo>
                        <a:pt x="274" y="0"/>
                      </a:lnTo>
                      <a:lnTo>
                        <a:pt x="260" y="4"/>
                      </a:lnTo>
                      <a:lnTo>
                        <a:pt x="251" y="9"/>
                      </a:lnTo>
                      <a:lnTo>
                        <a:pt x="251" y="14"/>
                      </a:lnTo>
                      <a:lnTo>
                        <a:pt x="246" y="18"/>
                      </a:lnTo>
                      <a:lnTo>
                        <a:pt x="237" y="27"/>
                      </a:lnTo>
                      <a:lnTo>
                        <a:pt x="228" y="27"/>
                      </a:lnTo>
                      <a:lnTo>
                        <a:pt x="214" y="23"/>
                      </a:lnTo>
                      <a:lnTo>
                        <a:pt x="210" y="18"/>
                      </a:lnTo>
                      <a:lnTo>
                        <a:pt x="201" y="14"/>
                      </a:lnTo>
                      <a:lnTo>
                        <a:pt x="192" y="9"/>
                      </a:lnTo>
                      <a:lnTo>
                        <a:pt x="187" y="9"/>
                      </a:lnTo>
                      <a:lnTo>
                        <a:pt x="183" y="14"/>
                      </a:lnTo>
                      <a:lnTo>
                        <a:pt x="178" y="23"/>
                      </a:lnTo>
                      <a:lnTo>
                        <a:pt x="173" y="32"/>
                      </a:lnTo>
                      <a:lnTo>
                        <a:pt x="169" y="36"/>
                      </a:lnTo>
                      <a:lnTo>
                        <a:pt x="164" y="36"/>
                      </a:lnTo>
                      <a:lnTo>
                        <a:pt x="155" y="36"/>
                      </a:lnTo>
                      <a:lnTo>
                        <a:pt x="151" y="36"/>
                      </a:lnTo>
                      <a:lnTo>
                        <a:pt x="146" y="41"/>
                      </a:lnTo>
                      <a:lnTo>
                        <a:pt x="142" y="50"/>
                      </a:lnTo>
                      <a:lnTo>
                        <a:pt x="142" y="54"/>
                      </a:lnTo>
                      <a:lnTo>
                        <a:pt x="132" y="59"/>
                      </a:lnTo>
                      <a:lnTo>
                        <a:pt x="123" y="59"/>
                      </a:lnTo>
                      <a:lnTo>
                        <a:pt x="119" y="54"/>
                      </a:lnTo>
                      <a:lnTo>
                        <a:pt x="110" y="50"/>
                      </a:lnTo>
                      <a:lnTo>
                        <a:pt x="105" y="45"/>
                      </a:lnTo>
                      <a:lnTo>
                        <a:pt x="105" y="41"/>
                      </a:lnTo>
                      <a:lnTo>
                        <a:pt x="101" y="36"/>
                      </a:lnTo>
                      <a:lnTo>
                        <a:pt x="101" y="32"/>
                      </a:lnTo>
                      <a:lnTo>
                        <a:pt x="96" y="32"/>
                      </a:lnTo>
                      <a:lnTo>
                        <a:pt x="82" y="36"/>
                      </a:lnTo>
                      <a:lnTo>
                        <a:pt x="78" y="41"/>
                      </a:lnTo>
                      <a:lnTo>
                        <a:pt x="69" y="45"/>
                      </a:lnTo>
                      <a:lnTo>
                        <a:pt x="55" y="50"/>
                      </a:lnTo>
                      <a:lnTo>
                        <a:pt x="50" y="54"/>
                      </a:lnTo>
                      <a:lnTo>
                        <a:pt x="46" y="59"/>
                      </a:lnTo>
                      <a:lnTo>
                        <a:pt x="46" y="64"/>
                      </a:lnTo>
                      <a:lnTo>
                        <a:pt x="41" y="68"/>
                      </a:lnTo>
                      <a:lnTo>
                        <a:pt x="37" y="77"/>
                      </a:lnTo>
                      <a:lnTo>
                        <a:pt x="28" y="86"/>
                      </a:lnTo>
                      <a:lnTo>
                        <a:pt x="19" y="91"/>
                      </a:lnTo>
                      <a:lnTo>
                        <a:pt x="14" y="104"/>
                      </a:lnTo>
                      <a:lnTo>
                        <a:pt x="14" y="114"/>
                      </a:lnTo>
                      <a:lnTo>
                        <a:pt x="23" y="118"/>
                      </a:lnTo>
                      <a:lnTo>
                        <a:pt x="28" y="123"/>
                      </a:lnTo>
                      <a:lnTo>
                        <a:pt x="28" y="127"/>
                      </a:lnTo>
                      <a:lnTo>
                        <a:pt x="28" y="136"/>
                      </a:lnTo>
                      <a:lnTo>
                        <a:pt x="23" y="141"/>
                      </a:lnTo>
                      <a:lnTo>
                        <a:pt x="19" y="145"/>
                      </a:lnTo>
                      <a:lnTo>
                        <a:pt x="19" y="150"/>
                      </a:lnTo>
                      <a:lnTo>
                        <a:pt x="23" y="164"/>
                      </a:lnTo>
                      <a:lnTo>
                        <a:pt x="28" y="168"/>
                      </a:lnTo>
                      <a:lnTo>
                        <a:pt x="32" y="173"/>
                      </a:lnTo>
                      <a:lnTo>
                        <a:pt x="37" y="182"/>
                      </a:lnTo>
                      <a:lnTo>
                        <a:pt x="32" y="195"/>
                      </a:lnTo>
                      <a:lnTo>
                        <a:pt x="28" y="200"/>
                      </a:lnTo>
                      <a:lnTo>
                        <a:pt x="23" y="209"/>
                      </a:lnTo>
                      <a:lnTo>
                        <a:pt x="19" y="223"/>
                      </a:lnTo>
                      <a:lnTo>
                        <a:pt x="23" y="232"/>
                      </a:lnTo>
                      <a:lnTo>
                        <a:pt x="28" y="236"/>
                      </a:lnTo>
                      <a:lnTo>
                        <a:pt x="32" y="245"/>
                      </a:lnTo>
                      <a:lnTo>
                        <a:pt x="37" y="254"/>
                      </a:lnTo>
                      <a:lnTo>
                        <a:pt x="32" y="264"/>
                      </a:lnTo>
                      <a:lnTo>
                        <a:pt x="23" y="273"/>
                      </a:lnTo>
                      <a:lnTo>
                        <a:pt x="14" y="277"/>
                      </a:lnTo>
                      <a:lnTo>
                        <a:pt x="5" y="282"/>
                      </a:lnTo>
                      <a:lnTo>
                        <a:pt x="5" y="282"/>
                      </a:lnTo>
                      <a:lnTo>
                        <a:pt x="0" y="282"/>
                      </a:lnTo>
                      <a:lnTo>
                        <a:pt x="0" y="282"/>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103" name="Freeform 221">
                  <a:extLst>
                    <a:ext uri="{FF2B5EF4-FFF2-40B4-BE49-F238E27FC236}">
                      <a16:creationId xmlns="" xmlns:a16="http://schemas.microsoft.com/office/drawing/2014/main" id="{8335CDB1-06CD-4E9D-95F8-9C7FFF3F0204}"/>
                    </a:ext>
                  </a:extLst>
                </p:cNvPr>
                <p:cNvSpPr>
                  <a:spLocks noChangeAspect="1"/>
                </p:cNvSpPr>
                <p:nvPr/>
              </p:nvSpPr>
              <p:spPr bwMode="auto">
                <a:xfrm>
                  <a:off x="3458" y="3141"/>
                  <a:ext cx="319" cy="268"/>
                </a:xfrm>
                <a:custGeom>
                  <a:avLst/>
                  <a:gdLst>
                    <a:gd name="T0" fmla="*/ 315 w 319"/>
                    <a:gd name="T1" fmla="*/ 259 h 268"/>
                    <a:gd name="T2" fmla="*/ 315 w 319"/>
                    <a:gd name="T3" fmla="*/ 259 h 268"/>
                    <a:gd name="T4" fmla="*/ 315 w 319"/>
                    <a:gd name="T5" fmla="*/ 254 h 268"/>
                    <a:gd name="T6" fmla="*/ 319 w 319"/>
                    <a:gd name="T7" fmla="*/ 223 h 268"/>
                    <a:gd name="T8" fmla="*/ 310 w 319"/>
                    <a:gd name="T9" fmla="*/ 204 h 268"/>
                    <a:gd name="T10" fmla="*/ 296 w 319"/>
                    <a:gd name="T11" fmla="*/ 182 h 268"/>
                    <a:gd name="T12" fmla="*/ 301 w 319"/>
                    <a:gd name="T13" fmla="*/ 173 h 268"/>
                    <a:gd name="T14" fmla="*/ 301 w 319"/>
                    <a:gd name="T15" fmla="*/ 163 h 268"/>
                    <a:gd name="T16" fmla="*/ 296 w 319"/>
                    <a:gd name="T17" fmla="*/ 145 h 268"/>
                    <a:gd name="T18" fmla="*/ 287 w 319"/>
                    <a:gd name="T19" fmla="*/ 123 h 268"/>
                    <a:gd name="T20" fmla="*/ 260 w 319"/>
                    <a:gd name="T21" fmla="*/ 109 h 268"/>
                    <a:gd name="T22" fmla="*/ 237 w 319"/>
                    <a:gd name="T23" fmla="*/ 91 h 268"/>
                    <a:gd name="T24" fmla="*/ 219 w 319"/>
                    <a:gd name="T25" fmla="*/ 86 h 268"/>
                    <a:gd name="T26" fmla="*/ 201 w 319"/>
                    <a:gd name="T27" fmla="*/ 77 h 268"/>
                    <a:gd name="T28" fmla="*/ 173 w 319"/>
                    <a:gd name="T29" fmla="*/ 77 h 268"/>
                    <a:gd name="T30" fmla="*/ 169 w 319"/>
                    <a:gd name="T31" fmla="*/ 73 h 268"/>
                    <a:gd name="T32" fmla="*/ 164 w 319"/>
                    <a:gd name="T33" fmla="*/ 59 h 268"/>
                    <a:gd name="T34" fmla="*/ 155 w 319"/>
                    <a:gd name="T35" fmla="*/ 54 h 268"/>
                    <a:gd name="T36" fmla="*/ 128 w 319"/>
                    <a:gd name="T37" fmla="*/ 59 h 268"/>
                    <a:gd name="T38" fmla="*/ 119 w 319"/>
                    <a:gd name="T39" fmla="*/ 54 h 268"/>
                    <a:gd name="T40" fmla="*/ 114 w 319"/>
                    <a:gd name="T41" fmla="*/ 41 h 268"/>
                    <a:gd name="T42" fmla="*/ 119 w 319"/>
                    <a:gd name="T43" fmla="*/ 13 h 268"/>
                    <a:gd name="T44" fmla="*/ 119 w 319"/>
                    <a:gd name="T45" fmla="*/ 9 h 268"/>
                    <a:gd name="T46" fmla="*/ 114 w 319"/>
                    <a:gd name="T47" fmla="*/ 0 h 268"/>
                    <a:gd name="T48" fmla="*/ 96 w 319"/>
                    <a:gd name="T49" fmla="*/ 0 h 268"/>
                    <a:gd name="T50" fmla="*/ 82 w 319"/>
                    <a:gd name="T51" fmla="*/ 13 h 268"/>
                    <a:gd name="T52" fmla="*/ 82 w 319"/>
                    <a:gd name="T53" fmla="*/ 36 h 268"/>
                    <a:gd name="T54" fmla="*/ 96 w 319"/>
                    <a:gd name="T55" fmla="*/ 50 h 268"/>
                    <a:gd name="T56" fmla="*/ 96 w 319"/>
                    <a:gd name="T57" fmla="*/ 63 h 268"/>
                    <a:gd name="T58" fmla="*/ 91 w 319"/>
                    <a:gd name="T59" fmla="*/ 77 h 268"/>
                    <a:gd name="T60" fmla="*/ 69 w 319"/>
                    <a:gd name="T61" fmla="*/ 82 h 268"/>
                    <a:gd name="T62" fmla="*/ 50 w 319"/>
                    <a:gd name="T63" fmla="*/ 63 h 268"/>
                    <a:gd name="T64" fmla="*/ 32 w 319"/>
                    <a:gd name="T65" fmla="*/ 45 h 268"/>
                    <a:gd name="T66" fmla="*/ 9 w 319"/>
                    <a:gd name="T67" fmla="*/ 45 h 268"/>
                    <a:gd name="T68" fmla="*/ 5 w 319"/>
                    <a:gd name="T69" fmla="*/ 63 h 268"/>
                    <a:gd name="T70" fmla="*/ 18 w 319"/>
                    <a:gd name="T71" fmla="*/ 113 h 268"/>
                    <a:gd name="T72" fmla="*/ 32 w 319"/>
                    <a:gd name="T73" fmla="*/ 141 h 268"/>
                    <a:gd name="T74" fmla="*/ 46 w 319"/>
                    <a:gd name="T75" fmla="*/ 154 h 268"/>
                    <a:gd name="T76" fmla="*/ 50 w 319"/>
                    <a:gd name="T77" fmla="*/ 159 h 268"/>
                    <a:gd name="T78" fmla="*/ 59 w 319"/>
                    <a:gd name="T79" fmla="*/ 173 h 268"/>
                    <a:gd name="T80" fmla="*/ 59 w 319"/>
                    <a:gd name="T81" fmla="*/ 191 h 268"/>
                    <a:gd name="T82" fmla="*/ 46 w 319"/>
                    <a:gd name="T83" fmla="*/ 204 h 268"/>
                    <a:gd name="T84" fmla="*/ 55 w 319"/>
                    <a:gd name="T85" fmla="*/ 232 h 268"/>
                    <a:gd name="T86" fmla="*/ 110 w 319"/>
                    <a:gd name="T87" fmla="*/ 250 h 268"/>
                    <a:gd name="T88" fmla="*/ 160 w 319"/>
                    <a:gd name="T89" fmla="*/ 254 h 268"/>
                    <a:gd name="T90" fmla="*/ 196 w 319"/>
                    <a:gd name="T91" fmla="*/ 254 h 268"/>
                    <a:gd name="T92" fmla="*/ 214 w 319"/>
                    <a:gd name="T93" fmla="*/ 254 h 268"/>
                    <a:gd name="T94" fmla="*/ 315 w 319"/>
                    <a:gd name="T95" fmla="*/ 263 h 268"/>
                    <a:gd name="T96" fmla="*/ 315 w 319"/>
                    <a:gd name="T97" fmla="*/ 26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9" h="268">
                      <a:moveTo>
                        <a:pt x="315" y="263"/>
                      </a:moveTo>
                      <a:lnTo>
                        <a:pt x="315" y="259"/>
                      </a:lnTo>
                      <a:lnTo>
                        <a:pt x="315" y="259"/>
                      </a:lnTo>
                      <a:lnTo>
                        <a:pt x="315" y="259"/>
                      </a:lnTo>
                      <a:lnTo>
                        <a:pt x="315" y="254"/>
                      </a:lnTo>
                      <a:lnTo>
                        <a:pt x="315" y="254"/>
                      </a:lnTo>
                      <a:lnTo>
                        <a:pt x="319" y="223"/>
                      </a:lnTo>
                      <a:lnTo>
                        <a:pt x="319" y="223"/>
                      </a:lnTo>
                      <a:lnTo>
                        <a:pt x="315" y="213"/>
                      </a:lnTo>
                      <a:lnTo>
                        <a:pt x="310" y="204"/>
                      </a:lnTo>
                      <a:lnTo>
                        <a:pt x="301" y="195"/>
                      </a:lnTo>
                      <a:lnTo>
                        <a:pt x="296" y="182"/>
                      </a:lnTo>
                      <a:lnTo>
                        <a:pt x="296" y="177"/>
                      </a:lnTo>
                      <a:lnTo>
                        <a:pt x="301" y="173"/>
                      </a:lnTo>
                      <a:lnTo>
                        <a:pt x="301" y="168"/>
                      </a:lnTo>
                      <a:lnTo>
                        <a:pt x="301" y="163"/>
                      </a:lnTo>
                      <a:lnTo>
                        <a:pt x="301" y="154"/>
                      </a:lnTo>
                      <a:lnTo>
                        <a:pt x="296" y="145"/>
                      </a:lnTo>
                      <a:lnTo>
                        <a:pt x="287" y="136"/>
                      </a:lnTo>
                      <a:lnTo>
                        <a:pt x="287" y="123"/>
                      </a:lnTo>
                      <a:lnTo>
                        <a:pt x="274" y="118"/>
                      </a:lnTo>
                      <a:lnTo>
                        <a:pt x="260" y="109"/>
                      </a:lnTo>
                      <a:lnTo>
                        <a:pt x="251" y="100"/>
                      </a:lnTo>
                      <a:lnTo>
                        <a:pt x="237" y="91"/>
                      </a:lnTo>
                      <a:lnTo>
                        <a:pt x="228" y="86"/>
                      </a:lnTo>
                      <a:lnTo>
                        <a:pt x="219" y="86"/>
                      </a:lnTo>
                      <a:lnTo>
                        <a:pt x="214" y="82"/>
                      </a:lnTo>
                      <a:lnTo>
                        <a:pt x="201" y="77"/>
                      </a:lnTo>
                      <a:lnTo>
                        <a:pt x="201" y="77"/>
                      </a:lnTo>
                      <a:lnTo>
                        <a:pt x="173" y="77"/>
                      </a:lnTo>
                      <a:lnTo>
                        <a:pt x="173" y="77"/>
                      </a:lnTo>
                      <a:lnTo>
                        <a:pt x="169" y="73"/>
                      </a:lnTo>
                      <a:lnTo>
                        <a:pt x="169" y="63"/>
                      </a:lnTo>
                      <a:lnTo>
                        <a:pt x="164" y="59"/>
                      </a:lnTo>
                      <a:lnTo>
                        <a:pt x="155" y="54"/>
                      </a:lnTo>
                      <a:lnTo>
                        <a:pt x="155" y="54"/>
                      </a:lnTo>
                      <a:lnTo>
                        <a:pt x="128" y="59"/>
                      </a:lnTo>
                      <a:lnTo>
                        <a:pt x="128" y="59"/>
                      </a:lnTo>
                      <a:lnTo>
                        <a:pt x="123" y="59"/>
                      </a:lnTo>
                      <a:lnTo>
                        <a:pt x="119" y="54"/>
                      </a:lnTo>
                      <a:lnTo>
                        <a:pt x="114" y="45"/>
                      </a:lnTo>
                      <a:lnTo>
                        <a:pt x="114" y="41"/>
                      </a:lnTo>
                      <a:lnTo>
                        <a:pt x="114" y="41"/>
                      </a:lnTo>
                      <a:lnTo>
                        <a:pt x="119" y="13"/>
                      </a:lnTo>
                      <a:lnTo>
                        <a:pt x="119" y="13"/>
                      </a:lnTo>
                      <a:lnTo>
                        <a:pt x="119" y="9"/>
                      </a:lnTo>
                      <a:lnTo>
                        <a:pt x="119" y="4"/>
                      </a:lnTo>
                      <a:lnTo>
                        <a:pt x="114" y="0"/>
                      </a:lnTo>
                      <a:lnTo>
                        <a:pt x="105" y="0"/>
                      </a:lnTo>
                      <a:lnTo>
                        <a:pt x="96" y="0"/>
                      </a:lnTo>
                      <a:lnTo>
                        <a:pt x="87" y="4"/>
                      </a:lnTo>
                      <a:lnTo>
                        <a:pt x="82" y="13"/>
                      </a:lnTo>
                      <a:lnTo>
                        <a:pt x="82" y="27"/>
                      </a:lnTo>
                      <a:lnTo>
                        <a:pt x="82" y="36"/>
                      </a:lnTo>
                      <a:lnTo>
                        <a:pt x="91" y="41"/>
                      </a:lnTo>
                      <a:lnTo>
                        <a:pt x="96" y="50"/>
                      </a:lnTo>
                      <a:lnTo>
                        <a:pt x="96" y="59"/>
                      </a:lnTo>
                      <a:lnTo>
                        <a:pt x="96" y="63"/>
                      </a:lnTo>
                      <a:lnTo>
                        <a:pt x="96" y="73"/>
                      </a:lnTo>
                      <a:lnTo>
                        <a:pt x="91" y="77"/>
                      </a:lnTo>
                      <a:lnTo>
                        <a:pt x="82" y="82"/>
                      </a:lnTo>
                      <a:lnTo>
                        <a:pt x="69" y="82"/>
                      </a:lnTo>
                      <a:lnTo>
                        <a:pt x="59" y="73"/>
                      </a:lnTo>
                      <a:lnTo>
                        <a:pt x="50" y="63"/>
                      </a:lnTo>
                      <a:lnTo>
                        <a:pt x="37" y="50"/>
                      </a:lnTo>
                      <a:lnTo>
                        <a:pt x="32" y="45"/>
                      </a:lnTo>
                      <a:lnTo>
                        <a:pt x="18" y="45"/>
                      </a:lnTo>
                      <a:lnTo>
                        <a:pt x="9" y="45"/>
                      </a:lnTo>
                      <a:lnTo>
                        <a:pt x="0" y="41"/>
                      </a:lnTo>
                      <a:lnTo>
                        <a:pt x="5" y="63"/>
                      </a:lnTo>
                      <a:lnTo>
                        <a:pt x="9" y="91"/>
                      </a:lnTo>
                      <a:lnTo>
                        <a:pt x="18" y="113"/>
                      </a:lnTo>
                      <a:lnTo>
                        <a:pt x="28" y="136"/>
                      </a:lnTo>
                      <a:lnTo>
                        <a:pt x="32" y="141"/>
                      </a:lnTo>
                      <a:lnTo>
                        <a:pt x="37" y="145"/>
                      </a:lnTo>
                      <a:lnTo>
                        <a:pt x="46" y="154"/>
                      </a:lnTo>
                      <a:lnTo>
                        <a:pt x="50" y="154"/>
                      </a:lnTo>
                      <a:lnTo>
                        <a:pt x="50" y="159"/>
                      </a:lnTo>
                      <a:lnTo>
                        <a:pt x="55" y="168"/>
                      </a:lnTo>
                      <a:lnTo>
                        <a:pt x="59" y="173"/>
                      </a:lnTo>
                      <a:lnTo>
                        <a:pt x="59" y="182"/>
                      </a:lnTo>
                      <a:lnTo>
                        <a:pt x="59" y="191"/>
                      </a:lnTo>
                      <a:lnTo>
                        <a:pt x="55" y="200"/>
                      </a:lnTo>
                      <a:lnTo>
                        <a:pt x="46" y="204"/>
                      </a:lnTo>
                      <a:lnTo>
                        <a:pt x="46" y="213"/>
                      </a:lnTo>
                      <a:lnTo>
                        <a:pt x="55" y="232"/>
                      </a:lnTo>
                      <a:lnTo>
                        <a:pt x="78" y="241"/>
                      </a:lnTo>
                      <a:lnTo>
                        <a:pt x="110" y="250"/>
                      </a:lnTo>
                      <a:lnTo>
                        <a:pt x="132" y="254"/>
                      </a:lnTo>
                      <a:lnTo>
                        <a:pt x="160" y="254"/>
                      </a:lnTo>
                      <a:lnTo>
                        <a:pt x="182" y="254"/>
                      </a:lnTo>
                      <a:lnTo>
                        <a:pt x="196" y="254"/>
                      </a:lnTo>
                      <a:lnTo>
                        <a:pt x="214" y="254"/>
                      </a:lnTo>
                      <a:lnTo>
                        <a:pt x="214" y="254"/>
                      </a:lnTo>
                      <a:lnTo>
                        <a:pt x="287" y="268"/>
                      </a:lnTo>
                      <a:lnTo>
                        <a:pt x="315" y="263"/>
                      </a:lnTo>
                      <a:lnTo>
                        <a:pt x="315" y="263"/>
                      </a:lnTo>
                      <a:lnTo>
                        <a:pt x="315" y="263"/>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104" name="Freeform 222">
                  <a:extLst>
                    <a:ext uri="{FF2B5EF4-FFF2-40B4-BE49-F238E27FC236}">
                      <a16:creationId xmlns="" xmlns:a16="http://schemas.microsoft.com/office/drawing/2014/main" id="{8367124E-2234-42BC-BEA6-1C88BFB3F5DC}"/>
                    </a:ext>
                  </a:extLst>
                </p:cNvPr>
                <p:cNvSpPr>
                  <a:spLocks noChangeAspect="1"/>
                </p:cNvSpPr>
                <p:nvPr/>
              </p:nvSpPr>
              <p:spPr bwMode="auto">
                <a:xfrm>
                  <a:off x="4119" y="3132"/>
                  <a:ext cx="360" cy="409"/>
                </a:xfrm>
                <a:custGeom>
                  <a:avLst/>
                  <a:gdLst>
                    <a:gd name="T0" fmla="*/ 105 w 360"/>
                    <a:gd name="T1" fmla="*/ 400 h 409"/>
                    <a:gd name="T2" fmla="*/ 118 w 360"/>
                    <a:gd name="T3" fmla="*/ 372 h 409"/>
                    <a:gd name="T4" fmla="*/ 132 w 360"/>
                    <a:gd name="T5" fmla="*/ 359 h 409"/>
                    <a:gd name="T6" fmla="*/ 159 w 360"/>
                    <a:gd name="T7" fmla="*/ 354 h 409"/>
                    <a:gd name="T8" fmla="*/ 173 w 360"/>
                    <a:gd name="T9" fmla="*/ 345 h 409"/>
                    <a:gd name="T10" fmla="*/ 182 w 360"/>
                    <a:gd name="T11" fmla="*/ 318 h 409"/>
                    <a:gd name="T12" fmla="*/ 200 w 360"/>
                    <a:gd name="T13" fmla="*/ 300 h 409"/>
                    <a:gd name="T14" fmla="*/ 223 w 360"/>
                    <a:gd name="T15" fmla="*/ 300 h 409"/>
                    <a:gd name="T16" fmla="*/ 246 w 360"/>
                    <a:gd name="T17" fmla="*/ 291 h 409"/>
                    <a:gd name="T18" fmla="*/ 250 w 360"/>
                    <a:gd name="T19" fmla="*/ 277 h 409"/>
                    <a:gd name="T20" fmla="*/ 259 w 360"/>
                    <a:gd name="T21" fmla="*/ 263 h 409"/>
                    <a:gd name="T22" fmla="*/ 296 w 360"/>
                    <a:gd name="T23" fmla="*/ 241 h 409"/>
                    <a:gd name="T24" fmla="*/ 310 w 360"/>
                    <a:gd name="T25" fmla="*/ 232 h 409"/>
                    <a:gd name="T26" fmla="*/ 300 w 360"/>
                    <a:gd name="T27" fmla="*/ 218 h 409"/>
                    <a:gd name="T28" fmla="*/ 310 w 360"/>
                    <a:gd name="T29" fmla="*/ 191 h 409"/>
                    <a:gd name="T30" fmla="*/ 351 w 360"/>
                    <a:gd name="T31" fmla="*/ 154 h 409"/>
                    <a:gd name="T32" fmla="*/ 360 w 360"/>
                    <a:gd name="T33" fmla="*/ 118 h 409"/>
                    <a:gd name="T34" fmla="*/ 346 w 360"/>
                    <a:gd name="T35" fmla="*/ 100 h 409"/>
                    <a:gd name="T36" fmla="*/ 346 w 360"/>
                    <a:gd name="T37" fmla="*/ 82 h 409"/>
                    <a:gd name="T38" fmla="*/ 346 w 360"/>
                    <a:gd name="T39" fmla="*/ 68 h 409"/>
                    <a:gd name="T40" fmla="*/ 346 w 360"/>
                    <a:gd name="T41" fmla="*/ 59 h 409"/>
                    <a:gd name="T42" fmla="*/ 337 w 360"/>
                    <a:gd name="T43" fmla="*/ 59 h 409"/>
                    <a:gd name="T44" fmla="*/ 314 w 360"/>
                    <a:gd name="T45" fmla="*/ 63 h 409"/>
                    <a:gd name="T46" fmla="*/ 278 w 360"/>
                    <a:gd name="T47" fmla="*/ 82 h 409"/>
                    <a:gd name="T48" fmla="*/ 246 w 360"/>
                    <a:gd name="T49" fmla="*/ 86 h 409"/>
                    <a:gd name="T50" fmla="*/ 223 w 360"/>
                    <a:gd name="T51" fmla="*/ 72 h 409"/>
                    <a:gd name="T52" fmla="*/ 173 w 360"/>
                    <a:gd name="T53" fmla="*/ 63 h 409"/>
                    <a:gd name="T54" fmla="*/ 109 w 360"/>
                    <a:gd name="T55" fmla="*/ 27 h 409"/>
                    <a:gd name="T56" fmla="*/ 82 w 360"/>
                    <a:gd name="T57" fmla="*/ 9 h 409"/>
                    <a:gd name="T58" fmla="*/ 54 w 360"/>
                    <a:gd name="T59" fmla="*/ 13 h 409"/>
                    <a:gd name="T60" fmla="*/ 32 w 360"/>
                    <a:gd name="T61" fmla="*/ 27 h 409"/>
                    <a:gd name="T62" fmla="*/ 18 w 360"/>
                    <a:gd name="T63" fmla="*/ 59 h 409"/>
                    <a:gd name="T64" fmla="*/ 18 w 360"/>
                    <a:gd name="T65" fmla="*/ 104 h 409"/>
                    <a:gd name="T66" fmla="*/ 27 w 360"/>
                    <a:gd name="T67" fmla="*/ 141 h 409"/>
                    <a:gd name="T68" fmla="*/ 45 w 360"/>
                    <a:gd name="T69" fmla="*/ 163 h 409"/>
                    <a:gd name="T70" fmla="*/ 64 w 360"/>
                    <a:gd name="T71" fmla="*/ 186 h 409"/>
                    <a:gd name="T72" fmla="*/ 77 w 360"/>
                    <a:gd name="T73" fmla="*/ 200 h 409"/>
                    <a:gd name="T74" fmla="*/ 86 w 360"/>
                    <a:gd name="T75" fmla="*/ 204 h 409"/>
                    <a:gd name="T76" fmla="*/ 86 w 360"/>
                    <a:gd name="T77" fmla="*/ 213 h 409"/>
                    <a:gd name="T78" fmla="*/ 82 w 360"/>
                    <a:gd name="T79" fmla="*/ 218 h 409"/>
                    <a:gd name="T80" fmla="*/ 77 w 360"/>
                    <a:gd name="T81" fmla="*/ 218 h 409"/>
                    <a:gd name="T82" fmla="*/ 50 w 360"/>
                    <a:gd name="T83" fmla="*/ 218 h 409"/>
                    <a:gd name="T84" fmla="*/ 23 w 360"/>
                    <a:gd name="T85" fmla="*/ 227 h 409"/>
                    <a:gd name="T86" fmla="*/ 9 w 360"/>
                    <a:gd name="T87" fmla="*/ 245 h 409"/>
                    <a:gd name="T88" fmla="*/ 13 w 360"/>
                    <a:gd name="T89" fmla="*/ 250 h 409"/>
                    <a:gd name="T90" fmla="*/ 13 w 360"/>
                    <a:gd name="T91" fmla="*/ 259 h 409"/>
                    <a:gd name="T92" fmla="*/ 9 w 360"/>
                    <a:gd name="T93" fmla="*/ 263 h 409"/>
                    <a:gd name="T94" fmla="*/ 0 w 360"/>
                    <a:gd name="T95" fmla="*/ 272 h 409"/>
                    <a:gd name="T96" fmla="*/ 0 w 360"/>
                    <a:gd name="T97" fmla="*/ 272 h 409"/>
                    <a:gd name="T98" fmla="*/ 13 w 360"/>
                    <a:gd name="T99" fmla="*/ 277 h 409"/>
                    <a:gd name="T100" fmla="*/ 36 w 360"/>
                    <a:gd name="T101" fmla="*/ 300 h 409"/>
                    <a:gd name="T102" fmla="*/ 50 w 360"/>
                    <a:gd name="T103" fmla="*/ 327 h 409"/>
                    <a:gd name="T104" fmla="*/ 59 w 360"/>
                    <a:gd name="T105" fmla="*/ 336 h 409"/>
                    <a:gd name="T106" fmla="*/ 68 w 360"/>
                    <a:gd name="T107" fmla="*/ 345 h 409"/>
                    <a:gd name="T108" fmla="*/ 91 w 360"/>
                    <a:gd name="T109" fmla="*/ 354 h 409"/>
                    <a:gd name="T110" fmla="*/ 95 w 360"/>
                    <a:gd name="T111" fmla="*/ 368 h 409"/>
                    <a:gd name="T112" fmla="*/ 86 w 360"/>
                    <a:gd name="T113" fmla="*/ 382 h 409"/>
                    <a:gd name="T114" fmla="*/ 86 w 360"/>
                    <a:gd name="T115" fmla="*/ 391 h 409"/>
                    <a:gd name="T116" fmla="*/ 95 w 360"/>
                    <a:gd name="T117" fmla="*/ 404 h 409"/>
                    <a:gd name="T118" fmla="*/ 100 w 360"/>
                    <a:gd name="T119" fmla="*/ 409 h 409"/>
                    <a:gd name="T120" fmla="*/ 100 w 360"/>
                    <a:gd name="T121" fmla="*/ 409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0" h="409">
                      <a:moveTo>
                        <a:pt x="100" y="409"/>
                      </a:moveTo>
                      <a:lnTo>
                        <a:pt x="105" y="400"/>
                      </a:lnTo>
                      <a:lnTo>
                        <a:pt x="114" y="386"/>
                      </a:lnTo>
                      <a:lnTo>
                        <a:pt x="118" y="372"/>
                      </a:lnTo>
                      <a:lnTo>
                        <a:pt x="123" y="363"/>
                      </a:lnTo>
                      <a:lnTo>
                        <a:pt x="132" y="359"/>
                      </a:lnTo>
                      <a:lnTo>
                        <a:pt x="146" y="354"/>
                      </a:lnTo>
                      <a:lnTo>
                        <a:pt x="159" y="354"/>
                      </a:lnTo>
                      <a:lnTo>
                        <a:pt x="168" y="350"/>
                      </a:lnTo>
                      <a:lnTo>
                        <a:pt x="173" y="345"/>
                      </a:lnTo>
                      <a:lnTo>
                        <a:pt x="173" y="332"/>
                      </a:lnTo>
                      <a:lnTo>
                        <a:pt x="182" y="318"/>
                      </a:lnTo>
                      <a:lnTo>
                        <a:pt x="191" y="313"/>
                      </a:lnTo>
                      <a:lnTo>
                        <a:pt x="200" y="300"/>
                      </a:lnTo>
                      <a:lnTo>
                        <a:pt x="209" y="295"/>
                      </a:lnTo>
                      <a:lnTo>
                        <a:pt x="223" y="300"/>
                      </a:lnTo>
                      <a:lnTo>
                        <a:pt x="241" y="295"/>
                      </a:lnTo>
                      <a:lnTo>
                        <a:pt x="246" y="291"/>
                      </a:lnTo>
                      <a:lnTo>
                        <a:pt x="246" y="282"/>
                      </a:lnTo>
                      <a:lnTo>
                        <a:pt x="250" y="277"/>
                      </a:lnTo>
                      <a:lnTo>
                        <a:pt x="250" y="272"/>
                      </a:lnTo>
                      <a:lnTo>
                        <a:pt x="259" y="263"/>
                      </a:lnTo>
                      <a:lnTo>
                        <a:pt x="278" y="250"/>
                      </a:lnTo>
                      <a:lnTo>
                        <a:pt x="296" y="241"/>
                      </a:lnTo>
                      <a:lnTo>
                        <a:pt x="314" y="236"/>
                      </a:lnTo>
                      <a:lnTo>
                        <a:pt x="310" y="232"/>
                      </a:lnTo>
                      <a:lnTo>
                        <a:pt x="305" y="227"/>
                      </a:lnTo>
                      <a:lnTo>
                        <a:pt x="300" y="218"/>
                      </a:lnTo>
                      <a:lnTo>
                        <a:pt x="300" y="213"/>
                      </a:lnTo>
                      <a:lnTo>
                        <a:pt x="310" y="191"/>
                      </a:lnTo>
                      <a:lnTo>
                        <a:pt x="332" y="172"/>
                      </a:lnTo>
                      <a:lnTo>
                        <a:pt x="351" y="154"/>
                      </a:lnTo>
                      <a:lnTo>
                        <a:pt x="360" y="132"/>
                      </a:lnTo>
                      <a:lnTo>
                        <a:pt x="360" y="118"/>
                      </a:lnTo>
                      <a:lnTo>
                        <a:pt x="355" y="109"/>
                      </a:lnTo>
                      <a:lnTo>
                        <a:pt x="346" y="100"/>
                      </a:lnTo>
                      <a:lnTo>
                        <a:pt x="346" y="91"/>
                      </a:lnTo>
                      <a:lnTo>
                        <a:pt x="346" y="82"/>
                      </a:lnTo>
                      <a:lnTo>
                        <a:pt x="346" y="77"/>
                      </a:lnTo>
                      <a:lnTo>
                        <a:pt x="346" y="68"/>
                      </a:lnTo>
                      <a:lnTo>
                        <a:pt x="346" y="59"/>
                      </a:lnTo>
                      <a:lnTo>
                        <a:pt x="346" y="59"/>
                      </a:lnTo>
                      <a:lnTo>
                        <a:pt x="341" y="59"/>
                      </a:lnTo>
                      <a:lnTo>
                        <a:pt x="337" y="59"/>
                      </a:lnTo>
                      <a:lnTo>
                        <a:pt x="332" y="59"/>
                      </a:lnTo>
                      <a:lnTo>
                        <a:pt x="314" y="63"/>
                      </a:lnTo>
                      <a:lnTo>
                        <a:pt x="296" y="72"/>
                      </a:lnTo>
                      <a:lnTo>
                        <a:pt x="278" y="82"/>
                      </a:lnTo>
                      <a:lnTo>
                        <a:pt x="255" y="86"/>
                      </a:lnTo>
                      <a:lnTo>
                        <a:pt x="246" y="86"/>
                      </a:lnTo>
                      <a:lnTo>
                        <a:pt x="232" y="77"/>
                      </a:lnTo>
                      <a:lnTo>
                        <a:pt x="223" y="72"/>
                      </a:lnTo>
                      <a:lnTo>
                        <a:pt x="209" y="72"/>
                      </a:lnTo>
                      <a:lnTo>
                        <a:pt x="173" y="63"/>
                      </a:lnTo>
                      <a:lnTo>
                        <a:pt x="136" y="50"/>
                      </a:lnTo>
                      <a:lnTo>
                        <a:pt x="109" y="27"/>
                      </a:lnTo>
                      <a:lnTo>
                        <a:pt x="91" y="0"/>
                      </a:lnTo>
                      <a:lnTo>
                        <a:pt x="82" y="9"/>
                      </a:lnTo>
                      <a:lnTo>
                        <a:pt x="68" y="9"/>
                      </a:lnTo>
                      <a:lnTo>
                        <a:pt x="54" y="13"/>
                      </a:lnTo>
                      <a:lnTo>
                        <a:pt x="45" y="18"/>
                      </a:lnTo>
                      <a:lnTo>
                        <a:pt x="32" y="27"/>
                      </a:lnTo>
                      <a:lnTo>
                        <a:pt x="27" y="41"/>
                      </a:lnTo>
                      <a:lnTo>
                        <a:pt x="18" y="59"/>
                      </a:lnTo>
                      <a:lnTo>
                        <a:pt x="18" y="82"/>
                      </a:lnTo>
                      <a:lnTo>
                        <a:pt x="18" y="104"/>
                      </a:lnTo>
                      <a:lnTo>
                        <a:pt x="23" y="122"/>
                      </a:lnTo>
                      <a:lnTo>
                        <a:pt x="27" y="141"/>
                      </a:lnTo>
                      <a:lnTo>
                        <a:pt x="36" y="154"/>
                      </a:lnTo>
                      <a:lnTo>
                        <a:pt x="45" y="163"/>
                      </a:lnTo>
                      <a:lnTo>
                        <a:pt x="54" y="177"/>
                      </a:lnTo>
                      <a:lnTo>
                        <a:pt x="64" y="186"/>
                      </a:lnTo>
                      <a:lnTo>
                        <a:pt x="73" y="195"/>
                      </a:lnTo>
                      <a:lnTo>
                        <a:pt x="77" y="200"/>
                      </a:lnTo>
                      <a:lnTo>
                        <a:pt x="82" y="200"/>
                      </a:lnTo>
                      <a:lnTo>
                        <a:pt x="86" y="204"/>
                      </a:lnTo>
                      <a:lnTo>
                        <a:pt x="86" y="209"/>
                      </a:lnTo>
                      <a:lnTo>
                        <a:pt x="86" y="213"/>
                      </a:lnTo>
                      <a:lnTo>
                        <a:pt x="82" y="213"/>
                      </a:lnTo>
                      <a:lnTo>
                        <a:pt x="82" y="218"/>
                      </a:lnTo>
                      <a:lnTo>
                        <a:pt x="77" y="218"/>
                      </a:lnTo>
                      <a:lnTo>
                        <a:pt x="77" y="218"/>
                      </a:lnTo>
                      <a:lnTo>
                        <a:pt x="50" y="218"/>
                      </a:lnTo>
                      <a:lnTo>
                        <a:pt x="50" y="218"/>
                      </a:lnTo>
                      <a:lnTo>
                        <a:pt x="36" y="222"/>
                      </a:lnTo>
                      <a:lnTo>
                        <a:pt x="23" y="227"/>
                      </a:lnTo>
                      <a:lnTo>
                        <a:pt x="13" y="232"/>
                      </a:lnTo>
                      <a:lnTo>
                        <a:pt x="9" y="245"/>
                      </a:lnTo>
                      <a:lnTo>
                        <a:pt x="9" y="250"/>
                      </a:lnTo>
                      <a:lnTo>
                        <a:pt x="13" y="250"/>
                      </a:lnTo>
                      <a:lnTo>
                        <a:pt x="13" y="254"/>
                      </a:lnTo>
                      <a:lnTo>
                        <a:pt x="13" y="259"/>
                      </a:lnTo>
                      <a:lnTo>
                        <a:pt x="13" y="263"/>
                      </a:lnTo>
                      <a:lnTo>
                        <a:pt x="9" y="263"/>
                      </a:lnTo>
                      <a:lnTo>
                        <a:pt x="4" y="268"/>
                      </a:lnTo>
                      <a:lnTo>
                        <a:pt x="0" y="272"/>
                      </a:lnTo>
                      <a:lnTo>
                        <a:pt x="0" y="272"/>
                      </a:lnTo>
                      <a:lnTo>
                        <a:pt x="0" y="272"/>
                      </a:lnTo>
                      <a:lnTo>
                        <a:pt x="0" y="272"/>
                      </a:lnTo>
                      <a:lnTo>
                        <a:pt x="13" y="277"/>
                      </a:lnTo>
                      <a:lnTo>
                        <a:pt x="27" y="286"/>
                      </a:lnTo>
                      <a:lnTo>
                        <a:pt x="36" y="300"/>
                      </a:lnTo>
                      <a:lnTo>
                        <a:pt x="45" y="318"/>
                      </a:lnTo>
                      <a:lnTo>
                        <a:pt x="50" y="327"/>
                      </a:lnTo>
                      <a:lnTo>
                        <a:pt x="54" y="332"/>
                      </a:lnTo>
                      <a:lnTo>
                        <a:pt x="59" y="336"/>
                      </a:lnTo>
                      <a:lnTo>
                        <a:pt x="59" y="341"/>
                      </a:lnTo>
                      <a:lnTo>
                        <a:pt x="68" y="345"/>
                      </a:lnTo>
                      <a:lnTo>
                        <a:pt x="82" y="350"/>
                      </a:lnTo>
                      <a:lnTo>
                        <a:pt x="91" y="354"/>
                      </a:lnTo>
                      <a:lnTo>
                        <a:pt x="95" y="359"/>
                      </a:lnTo>
                      <a:lnTo>
                        <a:pt x="95" y="368"/>
                      </a:lnTo>
                      <a:lnTo>
                        <a:pt x="91" y="372"/>
                      </a:lnTo>
                      <a:lnTo>
                        <a:pt x="86" y="382"/>
                      </a:lnTo>
                      <a:lnTo>
                        <a:pt x="86" y="386"/>
                      </a:lnTo>
                      <a:lnTo>
                        <a:pt x="86" y="391"/>
                      </a:lnTo>
                      <a:lnTo>
                        <a:pt x="91" y="400"/>
                      </a:lnTo>
                      <a:lnTo>
                        <a:pt x="95" y="404"/>
                      </a:lnTo>
                      <a:lnTo>
                        <a:pt x="100" y="409"/>
                      </a:lnTo>
                      <a:lnTo>
                        <a:pt x="100" y="409"/>
                      </a:lnTo>
                      <a:lnTo>
                        <a:pt x="100" y="409"/>
                      </a:lnTo>
                      <a:lnTo>
                        <a:pt x="100" y="409"/>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105" name="Freeform 223">
                  <a:extLst>
                    <a:ext uri="{FF2B5EF4-FFF2-40B4-BE49-F238E27FC236}">
                      <a16:creationId xmlns="" xmlns:a16="http://schemas.microsoft.com/office/drawing/2014/main" id="{3D71F93D-BF74-41DA-922E-9E15B24FCD51}"/>
                    </a:ext>
                  </a:extLst>
                </p:cNvPr>
                <p:cNvSpPr>
                  <a:spLocks noChangeAspect="1"/>
                </p:cNvSpPr>
                <p:nvPr/>
              </p:nvSpPr>
              <p:spPr bwMode="auto">
                <a:xfrm>
                  <a:off x="3745" y="3004"/>
                  <a:ext cx="465" cy="455"/>
                </a:xfrm>
                <a:custGeom>
                  <a:avLst/>
                  <a:gdLst>
                    <a:gd name="T0" fmla="*/ 465 w 465"/>
                    <a:gd name="T1" fmla="*/ 10 h 455"/>
                    <a:gd name="T2" fmla="*/ 460 w 465"/>
                    <a:gd name="T3" fmla="*/ 28 h 455"/>
                    <a:gd name="T4" fmla="*/ 442 w 465"/>
                    <a:gd name="T5" fmla="*/ 46 h 455"/>
                    <a:gd name="T6" fmla="*/ 456 w 465"/>
                    <a:gd name="T7" fmla="*/ 69 h 455"/>
                    <a:gd name="T8" fmla="*/ 460 w 465"/>
                    <a:gd name="T9" fmla="*/ 96 h 455"/>
                    <a:gd name="T10" fmla="*/ 460 w 465"/>
                    <a:gd name="T11" fmla="*/ 114 h 455"/>
                    <a:gd name="T12" fmla="*/ 465 w 465"/>
                    <a:gd name="T13" fmla="*/ 128 h 455"/>
                    <a:gd name="T14" fmla="*/ 428 w 465"/>
                    <a:gd name="T15" fmla="*/ 141 h 455"/>
                    <a:gd name="T16" fmla="*/ 401 w 465"/>
                    <a:gd name="T17" fmla="*/ 169 h 455"/>
                    <a:gd name="T18" fmla="*/ 392 w 465"/>
                    <a:gd name="T19" fmla="*/ 232 h 455"/>
                    <a:gd name="T20" fmla="*/ 410 w 465"/>
                    <a:gd name="T21" fmla="*/ 282 h 455"/>
                    <a:gd name="T22" fmla="*/ 438 w 465"/>
                    <a:gd name="T23" fmla="*/ 314 h 455"/>
                    <a:gd name="T24" fmla="*/ 456 w 465"/>
                    <a:gd name="T25" fmla="*/ 328 h 455"/>
                    <a:gd name="T26" fmla="*/ 460 w 465"/>
                    <a:gd name="T27" fmla="*/ 341 h 455"/>
                    <a:gd name="T28" fmla="*/ 451 w 465"/>
                    <a:gd name="T29" fmla="*/ 346 h 455"/>
                    <a:gd name="T30" fmla="*/ 424 w 465"/>
                    <a:gd name="T31" fmla="*/ 346 h 455"/>
                    <a:gd name="T32" fmla="*/ 387 w 465"/>
                    <a:gd name="T33" fmla="*/ 360 h 455"/>
                    <a:gd name="T34" fmla="*/ 387 w 465"/>
                    <a:gd name="T35" fmla="*/ 378 h 455"/>
                    <a:gd name="T36" fmla="*/ 387 w 465"/>
                    <a:gd name="T37" fmla="*/ 391 h 455"/>
                    <a:gd name="T38" fmla="*/ 374 w 465"/>
                    <a:gd name="T39" fmla="*/ 400 h 455"/>
                    <a:gd name="T40" fmla="*/ 351 w 465"/>
                    <a:gd name="T41" fmla="*/ 400 h 455"/>
                    <a:gd name="T42" fmla="*/ 310 w 465"/>
                    <a:gd name="T43" fmla="*/ 400 h 455"/>
                    <a:gd name="T44" fmla="*/ 296 w 465"/>
                    <a:gd name="T45" fmla="*/ 414 h 455"/>
                    <a:gd name="T46" fmla="*/ 264 w 465"/>
                    <a:gd name="T47" fmla="*/ 419 h 455"/>
                    <a:gd name="T48" fmla="*/ 242 w 465"/>
                    <a:gd name="T49" fmla="*/ 405 h 455"/>
                    <a:gd name="T50" fmla="*/ 228 w 465"/>
                    <a:gd name="T51" fmla="*/ 419 h 455"/>
                    <a:gd name="T52" fmla="*/ 214 w 465"/>
                    <a:gd name="T53" fmla="*/ 432 h 455"/>
                    <a:gd name="T54" fmla="*/ 196 w 465"/>
                    <a:gd name="T55" fmla="*/ 437 h 455"/>
                    <a:gd name="T56" fmla="*/ 182 w 465"/>
                    <a:gd name="T57" fmla="*/ 455 h 455"/>
                    <a:gd name="T58" fmla="*/ 160 w 465"/>
                    <a:gd name="T59" fmla="*/ 446 h 455"/>
                    <a:gd name="T60" fmla="*/ 151 w 465"/>
                    <a:gd name="T61" fmla="*/ 432 h 455"/>
                    <a:gd name="T62" fmla="*/ 132 w 465"/>
                    <a:gd name="T63" fmla="*/ 432 h 455"/>
                    <a:gd name="T64" fmla="*/ 105 w 465"/>
                    <a:gd name="T65" fmla="*/ 446 h 455"/>
                    <a:gd name="T66" fmla="*/ 87 w 465"/>
                    <a:gd name="T67" fmla="*/ 432 h 455"/>
                    <a:gd name="T68" fmla="*/ 55 w 465"/>
                    <a:gd name="T69" fmla="*/ 414 h 455"/>
                    <a:gd name="T70" fmla="*/ 28 w 465"/>
                    <a:gd name="T71" fmla="*/ 396 h 455"/>
                    <a:gd name="T72" fmla="*/ 28 w 465"/>
                    <a:gd name="T73" fmla="*/ 391 h 455"/>
                    <a:gd name="T74" fmla="*/ 32 w 465"/>
                    <a:gd name="T75" fmla="*/ 360 h 455"/>
                    <a:gd name="T76" fmla="*/ 14 w 465"/>
                    <a:gd name="T77" fmla="*/ 332 h 455"/>
                    <a:gd name="T78" fmla="*/ 14 w 465"/>
                    <a:gd name="T79" fmla="*/ 310 h 455"/>
                    <a:gd name="T80" fmla="*/ 14 w 465"/>
                    <a:gd name="T81" fmla="*/ 291 h 455"/>
                    <a:gd name="T82" fmla="*/ 0 w 465"/>
                    <a:gd name="T83" fmla="*/ 260 h 455"/>
                    <a:gd name="T84" fmla="*/ 18 w 465"/>
                    <a:gd name="T85" fmla="*/ 241 h 455"/>
                    <a:gd name="T86" fmla="*/ 41 w 465"/>
                    <a:gd name="T87" fmla="*/ 237 h 455"/>
                    <a:gd name="T88" fmla="*/ 55 w 465"/>
                    <a:gd name="T89" fmla="*/ 232 h 455"/>
                    <a:gd name="T90" fmla="*/ 64 w 465"/>
                    <a:gd name="T91" fmla="*/ 232 h 455"/>
                    <a:gd name="T92" fmla="*/ 105 w 465"/>
                    <a:gd name="T93" fmla="*/ 228 h 455"/>
                    <a:gd name="T94" fmla="*/ 128 w 465"/>
                    <a:gd name="T95" fmla="*/ 223 h 455"/>
                    <a:gd name="T96" fmla="*/ 132 w 465"/>
                    <a:gd name="T97" fmla="*/ 200 h 455"/>
                    <a:gd name="T98" fmla="*/ 128 w 465"/>
                    <a:gd name="T99" fmla="*/ 178 h 455"/>
                    <a:gd name="T100" fmla="*/ 128 w 465"/>
                    <a:gd name="T101" fmla="*/ 169 h 455"/>
                    <a:gd name="T102" fmla="*/ 141 w 465"/>
                    <a:gd name="T103" fmla="*/ 137 h 455"/>
                    <a:gd name="T104" fmla="*/ 169 w 465"/>
                    <a:gd name="T105" fmla="*/ 114 h 455"/>
                    <a:gd name="T106" fmla="*/ 192 w 465"/>
                    <a:gd name="T107" fmla="*/ 100 h 455"/>
                    <a:gd name="T108" fmla="*/ 210 w 465"/>
                    <a:gd name="T109" fmla="*/ 123 h 455"/>
                    <a:gd name="T110" fmla="*/ 242 w 465"/>
                    <a:gd name="T111" fmla="*/ 100 h 455"/>
                    <a:gd name="T112" fmla="*/ 283 w 465"/>
                    <a:gd name="T113" fmla="*/ 82 h 455"/>
                    <a:gd name="T114" fmla="*/ 328 w 465"/>
                    <a:gd name="T115" fmla="*/ 105 h 455"/>
                    <a:gd name="T116" fmla="*/ 378 w 465"/>
                    <a:gd name="T117" fmla="*/ 60 h 455"/>
                    <a:gd name="T118" fmla="*/ 424 w 465"/>
                    <a:gd name="T119" fmla="*/ 14 h 455"/>
                    <a:gd name="T120" fmla="*/ 460 w 465"/>
                    <a:gd name="T121" fmla="*/ 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5" h="455">
                      <a:moveTo>
                        <a:pt x="460" y="0"/>
                      </a:moveTo>
                      <a:lnTo>
                        <a:pt x="465" y="5"/>
                      </a:lnTo>
                      <a:lnTo>
                        <a:pt x="465" y="10"/>
                      </a:lnTo>
                      <a:lnTo>
                        <a:pt x="465" y="14"/>
                      </a:lnTo>
                      <a:lnTo>
                        <a:pt x="465" y="19"/>
                      </a:lnTo>
                      <a:lnTo>
                        <a:pt x="460" y="28"/>
                      </a:lnTo>
                      <a:lnTo>
                        <a:pt x="456" y="32"/>
                      </a:lnTo>
                      <a:lnTo>
                        <a:pt x="447" y="37"/>
                      </a:lnTo>
                      <a:lnTo>
                        <a:pt x="442" y="46"/>
                      </a:lnTo>
                      <a:lnTo>
                        <a:pt x="442" y="60"/>
                      </a:lnTo>
                      <a:lnTo>
                        <a:pt x="451" y="64"/>
                      </a:lnTo>
                      <a:lnTo>
                        <a:pt x="456" y="69"/>
                      </a:lnTo>
                      <a:lnTo>
                        <a:pt x="456" y="78"/>
                      </a:lnTo>
                      <a:lnTo>
                        <a:pt x="456" y="87"/>
                      </a:lnTo>
                      <a:lnTo>
                        <a:pt x="460" y="96"/>
                      </a:lnTo>
                      <a:lnTo>
                        <a:pt x="460" y="105"/>
                      </a:lnTo>
                      <a:lnTo>
                        <a:pt x="460" y="110"/>
                      </a:lnTo>
                      <a:lnTo>
                        <a:pt x="460" y="114"/>
                      </a:lnTo>
                      <a:lnTo>
                        <a:pt x="460" y="119"/>
                      </a:lnTo>
                      <a:lnTo>
                        <a:pt x="460" y="123"/>
                      </a:lnTo>
                      <a:lnTo>
                        <a:pt x="465" y="128"/>
                      </a:lnTo>
                      <a:lnTo>
                        <a:pt x="456" y="137"/>
                      </a:lnTo>
                      <a:lnTo>
                        <a:pt x="442" y="137"/>
                      </a:lnTo>
                      <a:lnTo>
                        <a:pt x="428" y="141"/>
                      </a:lnTo>
                      <a:lnTo>
                        <a:pt x="419" y="146"/>
                      </a:lnTo>
                      <a:lnTo>
                        <a:pt x="406" y="155"/>
                      </a:lnTo>
                      <a:lnTo>
                        <a:pt x="401" y="169"/>
                      </a:lnTo>
                      <a:lnTo>
                        <a:pt x="392" y="187"/>
                      </a:lnTo>
                      <a:lnTo>
                        <a:pt x="392" y="210"/>
                      </a:lnTo>
                      <a:lnTo>
                        <a:pt x="392" y="232"/>
                      </a:lnTo>
                      <a:lnTo>
                        <a:pt x="397" y="250"/>
                      </a:lnTo>
                      <a:lnTo>
                        <a:pt x="401" y="269"/>
                      </a:lnTo>
                      <a:lnTo>
                        <a:pt x="410" y="282"/>
                      </a:lnTo>
                      <a:lnTo>
                        <a:pt x="419" y="291"/>
                      </a:lnTo>
                      <a:lnTo>
                        <a:pt x="428" y="305"/>
                      </a:lnTo>
                      <a:lnTo>
                        <a:pt x="438" y="314"/>
                      </a:lnTo>
                      <a:lnTo>
                        <a:pt x="447" y="323"/>
                      </a:lnTo>
                      <a:lnTo>
                        <a:pt x="451" y="328"/>
                      </a:lnTo>
                      <a:lnTo>
                        <a:pt x="456" y="328"/>
                      </a:lnTo>
                      <a:lnTo>
                        <a:pt x="460" y="332"/>
                      </a:lnTo>
                      <a:lnTo>
                        <a:pt x="460" y="337"/>
                      </a:lnTo>
                      <a:lnTo>
                        <a:pt x="460" y="341"/>
                      </a:lnTo>
                      <a:lnTo>
                        <a:pt x="456" y="341"/>
                      </a:lnTo>
                      <a:lnTo>
                        <a:pt x="456" y="346"/>
                      </a:lnTo>
                      <a:lnTo>
                        <a:pt x="451" y="346"/>
                      </a:lnTo>
                      <a:lnTo>
                        <a:pt x="451" y="346"/>
                      </a:lnTo>
                      <a:lnTo>
                        <a:pt x="424" y="346"/>
                      </a:lnTo>
                      <a:lnTo>
                        <a:pt x="424" y="346"/>
                      </a:lnTo>
                      <a:lnTo>
                        <a:pt x="410" y="350"/>
                      </a:lnTo>
                      <a:lnTo>
                        <a:pt x="397" y="355"/>
                      </a:lnTo>
                      <a:lnTo>
                        <a:pt x="387" y="360"/>
                      </a:lnTo>
                      <a:lnTo>
                        <a:pt x="383" y="373"/>
                      </a:lnTo>
                      <a:lnTo>
                        <a:pt x="383" y="378"/>
                      </a:lnTo>
                      <a:lnTo>
                        <a:pt x="387" y="378"/>
                      </a:lnTo>
                      <a:lnTo>
                        <a:pt x="387" y="382"/>
                      </a:lnTo>
                      <a:lnTo>
                        <a:pt x="387" y="387"/>
                      </a:lnTo>
                      <a:lnTo>
                        <a:pt x="387" y="391"/>
                      </a:lnTo>
                      <a:lnTo>
                        <a:pt x="383" y="391"/>
                      </a:lnTo>
                      <a:lnTo>
                        <a:pt x="378" y="396"/>
                      </a:lnTo>
                      <a:lnTo>
                        <a:pt x="374" y="400"/>
                      </a:lnTo>
                      <a:lnTo>
                        <a:pt x="374" y="400"/>
                      </a:lnTo>
                      <a:lnTo>
                        <a:pt x="351" y="400"/>
                      </a:lnTo>
                      <a:lnTo>
                        <a:pt x="351" y="400"/>
                      </a:lnTo>
                      <a:lnTo>
                        <a:pt x="337" y="396"/>
                      </a:lnTo>
                      <a:lnTo>
                        <a:pt x="324" y="396"/>
                      </a:lnTo>
                      <a:lnTo>
                        <a:pt x="310" y="400"/>
                      </a:lnTo>
                      <a:lnTo>
                        <a:pt x="301" y="405"/>
                      </a:lnTo>
                      <a:lnTo>
                        <a:pt x="301" y="410"/>
                      </a:lnTo>
                      <a:lnTo>
                        <a:pt x="296" y="414"/>
                      </a:lnTo>
                      <a:lnTo>
                        <a:pt x="287" y="423"/>
                      </a:lnTo>
                      <a:lnTo>
                        <a:pt x="278" y="423"/>
                      </a:lnTo>
                      <a:lnTo>
                        <a:pt x="264" y="419"/>
                      </a:lnTo>
                      <a:lnTo>
                        <a:pt x="260" y="414"/>
                      </a:lnTo>
                      <a:lnTo>
                        <a:pt x="251" y="410"/>
                      </a:lnTo>
                      <a:lnTo>
                        <a:pt x="242" y="405"/>
                      </a:lnTo>
                      <a:lnTo>
                        <a:pt x="237" y="405"/>
                      </a:lnTo>
                      <a:lnTo>
                        <a:pt x="233" y="410"/>
                      </a:lnTo>
                      <a:lnTo>
                        <a:pt x="228" y="419"/>
                      </a:lnTo>
                      <a:lnTo>
                        <a:pt x="223" y="428"/>
                      </a:lnTo>
                      <a:lnTo>
                        <a:pt x="219" y="432"/>
                      </a:lnTo>
                      <a:lnTo>
                        <a:pt x="214" y="432"/>
                      </a:lnTo>
                      <a:lnTo>
                        <a:pt x="205" y="432"/>
                      </a:lnTo>
                      <a:lnTo>
                        <a:pt x="201" y="432"/>
                      </a:lnTo>
                      <a:lnTo>
                        <a:pt x="196" y="437"/>
                      </a:lnTo>
                      <a:lnTo>
                        <a:pt x="192" y="446"/>
                      </a:lnTo>
                      <a:lnTo>
                        <a:pt x="192" y="450"/>
                      </a:lnTo>
                      <a:lnTo>
                        <a:pt x="182" y="455"/>
                      </a:lnTo>
                      <a:lnTo>
                        <a:pt x="173" y="455"/>
                      </a:lnTo>
                      <a:lnTo>
                        <a:pt x="169" y="450"/>
                      </a:lnTo>
                      <a:lnTo>
                        <a:pt x="160" y="446"/>
                      </a:lnTo>
                      <a:lnTo>
                        <a:pt x="155" y="441"/>
                      </a:lnTo>
                      <a:lnTo>
                        <a:pt x="155" y="437"/>
                      </a:lnTo>
                      <a:lnTo>
                        <a:pt x="151" y="432"/>
                      </a:lnTo>
                      <a:lnTo>
                        <a:pt x="151" y="428"/>
                      </a:lnTo>
                      <a:lnTo>
                        <a:pt x="146" y="428"/>
                      </a:lnTo>
                      <a:lnTo>
                        <a:pt x="132" y="432"/>
                      </a:lnTo>
                      <a:lnTo>
                        <a:pt x="128" y="437"/>
                      </a:lnTo>
                      <a:lnTo>
                        <a:pt x="119" y="441"/>
                      </a:lnTo>
                      <a:lnTo>
                        <a:pt x="105" y="446"/>
                      </a:lnTo>
                      <a:lnTo>
                        <a:pt x="96" y="446"/>
                      </a:lnTo>
                      <a:lnTo>
                        <a:pt x="91" y="437"/>
                      </a:lnTo>
                      <a:lnTo>
                        <a:pt x="87" y="432"/>
                      </a:lnTo>
                      <a:lnTo>
                        <a:pt x="82" y="428"/>
                      </a:lnTo>
                      <a:lnTo>
                        <a:pt x="73" y="423"/>
                      </a:lnTo>
                      <a:lnTo>
                        <a:pt x="55" y="414"/>
                      </a:lnTo>
                      <a:lnTo>
                        <a:pt x="37" y="405"/>
                      </a:lnTo>
                      <a:lnTo>
                        <a:pt x="28" y="400"/>
                      </a:lnTo>
                      <a:lnTo>
                        <a:pt x="28" y="396"/>
                      </a:lnTo>
                      <a:lnTo>
                        <a:pt x="28" y="396"/>
                      </a:lnTo>
                      <a:lnTo>
                        <a:pt x="28" y="396"/>
                      </a:lnTo>
                      <a:lnTo>
                        <a:pt x="28" y="391"/>
                      </a:lnTo>
                      <a:lnTo>
                        <a:pt x="28" y="391"/>
                      </a:lnTo>
                      <a:lnTo>
                        <a:pt x="32" y="360"/>
                      </a:lnTo>
                      <a:lnTo>
                        <a:pt x="32" y="360"/>
                      </a:lnTo>
                      <a:lnTo>
                        <a:pt x="28" y="350"/>
                      </a:lnTo>
                      <a:lnTo>
                        <a:pt x="23" y="341"/>
                      </a:lnTo>
                      <a:lnTo>
                        <a:pt x="14" y="332"/>
                      </a:lnTo>
                      <a:lnTo>
                        <a:pt x="9" y="319"/>
                      </a:lnTo>
                      <a:lnTo>
                        <a:pt x="9" y="314"/>
                      </a:lnTo>
                      <a:lnTo>
                        <a:pt x="14" y="310"/>
                      </a:lnTo>
                      <a:lnTo>
                        <a:pt x="14" y="305"/>
                      </a:lnTo>
                      <a:lnTo>
                        <a:pt x="14" y="300"/>
                      </a:lnTo>
                      <a:lnTo>
                        <a:pt x="14" y="291"/>
                      </a:lnTo>
                      <a:lnTo>
                        <a:pt x="9" y="282"/>
                      </a:lnTo>
                      <a:lnTo>
                        <a:pt x="0" y="273"/>
                      </a:lnTo>
                      <a:lnTo>
                        <a:pt x="0" y="260"/>
                      </a:lnTo>
                      <a:lnTo>
                        <a:pt x="9" y="255"/>
                      </a:lnTo>
                      <a:lnTo>
                        <a:pt x="14" y="246"/>
                      </a:lnTo>
                      <a:lnTo>
                        <a:pt x="18" y="241"/>
                      </a:lnTo>
                      <a:lnTo>
                        <a:pt x="23" y="237"/>
                      </a:lnTo>
                      <a:lnTo>
                        <a:pt x="32" y="237"/>
                      </a:lnTo>
                      <a:lnTo>
                        <a:pt x="41" y="237"/>
                      </a:lnTo>
                      <a:lnTo>
                        <a:pt x="46" y="237"/>
                      </a:lnTo>
                      <a:lnTo>
                        <a:pt x="50" y="232"/>
                      </a:lnTo>
                      <a:lnTo>
                        <a:pt x="55" y="232"/>
                      </a:lnTo>
                      <a:lnTo>
                        <a:pt x="55" y="232"/>
                      </a:lnTo>
                      <a:lnTo>
                        <a:pt x="59" y="232"/>
                      </a:lnTo>
                      <a:lnTo>
                        <a:pt x="64" y="232"/>
                      </a:lnTo>
                      <a:lnTo>
                        <a:pt x="78" y="232"/>
                      </a:lnTo>
                      <a:lnTo>
                        <a:pt x="91" y="228"/>
                      </a:lnTo>
                      <a:lnTo>
                        <a:pt x="105" y="228"/>
                      </a:lnTo>
                      <a:lnTo>
                        <a:pt x="119" y="228"/>
                      </a:lnTo>
                      <a:lnTo>
                        <a:pt x="123" y="228"/>
                      </a:lnTo>
                      <a:lnTo>
                        <a:pt x="128" y="223"/>
                      </a:lnTo>
                      <a:lnTo>
                        <a:pt x="132" y="214"/>
                      </a:lnTo>
                      <a:lnTo>
                        <a:pt x="132" y="210"/>
                      </a:lnTo>
                      <a:lnTo>
                        <a:pt x="132" y="200"/>
                      </a:lnTo>
                      <a:lnTo>
                        <a:pt x="132" y="196"/>
                      </a:lnTo>
                      <a:lnTo>
                        <a:pt x="128" y="187"/>
                      </a:lnTo>
                      <a:lnTo>
                        <a:pt x="128" y="178"/>
                      </a:lnTo>
                      <a:lnTo>
                        <a:pt x="128" y="173"/>
                      </a:lnTo>
                      <a:lnTo>
                        <a:pt x="128" y="169"/>
                      </a:lnTo>
                      <a:lnTo>
                        <a:pt x="128" y="169"/>
                      </a:lnTo>
                      <a:lnTo>
                        <a:pt x="128" y="164"/>
                      </a:lnTo>
                      <a:lnTo>
                        <a:pt x="132" y="150"/>
                      </a:lnTo>
                      <a:lnTo>
                        <a:pt x="141" y="137"/>
                      </a:lnTo>
                      <a:lnTo>
                        <a:pt x="155" y="128"/>
                      </a:lnTo>
                      <a:lnTo>
                        <a:pt x="164" y="119"/>
                      </a:lnTo>
                      <a:lnTo>
                        <a:pt x="169" y="114"/>
                      </a:lnTo>
                      <a:lnTo>
                        <a:pt x="178" y="110"/>
                      </a:lnTo>
                      <a:lnTo>
                        <a:pt x="182" y="100"/>
                      </a:lnTo>
                      <a:lnTo>
                        <a:pt x="192" y="100"/>
                      </a:lnTo>
                      <a:lnTo>
                        <a:pt x="201" y="105"/>
                      </a:lnTo>
                      <a:lnTo>
                        <a:pt x="205" y="114"/>
                      </a:lnTo>
                      <a:lnTo>
                        <a:pt x="210" y="123"/>
                      </a:lnTo>
                      <a:lnTo>
                        <a:pt x="214" y="128"/>
                      </a:lnTo>
                      <a:lnTo>
                        <a:pt x="228" y="119"/>
                      </a:lnTo>
                      <a:lnTo>
                        <a:pt x="242" y="100"/>
                      </a:lnTo>
                      <a:lnTo>
                        <a:pt x="251" y="87"/>
                      </a:lnTo>
                      <a:lnTo>
                        <a:pt x="264" y="78"/>
                      </a:lnTo>
                      <a:lnTo>
                        <a:pt x="283" y="82"/>
                      </a:lnTo>
                      <a:lnTo>
                        <a:pt x="296" y="91"/>
                      </a:lnTo>
                      <a:lnTo>
                        <a:pt x="310" y="100"/>
                      </a:lnTo>
                      <a:lnTo>
                        <a:pt x="328" y="105"/>
                      </a:lnTo>
                      <a:lnTo>
                        <a:pt x="356" y="96"/>
                      </a:lnTo>
                      <a:lnTo>
                        <a:pt x="369" y="78"/>
                      </a:lnTo>
                      <a:lnTo>
                        <a:pt x="378" y="60"/>
                      </a:lnTo>
                      <a:lnTo>
                        <a:pt x="392" y="41"/>
                      </a:lnTo>
                      <a:lnTo>
                        <a:pt x="406" y="28"/>
                      </a:lnTo>
                      <a:lnTo>
                        <a:pt x="424" y="14"/>
                      </a:lnTo>
                      <a:lnTo>
                        <a:pt x="442" y="10"/>
                      </a:lnTo>
                      <a:lnTo>
                        <a:pt x="460" y="5"/>
                      </a:lnTo>
                      <a:lnTo>
                        <a:pt x="460" y="5"/>
                      </a:lnTo>
                      <a:lnTo>
                        <a:pt x="460" y="0"/>
                      </a:lnTo>
                      <a:lnTo>
                        <a:pt x="460" y="0"/>
                      </a:lnTo>
                      <a:close/>
                    </a:path>
                  </a:pathLst>
                </a:custGeom>
                <a:solidFill>
                  <a:schemeClr val="accent2"/>
                </a:solid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grpSp>
        </p:grpSp>
        <p:grpSp>
          <p:nvGrpSpPr>
            <p:cNvPr id="7" name="Group 224">
              <a:extLst>
                <a:ext uri="{FF2B5EF4-FFF2-40B4-BE49-F238E27FC236}">
                  <a16:creationId xmlns="" xmlns:a16="http://schemas.microsoft.com/office/drawing/2014/main" id="{374934FB-F824-439E-8CB8-6805B10BF8A2}"/>
                </a:ext>
              </a:extLst>
            </p:cNvPr>
            <p:cNvGrpSpPr>
              <a:grpSpLocks noChangeAspect="1"/>
            </p:cNvGrpSpPr>
            <p:nvPr/>
          </p:nvGrpSpPr>
          <p:grpSpPr bwMode="auto">
            <a:xfrm>
              <a:off x="764513" y="1940066"/>
              <a:ext cx="2012963" cy="1926681"/>
              <a:chOff x="2016" y="1204"/>
              <a:chExt cx="1302" cy="1247"/>
            </a:xfrm>
            <a:solidFill>
              <a:schemeClr val="bg1">
                <a:lumMod val="20000"/>
                <a:lumOff val="80000"/>
              </a:schemeClr>
            </a:solidFill>
          </p:grpSpPr>
          <p:grpSp>
            <p:nvGrpSpPr>
              <p:cNvPr id="83" name="Group 225">
                <a:extLst>
                  <a:ext uri="{FF2B5EF4-FFF2-40B4-BE49-F238E27FC236}">
                    <a16:creationId xmlns="" xmlns:a16="http://schemas.microsoft.com/office/drawing/2014/main" id="{215F4F42-51F0-4074-B707-E13A0F1A3706}"/>
                  </a:ext>
                </a:extLst>
              </p:cNvPr>
              <p:cNvGrpSpPr>
                <a:grpSpLocks noChangeAspect="1"/>
              </p:cNvGrpSpPr>
              <p:nvPr/>
            </p:nvGrpSpPr>
            <p:grpSpPr bwMode="auto">
              <a:xfrm>
                <a:off x="2016" y="1494"/>
                <a:ext cx="843" cy="514"/>
                <a:chOff x="456" y="1064"/>
                <a:chExt cx="1162" cy="654"/>
              </a:xfrm>
              <a:grpFill/>
            </p:grpSpPr>
            <p:sp>
              <p:nvSpPr>
                <p:cNvPr id="94" name="Freeform 226">
                  <a:extLst>
                    <a:ext uri="{FF2B5EF4-FFF2-40B4-BE49-F238E27FC236}">
                      <a16:creationId xmlns="" xmlns:a16="http://schemas.microsoft.com/office/drawing/2014/main" id="{3C202FE7-A2CB-4B69-AA2D-80BEAF5DE236}"/>
                    </a:ext>
                  </a:extLst>
                </p:cNvPr>
                <p:cNvSpPr>
                  <a:spLocks noChangeAspect="1"/>
                </p:cNvSpPr>
                <p:nvPr/>
              </p:nvSpPr>
              <p:spPr bwMode="auto">
                <a:xfrm>
                  <a:off x="825" y="1064"/>
                  <a:ext cx="520" cy="381"/>
                </a:xfrm>
                <a:custGeom>
                  <a:avLst/>
                  <a:gdLst>
                    <a:gd name="T0" fmla="*/ 18 w 520"/>
                    <a:gd name="T1" fmla="*/ 77 h 381"/>
                    <a:gd name="T2" fmla="*/ 28 w 520"/>
                    <a:gd name="T3" fmla="*/ 54 h 381"/>
                    <a:gd name="T4" fmla="*/ 37 w 520"/>
                    <a:gd name="T5" fmla="*/ 41 h 381"/>
                    <a:gd name="T6" fmla="*/ 18 w 520"/>
                    <a:gd name="T7" fmla="*/ 36 h 381"/>
                    <a:gd name="T8" fmla="*/ 32 w 520"/>
                    <a:gd name="T9" fmla="*/ 18 h 381"/>
                    <a:gd name="T10" fmla="*/ 59 w 520"/>
                    <a:gd name="T11" fmla="*/ 9 h 381"/>
                    <a:gd name="T12" fmla="*/ 87 w 520"/>
                    <a:gd name="T13" fmla="*/ 22 h 381"/>
                    <a:gd name="T14" fmla="*/ 119 w 520"/>
                    <a:gd name="T15" fmla="*/ 4 h 381"/>
                    <a:gd name="T16" fmla="*/ 132 w 520"/>
                    <a:gd name="T17" fmla="*/ 13 h 381"/>
                    <a:gd name="T18" fmla="*/ 146 w 520"/>
                    <a:gd name="T19" fmla="*/ 18 h 381"/>
                    <a:gd name="T20" fmla="*/ 160 w 520"/>
                    <a:gd name="T21" fmla="*/ 4 h 381"/>
                    <a:gd name="T22" fmla="*/ 173 w 520"/>
                    <a:gd name="T23" fmla="*/ 4 h 381"/>
                    <a:gd name="T24" fmla="*/ 201 w 520"/>
                    <a:gd name="T25" fmla="*/ 54 h 381"/>
                    <a:gd name="T26" fmla="*/ 228 w 520"/>
                    <a:gd name="T27" fmla="*/ 86 h 381"/>
                    <a:gd name="T28" fmla="*/ 251 w 520"/>
                    <a:gd name="T29" fmla="*/ 109 h 381"/>
                    <a:gd name="T30" fmla="*/ 246 w 520"/>
                    <a:gd name="T31" fmla="*/ 127 h 381"/>
                    <a:gd name="T32" fmla="*/ 269 w 520"/>
                    <a:gd name="T33" fmla="*/ 141 h 381"/>
                    <a:gd name="T34" fmla="*/ 278 w 520"/>
                    <a:gd name="T35" fmla="*/ 154 h 381"/>
                    <a:gd name="T36" fmla="*/ 305 w 520"/>
                    <a:gd name="T37" fmla="*/ 154 h 381"/>
                    <a:gd name="T38" fmla="*/ 360 w 520"/>
                    <a:gd name="T39" fmla="*/ 113 h 381"/>
                    <a:gd name="T40" fmla="*/ 401 w 520"/>
                    <a:gd name="T41" fmla="*/ 104 h 381"/>
                    <a:gd name="T42" fmla="*/ 415 w 520"/>
                    <a:gd name="T43" fmla="*/ 118 h 381"/>
                    <a:gd name="T44" fmla="*/ 410 w 520"/>
                    <a:gd name="T45" fmla="*/ 131 h 381"/>
                    <a:gd name="T46" fmla="*/ 428 w 520"/>
                    <a:gd name="T47" fmla="*/ 150 h 381"/>
                    <a:gd name="T48" fmla="*/ 460 w 520"/>
                    <a:gd name="T49" fmla="*/ 127 h 381"/>
                    <a:gd name="T50" fmla="*/ 497 w 520"/>
                    <a:gd name="T51" fmla="*/ 136 h 381"/>
                    <a:gd name="T52" fmla="*/ 501 w 520"/>
                    <a:gd name="T53" fmla="*/ 168 h 381"/>
                    <a:gd name="T54" fmla="*/ 520 w 520"/>
                    <a:gd name="T55" fmla="*/ 168 h 381"/>
                    <a:gd name="T56" fmla="*/ 520 w 520"/>
                    <a:gd name="T57" fmla="*/ 186 h 381"/>
                    <a:gd name="T58" fmla="*/ 510 w 520"/>
                    <a:gd name="T59" fmla="*/ 241 h 381"/>
                    <a:gd name="T60" fmla="*/ 465 w 520"/>
                    <a:gd name="T61" fmla="*/ 291 h 381"/>
                    <a:gd name="T62" fmla="*/ 406 w 520"/>
                    <a:gd name="T63" fmla="*/ 341 h 381"/>
                    <a:gd name="T64" fmla="*/ 401 w 520"/>
                    <a:gd name="T65" fmla="*/ 341 h 381"/>
                    <a:gd name="T66" fmla="*/ 378 w 520"/>
                    <a:gd name="T67" fmla="*/ 331 h 381"/>
                    <a:gd name="T68" fmla="*/ 333 w 520"/>
                    <a:gd name="T69" fmla="*/ 331 h 381"/>
                    <a:gd name="T70" fmla="*/ 283 w 520"/>
                    <a:gd name="T71" fmla="*/ 381 h 381"/>
                    <a:gd name="T72" fmla="*/ 278 w 520"/>
                    <a:gd name="T73" fmla="*/ 377 h 381"/>
                    <a:gd name="T74" fmla="*/ 283 w 520"/>
                    <a:gd name="T75" fmla="*/ 359 h 381"/>
                    <a:gd name="T76" fmla="*/ 274 w 520"/>
                    <a:gd name="T77" fmla="*/ 341 h 381"/>
                    <a:gd name="T78" fmla="*/ 219 w 520"/>
                    <a:gd name="T79" fmla="*/ 336 h 381"/>
                    <a:gd name="T80" fmla="*/ 160 w 520"/>
                    <a:gd name="T81" fmla="*/ 309 h 381"/>
                    <a:gd name="T82" fmla="*/ 105 w 520"/>
                    <a:gd name="T83" fmla="*/ 309 h 381"/>
                    <a:gd name="T84" fmla="*/ 50 w 520"/>
                    <a:gd name="T85" fmla="*/ 313 h 381"/>
                    <a:gd name="T86" fmla="*/ 9 w 520"/>
                    <a:gd name="T87" fmla="*/ 295 h 381"/>
                    <a:gd name="T88" fmla="*/ 9 w 520"/>
                    <a:gd name="T89" fmla="*/ 268 h 381"/>
                    <a:gd name="T90" fmla="*/ 5 w 520"/>
                    <a:gd name="T91" fmla="*/ 227 h 381"/>
                    <a:gd name="T92" fmla="*/ 0 w 520"/>
                    <a:gd name="T93" fmla="*/ 177 h 381"/>
                    <a:gd name="T94" fmla="*/ 14 w 520"/>
                    <a:gd name="T95" fmla="*/ 127 h 381"/>
                    <a:gd name="T96" fmla="*/ 5 w 520"/>
                    <a:gd name="T97" fmla="*/ 95 h 381"/>
                    <a:gd name="T98" fmla="*/ 0 w 520"/>
                    <a:gd name="T99" fmla="*/ 8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0" h="381">
                      <a:moveTo>
                        <a:pt x="0" y="81"/>
                      </a:moveTo>
                      <a:lnTo>
                        <a:pt x="9" y="81"/>
                      </a:lnTo>
                      <a:lnTo>
                        <a:pt x="18" y="77"/>
                      </a:lnTo>
                      <a:lnTo>
                        <a:pt x="23" y="68"/>
                      </a:lnTo>
                      <a:lnTo>
                        <a:pt x="23" y="54"/>
                      </a:lnTo>
                      <a:lnTo>
                        <a:pt x="28" y="54"/>
                      </a:lnTo>
                      <a:lnTo>
                        <a:pt x="32" y="50"/>
                      </a:lnTo>
                      <a:lnTo>
                        <a:pt x="32" y="45"/>
                      </a:lnTo>
                      <a:lnTo>
                        <a:pt x="37" y="41"/>
                      </a:lnTo>
                      <a:lnTo>
                        <a:pt x="28" y="41"/>
                      </a:lnTo>
                      <a:lnTo>
                        <a:pt x="23" y="36"/>
                      </a:lnTo>
                      <a:lnTo>
                        <a:pt x="18" y="36"/>
                      </a:lnTo>
                      <a:lnTo>
                        <a:pt x="14" y="31"/>
                      </a:lnTo>
                      <a:lnTo>
                        <a:pt x="18" y="22"/>
                      </a:lnTo>
                      <a:lnTo>
                        <a:pt x="32" y="18"/>
                      </a:lnTo>
                      <a:lnTo>
                        <a:pt x="46" y="9"/>
                      </a:lnTo>
                      <a:lnTo>
                        <a:pt x="55" y="9"/>
                      </a:lnTo>
                      <a:lnTo>
                        <a:pt x="59" y="9"/>
                      </a:lnTo>
                      <a:lnTo>
                        <a:pt x="64" y="13"/>
                      </a:lnTo>
                      <a:lnTo>
                        <a:pt x="73" y="22"/>
                      </a:lnTo>
                      <a:lnTo>
                        <a:pt x="87" y="22"/>
                      </a:lnTo>
                      <a:lnTo>
                        <a:pt x="100" y="18"/>
                      </a:lnTo>
                      <a:lnTo>
                        <a:pt x="110" y="13"/>
                      </a:lnTo>
                      <a:lnTo>
                        <a:pt x="119" y="4"/>
                      </a:lnTo>
                      <a:lnTo>
                        <a:pt x="128" y="0"/>
                      </a:lnTo>
                      <a:lnTo>
                        <a:pt x="132" y="4"/>
                      </a:lnTo>
                      <a:lnTo>
                        <a:pt x="132" y="13"/>
                      </a:lnTo>
                      <a:lnTo>
                        <a:pt x="137" y="18"/>
                      </a:lnTo>
                      <a:lnTo>
                        <a:pt x="141" y="18"/>
                      </a:lnTo>
                      <a:lnTo>
                        <a:pt x="146" y="18"/>
                      </a:lnTo>
                      <a:lnTo>
                        <a:pt x="151" y="13"/>
                      </a:lnTo>
                      <a:lnTo>
                        <a:pt x="155" y="9"/>
                      </a:lnTo>
                      <a:lnTo>
                        <a:pt x="160" y="4"/>
                      </a:lnTo>
                      <a:lnTo>
                        <a:pt x="160" y="4"/>
                      </a:lnTo>
                      <a:lnTo>
                        <a:pt x="173" y="4"/>
                      </a:lnTo>
                      <a:lnTo>
                        <a:pt x="173" y="4"/>
                      </a:lnTo>
                      <a:lnTo>
                        <a:pt x="178" y="27"/>
                      </a:lnTo>
                      <a:lnTo>
                        <a:pt x="187" y="45"/>
                      </a:lnTo>
                      <a:lnTo>
                        <a:pt x="201" y="54"/>
                      </a:lnTo>
                      <a:lnTo>
                        <a:pt x="223" y="59"/>
                      </a:lnTo>
                      <a:lnTo>
                        <a:pt x="223" y="77"/>
                      </a:lnTo>
                      <a:lnTo>
                        <a:pt x="228" y="86"/>
                      </a:lnTo>
                      <a:lnTo>
                        <a:pt x="233" y="95"/>
                      </a:lnTo>
                      <a:lnTo>
                        <a:pt x="246" y="104"/>
                      </a:lnTo>
                      <a:lnTo>
                        <a:pt x="251" y="109"/>
                      </a:lnTo>
                      <a:lnTo>
                        <a:pt x="246" y="118"/>
                      </a:lnTo>
                      <a:lnTo>
                        <a:pt x="246" y="122"/>
                      </a:lnTo>
                      <a:lnTo>
                        <a:pt x="246" y="127"/>
                      </a:lnTo>
                      <a:lnTo>
                        <a:pt x="255" y="131"/>
                      </a:lnTo>
                      <a:lnTo>
                        <a:pt x="260" y="136"/>
                      </a:lnTo>
                      <a:lnTo>
                        <a:pt x="269" y="141"/>
                      </a:lnTo>
                      <a:lnTo>
                        <a:pt x="274" y="145"/>
                      </a:lnTo>
                      <a:lnTo>
                        <a:pt x="274" y="150"/>
                      </a:lnTo>
                      <a:lnTo>
                        <a:pt x="278" y="154"/>
                      </a:lnTo>
                      <a:lnTo>
                        <a:pt x="283" y="163"/>
                      </a:lnTo>
                      <a:lnTo>
                        <a:pt x="287" y="163"/>
                      </a:lnTo>
                      <a:lnTo>
                        <a:pt x="305" y="154"/>
                      </a:lnTo>
                      <a:lnTo>
                        <a:pt x="333" y="136"/>
                      </a:lnTo>
                      <a:lnTo>
                        <a:pt x="351" y="122"/>
                      </a:lnTo>
                      <a:lnTo>
                        <a:pt x="360" y="113"/>
                      </a:lnTo>
                      <a:lnTo>
                        <a:pt x="374" y="113"/>
                      </a:lnTo>
                      <a:lnTo>
                        <a:pt x="387" y="109"/>
                      </a:lnTo>
                      <a:lnTo>
                        <a:pt x="401" y="104"/>
                      </a:lnTo>
                      <a:lnTo>
                        <a:pt x="410" y="104"/>
                      </a:lnTo>
                      <a:lnTo>
                        <a:pt x="415" y="113"/>
                      </a:lnTo>
                      <a:lnTo>
                        <a:pt x="415" y="118"/>
                      </a:lnTo>
                      <a:lnTo>
                        <a:pt x="410" y="122"/>
                      </a:lnTo>
                      <a:lnTo>
                        <a:pt x="410" y="127"/>
                      </a:lnTo>
                      <a:lnTo>
                        <a:pt x="410" y="131"/>
                      </a:lnTo>
                      <a:lnTo>
                        <a:pt x="419" y="131"/>
                      </a:lnTo>
                      <a:lnTo>
                        <a:pt x="424" y="136"/>
                      </a:lnTo>
                      <a:lnTo>
                        <a:pt x="428" y="150"/>
                      </a:lnTo>
                      <a:lnTo>
                        <a:pt x="442" y="145"/>
                      </a:lnTo>
                      <a:lnTo>
                        <a:pt x="451" y="136"/>
                      </a:lnTo>
                      <a:lnTo>
                        <a:pt x="460" y="127"/>
                      </a:lnTo>
                      <a:lnTo>
                        <a:pt x="479" y="122"/>
                      </a:lnTo>
                      <a:lnTo>
                        <a:pt x="488" y="127"/>
                      </a:lnTo>
                      <a:lnTo>
                        <a:pt x="497" y="136"/>
                      </a:lnTo>
                      <a:lnTo>
                        <a:pt x="497" y="154"/>
                      </a:lnTo>
                      <a:lnTo>
                        <a:pt x="501" y="168"/>
                      </a:lnTo>
                      <a:lnTo>
                        <a:pt x="501" y="168"/>
                      </a:lnTo>
                      <a:lnTo>
                        <a:pt x="506" y="168"/>
                      </a:lnTo>
                      <a:lnTo>
                        <a:pt x="515" y="168"/>
                      </a:lnTo>
                      <a:lnTo>
                        <a:pt x="520" y="168"/>
                      </a:lnTo>
                      <a:lnTo>
                        <a:pt x="520" y="172"/>
                      </a:lnTo>
                      <a:lnTo>
                        <a:pt x="520" y="181"/>
                      </a:lnTo>
                      <a:lnTo>
                        <a:pt x="520" y="186"/>
                      </a:lnTo>
                      <a:lnTo>
                        <a:pt x="520" y="191"/>
                      </a:lnTo>
                      <a:lnTo>
                        <a:pt x="515" y="213"/>
                      </a:lnTo>
                      <a:lnTo>
                        <a:pt x="510" y="241"/>
                      </a:lnTo>
                      <a:lnTo>
                        <a:pt x="501" y="259"/>
                      </a:lnTo>
                      <a:lnTo>
                        <a:pt x="488" y="277"/>
                      </a:lnTo>
                      <a:lnTo>
                        <a:pt x="465" y="291"/>
                      </a:lnTo>
                      <a:lnTo>
                        <a:pt x="438" y="300"/>
                      </a:lnTo>
                      <a:lnTo>
                        <a:pt x="415" y="318"/>
                      </a:lnTo>
                      <a:lnTo>
                        <a:pt x="406" y="341"/>
                      </a:lnTo>
                      <a:lnTo>
                        <a:pt x="401" y="341"/>
                      </a:lnTo>
                      <a:lnTo>
                        <a:pt x="401" y="341"/>
                      </a:lnTo>
                      <a:lnTo>
                        <a:pt x="401" y="341"/>
                      </a:lnTo>
                      <a:lnTo>
                        <a:pt x="397" y="341"/>
                      </a:lnTo>
                      <a:lnTo>
                        <a:pt x="387" y="336"/>
                      </a:lnTo>
                      <a:lnTo>
                        <a:pt x="378" y="331"/>
                      </a:lnTo>
                      <a:lnTo>
                        <a:pt x="369" y="327"/>
                      </a:lnTo>
                      <a:lnTo>
                        <a:pt x="360" y="322"/>
                      </a:lnTo>
                      <a:lnTo>
                        <a:pt x="333" y="331"/>
                      </a:lnTo>
                      <a:lnTo>
                        <a:pt x="319" y="350"/>
                      </a:lnTo>
                      <a:lnTo>
                        <a:pt x="305" y="372"/>
                      </a:lnTo>
                      <a:lnTo>
                        <a:pt x="283" y="381"/>
                      </a:lnTo>
                      <a:lnTo>
                        <a:pt x="283" y="381"/>
                      </a:lnTo>
                      <a:lnTo>
                        <a:pt x="283" y="377"/>
                      </a:lnTo>
                      <a:lnTo>
                        <a:pt x="278" y="377"/>
                      </a:lnTo>
                      <a:lnTo>
                        <a:pt x="278" y="372"/>
                      </a:lnTo>
                      <a:lnTo>
                        <a:pt x="278" y="363"/>
                      </a:lnTo>
                      <a:lnTo>
                        <a:pt x="283" y="359"/>
                      </a:lnTo>
                      <a:lnTo>
                        <a:pt x="287" y="350"/>
                      </a:lnTo>
                      <a:lnTo>
                        <a:pt x="287" y="345"/>
                      </a:lnTo>
                      <a:lnTo>
                        <a:pt x="274" y="341"/>
                      </a:lnTo>
                      <a:lnTo>
                        <a:pt x="255" y="336"/>
                      </a:lnTo>
                      <a:lnTo>
                        <a:pt x="237" y="336"/>
                      </a:lnTo>
                      <a:lnTo>
                        <a:pt x="219" y="336"/>
                      </a:lnTo>
                      <a:lnTo>
                        <a:pt x="196" y="327"/>
                      </a:lnTo>
                      <a:lnTo>
                        <a:pt x="178" y="318"/>
                      </a:lnTo>
                      <a:lnTo>
                        <a:pt x="160" y="309"/>
                      </a:lnTo>
                      <a:lnTo>
                        <a:pt x="137" y="304"/>
                      </a:lnTo>
                      <a:lnTo>
                        <a:pt x="119" y="304"/>
                      </a:lnTo>
                      <a:lnTo>
                        <a:pt x="105" y="309"/>
                      </a:lnTo>
                      <a:lnTo>
                        <a:pt x="87" y="318"/>
                      </a:lnTo>
                      <a:lnTo>
                        <a:pt x="73" y="318"/>
                      </a:lnTo>
                      <a:lnTo>
                        <a:pt x="50" y="313"/>
                      </a:lnTo>
                      <a:lnTo>
                        <a:pt x="37" y="304"/>
                      </a:lnTo>
                      <a:lnTo>
                        <a:pt x="23" y="300"/>
                      </a:lnTo>
                      <a:lnTo>
                        <a:pt x="9" y="295"/>
                      </a:lnTo>
                      <a:lnTo>
                        <a:pt x="14" y="281"/>
                      </a:lnTo>
                      <a:lnTo>
                        <a:pt x="14" y="272"/>
                      </a:lnTo>
                      <a:lnTo>
                        <a:pt x="9" y="268"/>
                      </a:lnTo>
                      <a:lnTo>
                        <a:pt x="9" y="259"/>
                      </a:lnTo>
                      <a:lnTo>
                        <a:pt x="9" y="245"/>
                      </a:lnTo>
                      <a:lnTo>
                        <a:pt x="5" y="227"/>
                      </a:lnTo>
                      <a:lnTo>
                        <a:pt x="0" y="213"/>
                      </a:lnTo>
                      <a:lnTo>
                        <a:pt x="0" y="195"/>
                      </a:lnTo>
                      <a:lnTo>
                        <a:pt x="0" y="177"/>
                      </a:lnTo>
                      <a:lnTo>
                        <a:pt x="9" y="159"/>
                      </a:lnTo>
                      <a:lnTo>
                        <a:pt x="14" y="145"/>
                      </a:lnTo>
                      <a:lnTo>
                        <a:pt x="14" y="127"/>
                      </a:lnTo>
                      <a:lnTo>
                        <a:pt x="14" y="113"/>
                      </a:lnTo>
                      <a:lnTo>
                        <a:pt x="9" y="104"/>
                      </a:lnTo>
                      <a:lnTo>
                        <a:pt x="5" y="95"/>
                      </a:lnTo>
                      <a:lnTo>
                        <a:pt x="0" y="81"/>
                      </a:lnTo>
                      <a:lnTo>
                        <a:pt x="0" y="81"/>
                      </a:lnTo>
                      <a:lnTo>
                        <a:pt x="0" y="81"/>
                      </a:lnTo>
                      <a:lnTo>
                        <a:pt x="0" y="81"/>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lIns="90000" rIns="18000" anchor="ctr"/>
                <a:lstStyle/>
                <a:p>
                  <a:pPr defTabSz="913204" fontAlgn="auto">
                    <a:spcBef>
                      <a:spcPts val="0"/>
                    </a:spcBef>
                    <a:spcAft>
                      <a:spcPts val="0"/>
                    </a:spcAft>
                    <a:defRPr/>
                  </a:pPr>
                  <a:endParaRPr lang="en-US">
                    <a:solidFill>
                      <a:srgbClr val="000000"/>
                    </a:solidFill>
                    <a:latin typeface="+mn-lt"/>
                    <a:cs typeface="+mn-cs"/>
                  </a:endParaRPr>
                </a:p>
              </p:txBody>
            </p:sp>
            <p:sp>
              <p:nvSpPr>
                <p:cNvPr id="95" name="Freeform 227">
                  <a:extLst>
                    <a:ext uri="{FF2B5EF4-FFF2-40B4-BE49-F238E27FC236}">
                      <a16:creationId xmlns="" xmlns:a16="http://schemas.microsoft.com/office/drawing/2014/main" id="{C45AD536-A7C8-48BC-A960-F8AD5A7522C4}"/>
                    </a:ext>
                  </a:extLst>
                </p:cNvPr>
                <p:cNvSpPr>
                  <a:spLocks noChangeAspect="1"/>
                </p:cNvSpPr>
                <p:nvPr/>
              </p:nvSpPr>
              <p:spPr bwMode="auto">
                <a:xfrm>
                  <a:off x="456" y="1118"/>
                  <a:ext cx="419" cy="446"/>
                </a:xfrm>
                <a:custGeom>
                  <a:avLst/>
                  <a:gdLst>
                    <a:gd name="T0" fmla="*/ 315 w 419"/>
                    <a:gd name="T1" fmla="*/ 0 h 446"/>
                    <a:gd name="T2" fmla="*/ 287 w 419"/>
                    <a:gd name="T3" fmla="*/ 37 h 446"/>
                    <a:gd name="T4" fmla="*/ 269 w 419"/>
                    <a:gd name="T5" fmla="*/ 23 h 446"/>
                    <a:gd name="T6" fmla="*/ 269 w 419"/>
                    <a:gd name="T7" fmla="*/ 5 h 446"/>
                    <a:gd name="T8" fmla="*/ 237 w 419"/>
                    <a:gd name="T9" fmla="*/ 5 h 446"/>
                    <a:gd name="T10" fmla="*/ 210 w 419"/>
                    <a:gd name="T11" fmla="*/ 5 h 446"/>
                    <a:gd name="T12" fmla="*/ 192 w 419"/>
                    <a:gd name="T13" fmla="*/ 9 h 446"/>
                    <a:gd name="T14" fmla="*/ 151 w 419"/>
                    <a:gd name="T15" fmla="*/ 14 h 446"/>
                    <a:gd name="T16" fmla="*/ 110 w 419"/>
                    <a:gd name="T17" fmla="*/ 27 h 446"/>
                    <a:gd name="T18" fmla="*/ 87 w 419"/>
                    <a:gd name="T19" fmla="*/ 27 h 446"/>
                    <a:gd name="T20" fmla="*/ 69 w 419"/>
                    <a:gd name="T21" fmla="*/ 41 h 446"/>
                    <a:gd name="T22" fmla="*/ 37 w 419"/>
                    <a:gd name="T23" fmla="*/ 50 h 446"/>
                    <a:gd name="T24" fmla="*/ 9 w 419"/>
                    <a:gd name="T25" fmla="*/ 77 h 446"/>
                    <a:gd name="T26" fmla="*/ 5 w 419"/>
                    <a:gd name="T27" fmla="*/ 96 h 446"/>
                    <a:gd name="T28" fmla="*/ 9 w 419"/>
                    <a:gd name="T29" fmla="*/ 123 h 446"/>
                    <a:gd name="T30" fmla="*/ 5 w 419"/>
                    <a:gd name="T31" fmla="*/ 150 h 446"/>
                    <a:gd name="T32" fmla="*/ 23 w 419"/>
                    <a:gd name="T33" fmla="*/ 146 h 446"/>
                    <a:gd name="T34" fmla="*/ 59 w 419"/>
                    <a:gd name="T35" fmla="*/ 150 h 446"/>
                    <a:gd name="T36" fmla="*/ 105 w 419"/>
                    <a:gd name="T37" fmla="*/ 137 h 446"/>
                    <a:gd name="T38" fmla="*/ 114 w 419"/>
                    <a:gd name="T39" fmla="*/ 141 h 446"/>
                    <a:gd name="T40" fmla="*/ 119 w 419"/>
                    <a:gd name="T41" fmla="*/ 164 h 446"/>
                    <a:gd name="T42" fmla="*/ 146 w 419"/>
                    <a:gd name="T43" fmla="*/ 159 h 446"/>
                    <a:gd name="T44" fmla="*/ 155 w 419"/>
                    <a:gd name="T45" fmla="*/ 168 h 446"/>
                    <a:gd name="T46" fmla="*/ 160 w 419"/>
                    <a:gd name="T47" fmla="*/ 191 h 446"/>
                    <a:gd name="T48" fmla="*/ 110 w 419"/>
                    <a:gd name="T49" fmla="*/ 182 h 446"/>
                    <a:gd name="T50" fmla="*/ 82 w 419"/>
                    <a:gd name="T51" fmla="*/ 164 h 446"/>
                    <a:gd name="T52" fmla="*/ 46 w 419"/>
                    <a:gd name="T53" fmla="*/ 191 h 446"/>
                    <a:gd name="T54" fmla="*/ 59 w 419"/>
                    <a:gd name="T55" fmla="*/ 205 h 446"/>
                    <a:gd name="T56" fmla="*/ 87 w 419"/>
                    <a:gd name="T57" fmla="*/ 218 h 446"/>
                    <a:gd name="T58" fmla="*/ 128 w 419"/>
                    <a:gd name="T59" fmla="*/ 223 h 446"/>
                    <a:gd name="T60" fmla="*/ 155 w 419"/>
                    <a:gd name="T61" fmla="*/ 264 h 446"/>
                    <a:gd name="T62" fmla="*/ 132 w 419"/>
                    <a:gd name="T63" fmla="*/ 273 h 446"/>
                    <a:gd name="T64" fmla="*/ 50 w 419"/>
                    <a:gd name="T65" fmla="*/ 273 h 446"/>
                    <a:gd name="T66" fmla="*/ 50 w 419"/>
                    <a:gd name="T67" fmla="*/ 305 h 446"/>
                    <a:gd name="T68" fmla="*/ 91 w 419"/>
                    <a:gd name="T69" fmla="*/ 314 h 446"/>
                    <a:gd name="T70" fmla="*/ 119 w 419"/>
                    <a:gd name="T71" fmla="*/ 350 h 446"/>
                    <a:gd name="T72" fmla="*/ 114 w 419"/>
                    <a:gd name="T73" fmla="*/ 387 h 446"/>
                    <a:gd name="T74" fmla="*/ 160 w 419"/>
                    <a:gd name="T75" fmla="*/ 414 h 446"/>
                    <a:gd name="T76" fmla="*/ 178 w 419"/>
                    <a:gd name="T77" fmla="*/ 387 h 446"/>
                    <a:gd name="T78" fmla="*/ 205 w 419"/>
                    <a:gd name="T79" fmla="*/ 387 h 446"/>
                    <a:gd name="T80" fmla="*/ 242 w 419"/>
                    <a:gd name="T81" fmla="*/ 377 h 446"/>
                    <a:gd name="T82" fmla="*/ 246 w 419"/>
                    <a:gd name="T83" fmla="*/ 373 h 446"/>
                    <a:gd name="T84" fmla="*/ 269 w 419"/>
                    <a:gd name="T85" fmla="*/ 409 h 446"/>
                    <a:gd name="T86" fmla="*/ 315 w 419"/>
                    <a:gd name="T87" fmla="*/ 418 h 446"/>
                    <a:gd name="T88" fmla="*/ 328 w 419"/>
                    <a:gd name="T89" fmla="*/ 418 h 446"/>
                    <a:gd name="T90" fmla="*/ 374 w 419"/>
                    <a:gd name="T91" fmla="*/ 432 h 446"/>
                    <a:gd name="T92" fmla="*/ 387 w 419"/>
                    <a:gd name="T93" fmla="*/ 405 h 446"/>
                    <a:gd name="T94" fmla="*/ 415 w 419"/>
                    <a:gd name="T95" fmla="*/ 387 h 446"/>
                    <a:gd name="T96" fmla="*/ 328 w 419"/>
                    <a:gd name="T97" fmla="*/ 282 h 446"/>
                    <a:gd name="T98" fmla="*/ 383 w 419"/>
                    <a:gd name="T99" fmla="*/ 227 h 446"/>
                    <a:gd name="T100" fmla="*/ 374 w 419"/>
                    <a:gd name="T101" fmla="*/ 173 h 446"/>
                    <a:gd name="T102" fmla="*/ 383 w 419"/>
                    <a:gd name="T103" fmla="*/ 91 h 446"/>
                    <a:gd name="T104" fmla="*/ 369 w 419"/>
                    <a:gd name="T105" fmla="*/ 27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9" h="446">
                      <a:moveTo>
                        <a:pt x="369" y="27"/>
                      </a:moveTo>
                      <a:lnTo>
                        <a:pt x="351" y="18"/>
                      </a:lnTo>
                      <a:lnTo>
                        <a:pt x="342" y="9"/>
                      </a:lnTo>
                      <a:lnTo>
                        <a:pt x="328" y="5"/>
                      </a:lnTo>
                      <a:lnTo>
                        <a:pt x="315" y="0"/>
                      </a:lnTo>
                      <a:lnTo>
                        <a:pt x="305" y="5"/>
                      </a:lnTo>
                      <a:lnTo>
                        <a:pt x="301" y="18"/>
                      </a:lnTo>
                      <a:lnTo>
                        <a:pt x="296" y="32"/>
                      </a:lnTo>
                      <a:lnTo>
                        <a:pt x="292" y="41"/>
                      </a:lnTo>
                      <a:lnTo>
                        <a:pt x="287" y="37"/>
                      </a:lnTo>
                      <a:lnTo>
                        <a:pt x="287" y="32"/>
                      </a:lnTo>
                      <a:lnTo>
                        <a:pt x="287" y="27"/>
                      </a:lnTo>
                      <a:lnTo>
                        <a:pt x="287" y="23"/>
                      </a:lnTo>
                      <a:lnTo>
                        <a:pt x="274" y="23"/>
                      </a:lnTo>
                      <a:lnTo>
                        <a:pt x="269" y="23"/>
                      </a:lnTo>
                      <a:lnTo>
                        <a:pt x="269" y="18"/>
                      </a:lnTo>
                      <a:lnTo>
                        <a:pt x="269" y="14"/>
                      </a:lnTo>
                      <a:lnTo>
                        <a:pt x="269" y="9"/>
                      </a:lnTo>
                      <a:lnTo>
                        <a:pt x="269" y="5"/>
                      </a:lnTo>
                      <a:lnTo>
                        <a:pt x="269" y="5"/>
                      </a:lnTo>
                      <a:lnTo>
                        <a:pt x="269" y="0"/>
                      </a:lnTo>
                      <a:lnTo>
                        <a:pt x="260" y="0"/>
                      </a:lnTo>
                      <a:lnTo>
                        <a:pt x="255" y="0"/>
                      </a:lnTo>
                      <a:lnTo>
                        <a:pt x="246" y="0"/>
                      </a:lnTo>
                      <a:lnTo>
                        <a:pt x="237" y="5"/>
                      </a:lnTo>
                      <a:lnTo>
                        <a:pt x="233" y="5"/>
                      </a:lnTo>
                      <a:lnTo>
                        <a:pt x="223" y="5"/>
                      </a:lnTo>
                      <a:lnTo>
                        <a:pt x="214" y="5"/>
                      </a:lnTo>
                      <a:lnTo>
                        <a:pt x="210" y="5"/>
                      </a:lnTo>
                      <a:lnTo>
                        <a:pt x="210" y="5"/>
                      </a:lnTo>
                      <a:lnTo>
                        <a:pt x="210" y="5"/>
                      </a:lnTo>
                      <a:lnTo>
                        <a:pt x="205" y="5"/>
                      </a:lnTo>
                      <a:lnTo>
                        <a:pt x="205" y="5"/>
                      </a:lnTo>
                      <a:lnTo>
                        <a:pt x="196" y="5"/>
                      </a:lnTo>
                      <a:lnTo>
                        <a:pt x="192" y="9"/>
                      </a:lnTo>
                      <a:lnTo>
                        <a:pt x="182" y="18"/>
                      </a:lnTo>
                      <a:lnTo>
                        <a:pt x="173" y="18"/>
                      </a:lnTo>
                      <a:lnTo>
                        <a:pt x="164" y="18"/>
                      </a:lnTo>
                      <a:lnTo>
                        <a:pt x="160" y="14"/>
                      </a:lnTo>
                      <a:lnTo>
                        <a:pt x="151" y="14"/>
                      </a:lnTo>
                      <a:lnTo>
                        <a:pt x="146" y="14"/>
                      </a:lnTo>
                      <a:lnTo>
                        <a:pt x="132" y="14"/>
                      </a:lnTo>
                      <a:lnTo>
                        <a:pt x="128" y="18"/>
                      </a:lnTo>
                      <a:lnTo>
                        <a:pt x="119" y="27"/>
                      </a:lnTo>
                      <a:lnTo>
                        <a:pt x="110" y="27"/>
                      </a:lnTo>
                      <a:lnTo>
                        <a:pt x="110" y="27"/>
                      </a:lnTo>
                      <a:lnTo>
                        <a:pt x="91" y="23"/>
                      </a:lnTo>
                      <a:lnTo>
                        <a:pt x="91" y="23"/>
                      </a:lnTo>
                      <a:lnTo>
                        <a:pt x="87" y="23"/>
                      </a:lnTo>
                      <a:lnTo>
                        <a:pt x="87" y="27"/>
                      </a:lnTo>
                      <a:lnTo>
                        <a:pt x="87" y="32"/>
                      </a:lnTo>
                      <a:lnTo>
                        <a:pt x="87" y="37"/>
                      </a:lnTo>
                      <a:lnTo>
                        <a:pt x="82" y="41"/>
                      </a:lnTo>
                      <a:lnTo>
                        <a:pt x="73" y="41"/>
                      </a:lnTo>
                      <a:lnTo>
                        <a:pt x="69" y="41"/>
                      </a:lnTo>
                      <a:lnTo>
                        <a:pt x="69" y="46"/>
                      </a:lnTo>
                      <a:lnTo>
                        <a:pt x="59" y="50"/>
                      </a:lnTo>
                      <a:lnTo>
                        <a:pt x="46" y="50"/>
                      </a:lnTo>
                      <a:lnTo>
                        <a:pt x="41" y="50"/>
                      </a:lnTo>
                      <a:lnTo>
                        <a:pt x="37" y="50"/>
                      </a:lnTo>
                      <a:lnTo>
                        <a:pt x="32" y="55"/>
                      </a:lnTo>
                      <a:lnTo>
                        <a:pt x="23" y="59"/>
                      </a:lnTo>
                      <a:lnTo>
                        <a:pt x="14" y="64"/>
                      </a:lnTo>
                      <a:lnTo>
                        <a:pt x="9" y="73"/>
                      </a:lnTo>
                      <a:lnTo>
                        <a:pt x="9" y="77"/>
                      </a:lnTo>
                      <a:lnTo>
                        <a:pt x="9" y="82"/>
                      </a:lnTo>
                      <a:lnTo>
                        <a:pt x="9" y="87"/>
                      </a:lnTo>
                      <a:lnTo>
                        <a:pt x="9" y="91"/>
                      </a:lnTo>
                      <a:lnTo>
                        <a:pt x="9" y="96"/>
                      </a:lnTo>
                      <a:lnTo>
                        <a:pt x="5" y="96"/>
                      </a:lnTo>
                      <a:lnTo>
                        <a:pt x="0" y="100"/>
                      </a:lnTo>
                      <a:lnTo>
                        <a:pt x="0" y="105"/>
                      </a:lnTo>
                      <a:lnTo>
                        <a:pt x="0" y="105"/>
                      </a:lnTo>
                      <a:lnTo>
                        <a:pt x="9" y="123"/>
                      </a:lnTo>
                      <a:lnTo>
                        <a:pt x="9" y="123"/>
                      </a:lnTo>
                      <a:lnTo>
                        <a:pt x="5" y="127"/>
                      </a:lnTo>
                      <a:lnTo>
                        <a:pt x="5" y="132"/>
                      </a:lnTo>
                      <a:lnTo>
                        <a:pt x="5" y="137"/>
                      </a:lnTo>
                      <a:lnTo>
                        <a:pt x="5" y="141"/>
                      </a:lnTo>
                      <a:lnTo>
                        <a:pt x="5" y="150"/>
                      </a:lnTo>
                      <a:lnTo>
                        <a:pt x="5" y="155"/>
                      </a:lnTo>
                      <a:lnTo>
                        <a:pt x="9" y="155"/>
                      </a:lnTo>
                      <a:lnTo>
                        <a:pt x="14" y="155"/>
                      </a:lnTo>
                      <a:lnTo>
                        <a:pt x="18" y="155"/>
                      </a:lnTo>
                      <a:lnTo>
                        <a:pt x="23" y="146"/>
                      </a:lnTo>
                      <a:lnTo>
                        <a:pt x="28" y="141"/>
                      </a:lnTo>
                      <a:lnTo>
                        <a:pt x="32" y="141"/>
                      </a:lnTo>
                      <a:lnTo>
                        <a:pt x="41" y="141"/>
                      </a:lnTo>
                      <a:lnTo>
                        <a:pt x="50" y="146"/>
                      </a:lnTo>
                      <a:lnTo>
                        <a:pt x="59" y="150"/>
                      </a:lnTo>
                      <a:lnTo>
                        <a:pt x="69" y="150"/>
                      </a:lnTo>
                      <a:lnTo>
                        <a:pt x="82" y="150"/>
                      </a:lnTo>
                      <a:lnTo>
                        <a:pt x="87" y="146"/>
                      </a:lnTo>
                      <a:lnTo>
                        <a:pt x="96" y="141"/>
                      </a:lnTo>
                      <a:lnTo>
                        <a:pt x="105" y="137"/>
                      </a:lnTo>
                      <a:lnTo>
                        <a:pt x="110" y="137"/>
                      </a:lnTo>
                      <a:lnTo>
                        <a:pt x="110" y="137"/>
                      </a:lnTo>
                      <a:lnTo>
                        <a:pt x="110" y="137"/>
                      </a:lnTo>
                      <a:lnTo>
                        <a:pt x="114" y="137"/>
                      </a:lnTo>
                      <a:lnTo>
                        <a:pt x="114" y="141"/>
                      </a:lnTo>
                      <a:lnTo>
                        <a:pt x="114" y="146"/>
                      </a:lnTo>
                      <a:lnTo>
                        <a:pt x="114" y="150"/>
                      </a:lnTo>
                      <a:lnTo>
                        <a:pt x="114" y="155"/>
                      </a:lnTo>
                      <a:lnTo>
                        <a:pt x="114" y="159"/>
                      </a:lnTo>
                      <a:lnTo>
                        <a:pt x="119" y="164"/>
                      </a:lnTo>
                      <a:lnTo>
                        <a:pt x="123" y="168"/>
                      </a:lnTo>
                      <a:lnTo>
                        <a:pt x="132" y="168"/>
                      </a:lnTo>
                      <a:lnTo>
                        <a:pt x="137" y="168"/>
                      </a:lnTo>
                      <a:lnTo>
                        <a:pt x="141" y="164"/>
                      </a:lnTo>
                      <a:lnTo>
                        <a:pt x="146" y="159"/>
                      </a:lnTo>
                      <a:lnTo>
                        <a:pt x="151" y="159"/>
                      </a:lnTo>
                      <a:lnTo>
                        <a:pt x="151" y="159"/>
                      </a:lnTo>
                      <a:lnTo>
                        <a:pt x="155" y="164"/>
                      </a:lnTo>
                      <a:lnTo>
                        <a:pt x="155" y="168"/>
                      </a:lnTo>
                      <a:lnTo>
                        <a:pt x="155" y="168"/>
                      </a:lnTo>
                      <a:lnTo>
                        <a:pt x="160" y="173"/>
                      </a:lnTo>
                      <a:lnTo>
                        <a:pt x="164" y="177"/>
                      </a:lnTo>
                      <a:lnTo>
                        <a:pt x="173" y="182"/>
                      </a:lnTo>
                      <a:lnTo>
                        <a:pt x="173" y="191"/>
                      </a:lnTo>
                      <a:lnTo>
                        <a:pt x="160" y="191"/>
                      </a:lnTo>
                      <a:lnTo>
                        <a:pt x="146" y="191"/>
                      </a:lnTo>
                      <a:lnTo>
                        <a:pt x="132" y="191"/>
                      </a:lnTo>
                      <a:lnTo>
                        <a:pt x="119" y="191"/>
                      </a:lnTo>
                      <a:lnTo>
                        <a:pt x="110" y="182"/>
                      </a:lnTo>
                      <a:lnTo>
                        <a:pt x="110" y="182"/>
                      </a:lnTo>
                      <a:lnTo>
                        <a:pt x="105" y="182"/>
                      </a:lnTo>
                      <a:lnTo>
                        <a:pt x="96" y="182"/>
                      </a:lnTo>
                      <a:lnTo>
                        <a:pt x="91" y="177"/>
                      </a:lnTo>
                      <a:lnTo>
                        <a:pt x="87" y="173"/>
                      </a:lnTo>
                      <a:lnTo>
                        <a:pt x="82" y="164"/>
                      </a:lnTo>
                      <a:lnTo>
                        <a:pt x="78" y="164"/>
                      </a:lnTo>
                      <a:lnTo>
                        <a:pt x="69" y="168"/>
                      </a:lnTo>
                      <a:lnTo>
                        <a:pt x="59" y="177"/>
                      </a:lnTo>
                      <a:lnTo>
                        <a:pt x="50" y="187"/>
                      </a:lnTo>
                      <a:lnTo>
                        <a:pt x="46" y="191"/>
                      </a:lnTo>
                      <a:lnTo>
                        <a:pt x="46" y="191"/>
                      </a:lnTo>
                      <a:lnTo>
                        <a:pt x="50" y="191"/>
                      </a:lnTo>
                      <a:lnTo>
                        <a:pt x="55" y="196"/>
                      </a:lnTo>
                      <a:lnTo>
                        <a:pt x="55" y="196"/>
                      </a:lnTo>
                      <a:lnTo>
                        <a:pt x="59" y="205"/>
                      </a:lnTo>
                      <a:lnTo>
                        <a:pt x="64" y="214"/>
                      </a:lnTo>
                      <a:lnTo>
                        <a:pt x="64" y="223"/>
                      </a:lnTo>
                      <a:lnTo>
                        <a:pt x="73" y="227"/>
                      </a:lnTo>
                      <a:lnTo>
                        <a:pt x="82" y="223"/>
                      </a:lnTo>
                      <a:lnTo>
                        <a:pt x="87" y="218"/>
                      </a:lnTo>
                      <a:lnTo>
                        <a:pt x="96" y="214"/>
                      </a:lnTo>
                      <a:lnTo>
                        <a:pt x="100" y="209"/>
                      </a:lnTo>
                      <a:lnTo>
                        <a:pt x="114" y="209"/>
                      </a:lnTo>
                      <a:lnTo>
                        <a:pt x="119" y="218"/>
                      </a:lnTo>
                      <a:lnTo>
                        <a:pt x="128" y="223"/>
                      </a:lnTo>
                      <a:lnTo>
                        <a:pt x="137" y="227"/>
                      </a:lnTo>
                      <a:lnTo>
                        <a:pt x="141" y="237"/>
                      </a:lnTo>
                      <a:lnTo>
                        <a:pt x="146" y="246"/>
                      </a:lnTo>
                      <a:lnTo>
                        <a:pt x="151" y="255"/>
                      </a:lnTo>
                      <a:lnTo>
                        <a:pt x="155" y="264"/>
                      </a:lnTo>
                      <a:lnTo>
                        <a:pt x="155" y="268"/>
                      </a:lnTo>
                      <a:lnTo>
                        <a:pt x="151" y="268"/>
                      </a:lnTo>
                      <a:lnTo>
                        <a:pt x="146" y="273"/>
                      </a:lnTo>
                      <a:lnTo>
                        <a:pt x="141" y="273"/>
                      </a:lnTo>
                      <a:lnTo>
                        <a:pt x="132" y="273"/>
                      </a:lnTo>
                      <a:lnTo>
                        <a:pt x="123" y="268"/>
                      </a:lnTo>
                      <a:lnTo>
                        <a:pt x="119" y="264"/>
                      </a:lnTo>
                      <a:lnTo>
                        <a:pt x="110" y="264"/>
                      </a:lnTo>
                      <a:lnTo>
                        <a:pt x="78" y="264"/>
                      </a:lnTo>
                      <a:lnTo>
                        <a:pt x="50" y="273"/>
                      </a:lnTo>
                      <a:lnTo>
                        <a:pt x="23" y="277"/>
                      </a:lnTo>
                      <a:lnTo>
                        <a:pt x="14" y="287"/>
                      </a:lnTo>
                      <a:lnTo>
                        <a:pt x="23" y="300"/>
                      </a:lnTo>
                      <a:lnTo>
                        <a:pt x="37" y="305"/>
                      </a:lnTo>
                      <a:lnTo>
                        <a:pt x="50" y="305"/>
                      </a:lnTo>
                      <a:lnTo>
                        <a:pt x="69" y="305"/>
                      </a:lnTo>
                      <a:lnTo>
                        <a:pt x="73" y="309"/>
                      </a:lnTo>
                      <a:lnTo>
                        <a:pt x="82" y="309"/>
                      </a:lnTo>
                      <a:lnTo>
                        <a:pt x="87" y="314"/>
                      </a:lnTo>
                      <a:lnTo>
                        <a:pt x="91" y="314"/>
                      </a:lnTo>
                      <a:lnTo>
                        <a:pt x="91" y="314"/>
                      </a:lnTo>
                      <a:lnTo>
                        <a:pt x="105" y="332"/>
                      </a:lnTo>
                      <a:lnTo>
                        <a:pt x="105" y="332"/>
                      </a:lnTo>
                      <a:lnTo>
                        <a:pt x="110" y="341"/>
                      </a:lnTo>
                      <a:lnTo>
                        <a:pt x="119" y="350"/>
                      </a:lnTo>
                      <a:lnTo>
                        <a:pt x="123" y="364"/>
                      </a:lnTo>
                      <a:lnTo>
                        <a:pt x="128" y="373"/>
                      </a:lnTo>
                      <a:lnTo>
                        <a:pt x="128" y="382"/>
                      </a:lnTo>
                      <a:lnTo>
                        <a:pt x="123" y="382"/>
                      </a:lnTo>
                      <a:lnTo>
                        <a:pt x="114" y="387"/>
                      </a:lnTo>
                      <a:lnTo>
                        <a:pt x="114" y="396"/>
                      </a:lnTo>
                      <a:lnTo>
                        <a:pt x="119" y="400"/>
                      </a:lnTo>
                      <a:lnTo>
                        <a:pt x="132" y="409"/>
                      </a:lnTo>
                      <a:lnTo>
                        <a:pt x="146" y="414"/>
                      </a:lnTo>
                      <a:lnTo>
                        <a:pt x="160" y="414"/>
                      </a:lnTo>
                      <a:lnTo>
                        <a:pt x="169" y="414"/>
                      </a:lnTo>
                      <a:lnTo>
                        <a:pt x="173" y="409"/>
                      </a:lnTo>
                      <a:lnTo>
                        <a:pt x="178" y="400"/>
                      </a:lnTo>
                      <a:lnTo>
                        <a:pt x="178" y="391"/>
                      </a:lnTo>
                      <a:lnTo>
                        <a:pt x="178" y="387"/>
                      </a:lnTo>
                      <a:lnTo>
                        <a:pt x="178" y="382"/>
                      </a:lnTo>
                      <a:lnTo>
                        <a:pt x="178" y="382"/>
                      </a:lnTo>
                      <a:lnTo>
                        <a:pt x="182" y="382"/>
                      </a:lnTo>
                      <a:lnTo>
                        <a:pt x="196" y="382"/>
                      </a:lnTo>
                      <a:lnTo>
                        <a:pt x="205" y="387"/>
                      </a:lnTo>
                      <a:lnTo>
                        <a:pt x="214" y="391"/>
                      </a:lnTo>
                      <a:lnTo>
                        <a:pt x="228" y="391"/>
                      </a:lnTo>
                      <a:lnTo>
                        <a:pt x="237" y="387"/>
                      </a:lnTo>
                      <a:lnTo>
                        <a:pt x="237" y="382"/>
                      </a:lnTo>
                      <a:lnTo>
                        <a:pt x="242" y="377"/>
                      </a:lnTo>
                      <a:lnTo>
                        <a:pt x="242" y="368"/>
                      </a:lnTo>
                      <a:lnTo>
                        <a:pt x="242" y="368"/>
                      </a:lnTo>
                      <a:lnTo>
                        <a:pt x="246" y="368"/>
                      </a:lnTo>
                      <a:lnTo>
                        <a:pt x="246" y="368"/>
                      </a:lnTo>
                      <a:lnTo>
                        <a:pt x="246" y="373"/>
                      </a:lnTo>
                      <a:lnTo>
                        <a:pt x="251" y="373"/>
                      </a:lnTo>
                      <a:lnTo>
                        <a:pt x="251" y="373"/>
                      </a:lnTo>
                      <a:lnTo>
                        <a:pt x="251" y="373"/>
                      </a:lnTo>
                      <a:lnTo>
                        <a:pt x="255" y="391"/>
                      </a:lnTo>
                      <a:lnTo>
                        <a:pt x="269" y="409"/>
                      </a:lnTo>
                      <a:lnTo>
                        <a:pt x="287" y="423"/>
                      </a:lnTo>
                      <a:lnTo>
                        <a:pt x="301" y="427"/>
                      </a:lnTo>
                      <a:lnTo>
                        <a:pt x="305" y="427"/>
                      </a:lnTo>
                      <a:lnTo>
                        <a:pt x="310" y="423"/>
                      </a:lnTo>
                      <a:lnTo>
                        <a:pt x="315" y="418"/>
                      </a:lnTo>
                      <a:lnTo>
                        <a:pt x="319" y="418"/>
                      </a:lnTo>
                      <a:lnTo>
                        <a:pt x="324" y="418"/>
                      </a:lnTo>
                      <a:lnTo>
                        <a:pt x="324" y="418"/>
                      </a:lnTo>
                      <a:lnTo>
                        <a:pt x="328" y="418"/>
                      </a:lnTo>
                      <a:lnTo>
                        <a:pt x="328" y="418"/>
                      </a:lnTo>
                      <a:lnTo>
                        <a:pt x="337" y="432"/>
                      </a:lnTo>
                      <a:lnTo>
                        <a:pt x="351" y="437"/>
                      </a:lnTo>
                      <a:lnTo>
                        <a:pt x="365" y="437"/>
                      </a:lnTo>
                      <a:lnTo>
                        <a:pt x="374" y="446"/>
                      </a:lnTo>
                      <a:lnTo>
                        <a:pt x="374" y="432"/>
                      </a:lnTo>
                      <a:lnTo>
                        <a:pt x="374" y="414"/>
                      </a:lnTo>
                      <a:lnTo>
                        <a:pt x="374" y="405"/>
                      </a:lnTo>
                      <a:lnTo>
                        <a:pt x="383" y="400"/>
                      </a:lnTo>
                      <a:lnTo>
                        <a:pt x="387" y="400"/>
                      </a:lnTo>
                      <a:lnTo>
                        <a:pt x="387" y="405"/>
                      </a:lnTo>
                      <a:lnTo>
                        <a:pt x="387" y="409"/>
                      </a:lnTo>
                      <a:lnTo>
                        <a:pt x="392" y="409"/>
                      </a:lnTo>
                      <a:lnTo>
                        <a:pt x="401" y="405"/>
                      </a:lnTo>
                      <a:lnTo>
                        <a:pt x="410" y="396"/>
                      </a:lnTo>
                      <a:lnTo>
                        <a:pt x="415" y="387"/>
                      </a:lnTo>
                      <a:lnTo>
                        <a:pt x="419" y="373"/>
                      </a:lnTo>
                      <a:lnTo>
                        <a:pt x="406" y="341"/>
                      </a:lnTo>
                      <a:lnTo>
                        <a:pt x="374" y="327"/>
                      </a:lnTo>
                      <a:lnTo>
                        <a:pt x="342" y="309"/>
                      </a:lnTo>
                      <a:lnTo>
                        <a:pt x="328" y="282"/>
                      </a:lnTo>
                      <a:lnTo>
                        <a:pt x="333" y="264"/>
                      </a:lnTo>
                      <a:lnTo>
                        <a:pt x="342" y="250"/>
                      </a:lnTo>
                      <a:lnTo>
                        <a:pt x="360" y="246"/>
                      </a:lnTo>
                      <a:lnTo>
                        <a:pt x="378" y="241"/>
                      </a:lnTo>
                      <a:lnTo>
                        <a:pt x="383" y="227"/>
                      </a:lnTo>
                      <a:lnTo>
                        <a:pt x="383" y="218"/>
                      </a:lnTo>
                      <a:lnTo>
                        <a:pt x="378" y="214"/>
                      </a:lnTo>
                      <a:lnTo>
                        <a:pt x="378" y="205"/>
                      </a:lnTo>
                      <a:lnTo>
                        <a:pt x="378" y="191"/>
                      </a:lnTo>
                      <a:lnTo>
                        <a:pt x="374" y="173"/>
                      </a:lnTo>
                      <a:lnTo>
                        <a:pt x="369" y="159"/>
                      </a:lnTo>
                      <a:lnTo>
                        <a:pt x="369" y="141"/>
                      </a:lnTo>
                      <a:lnTo>
                        <a:pt x="369" y="123"/>
                      </a:lnTo>
                      <a:lnTo>
                        <a:pt x="378" y="105"/>
                      </a:lnTo>
                      <a:lnTo>
                        <a:pt x="383" y="91"/>
                      </a:lnTo>
                      <a:lnTo>
                        <a:pt x="383" y="73"/>
                      </a:lnTo>
                      <a:lnTo>
                        <a:pt x="383" y="59"/>
                      </a:lnTo>
                      <a:lnTo>
                        <a:pt x="378" y="50"/>
                      </a:lnTo>
                      <a:lnTo>
                        <a:pt x="374" y="41"/>
                      </a:lnTo>
                      <a:lnTo>
                        <a:pt x="369" y="27"/>
                      </a:lnTo>
                      <a:lnTo>
                        <a:pt x="369" y="27"/>
                      </a:lnTo>
                      <a:lnTo>
                        <a:pt x="369" y="27"/>
                      </a:lnTo>
                      <a:lnTo>
                        <a:pt x="369" y="27"/>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lIns="90000" rIns="18000" anchor="ctr"/>
                <a:lstStyle/>
                <a:p>
                  <a:pPr defTabSz="913204" fontAlgn="auto">
                    <a:spcBef>
                      <a:spcPts val="0"/>
                    </a:spcBef>
                    <a:spcAft>
                      <a:spcPts val="0"/>
                    </a:spcAft>
                    <a:defRPr/>
                  </a:pPr>
                  <a:endParaRPr lang="en-US">
                    <a:solidFill>
                      <a:srgbClr val="000000"/>
                    </a:solidFill>
                    <a:latin typeface="+mn-lt"/>
                    <a:cs typeface="+mn-cs"/>
                  </a:endParaRPr>
                </a:p>
              </p:txBody>
            </p:sp>
            <p:sp>
              <p:nvSpPr>
                <p:cNvPr id="96" name="Freeform 228">
                  <a:extLst>
                    <a:ext uri="{FF2B5EF4-FFF2-40B4-BE49-F238E27FC236}">
                      <a16:creationId xmlns="" xmlns:a16="http://schemas.microsoft.com/office/drawing/2014/main" id="{C9273481-F832-46A8-A918-E40FA2667CD5}"/>
                    </a:ext>
                  </a:extLst>
                </p:cNvPr>
                <p:cNvSpPr>
                  <a:spLocks noChangeAspect="1"/>
                </p:cNvSpPr>
                <p:nvPr/>
              </p:nvSpPr>
              <p:spPr bwMode="auto">
                <a:xfrm>
                  <a:off x="784" y="1359"/>
                  <a:ext cx="510" cy="359"/>
                </a:xfrm>
                <a:custGeom>
                  <a:avLst/>
                  <a:gdLst>
                    <a:gd name="T0" fmla="*/ 365 w 510"/>
                    <a:gd name="T1" fmla="*/ 341 h 359"/>
                    <a:gd name="T2" fmla="*/ 356 w 510"/>
                    <a:gd name="T3" fmla="*/ 332 h 359"/>
                    <a:gd name="T4" fmla="*/ 342 w 510"/>
                    <a:gd name="T5" fmla="*/ 332 h 359"/>
                    <a:gd name="T6" fmla="*/ 319 w 510"/>
                    <a:gd name="T7" fmla="*/ 327 h 359"/>
                    <a:gd name="T8" fmla="*/ 310 w 510"/>
                    <a:gd name="T9" fmla="*/ 327 h 359"/>
                    <a:gd name="T10" fmla="*/ 301 w 510"/>
                    <a:gd name="T11" fmla="*/ 327 h 359"/>
                    <a:gd name="T12" fmla="*/ 278 w 510"/>
                    <a:gd name="T13" fmla="*/ 332 h 359"/>
                    <a:gd name="T14" fmla="*/ 233 w 510"/>
                    <a:gd name="T15" fmla="*/ 318 h 359"/>
                    <a:gd name="T16" fmla="*/ 233 w 510"/>
                    <a:gd name="T17" fmla="*/ 300 h 359"/>
                    <a:gd name="T18" fmla="*/ 269 w 510"/>
                    <a:gd name="T19" fmla="*/ 314 h 359"/>
                    <a:gd name="T20" fmla="*/ 296 w 510"/>
                    <a:gd name="T21" fmla="*/ 309 h 359"/>
                    <a:gd name="T22" fmla="*/ 283 w 510"/>
                    <a:gd name="T23" fmla="*/ 277 h 359"/>
                    <a:gd name="T24" fmla="*/ 246 w 510"/>
                    <a:gd name="T25" fmla="*/ 286 h 359"/>
                    <a:gd name="T26" fmla="*/ 223 w 510"/>
                    <a:gd name="T27" fmla="*/ 286 h 359"/>
                    <a:gd name="T28" fmla="*/ 210 w 510"/>
                    <a:gd name="T29" fmla="*/ 296 h 359"/>
                    <a:gd name="T30" fmla="*/ 196 w 510"/>
                    <a:gd name="T31" fmla="*/ 291 h 359"/>
                    <a:gd name="T32" fmla="*/ 178 w 510"/>
                    <a:gd name="T33" fmla="*/ 291 h 359"/>
                    <a:gd name="T34" fmla="*/ 178 w 510"/>
                    <a:gd name="T35" fmla="*/ 314 h 359"/>
                    <a:gd name="T36" fmla="*/ 178 w 510"/>
                    <a:gd name="T37" fmla="*/ 346 h 359"/>
                    <a:gd name="T38" fmla="*/ 160 w 510"/>
                    <a:gd name="T39" fmla="*/ 314 h 359"/>
                    <a:gd name="T40" fmla="*/ 169 w 510"/>
                    <a:gd name="T41" fmla="*/ 296 h 359"/>
                    <a:gd name="T42" fmla="*/ 151 w 510"/>
                    <a:gd name="T43" fmla="*/ 264 h 359"/>
                    <a:gd name="T44" fmla="*/ 173 w 510"/>
                    <a:gd name="T45" fmla="*/ 227 h 359"/>
                    <a:gd name="T46" fmla="*/ 173 w 510"/>
                    <a:gd name="T47" fmla="*/ 218 h 359"/>
                    <a:gd name="T48" fmla="*/ 169 w 510"/>
                    <a:gd name="T49" fmla="*/ 218 h 359"/>
                    <a:gd name="T50" fmla="*/ 132 w 510"/>
                    <a:gd name="T51" fmla="*/ 246 h 359"/>
                    <a:gd name="T52" fmla="*/ 110 w 510"/>
                    <a:gd name="T53" fmla="*/ 232 h 359"/>
                    <a:gd name="T54" fmla="*/ 114 w 510"/>
                    <a:gd name="T55" fmla="*/ 218 h 359"/>
                    <a:gd name="T56" fmla="*/ 105 w 510"/>
                    <a:gd name="T57" fmla="*/ 209 h 359"/>
                    <a:gd name="T58" fmla="*/ 96 w 510"/>
                    <a:gd name="T59" fmla="*/ 214 h 359"/>
                    <a:gd name="T60" fmla="*/ 46 w 510"/>
                    <a:gd name="T61" fmla="*/ 205 h 359"/>
                    <a:gd name="T62" fmla="*/ 55 w 510"/>
                    <a:gd name="T63" fmla="*/ 159 h 359"/>
                    <a:gd name="T64" fmla="*/ 64 w 510"/>
                    <a:gd name="T65" fmla="*/ 168 h 359"/>
                    <a:gd name="T66" fmla="*/ 91 w 510"/>
                    <a:gd name="T67" fmla="*/ 132 h 359"/>
                    <a:gd name="T68" fmla="*/ 0 w 510"/>
                    <a:gd name="T69" fmla="*/ 41 h 359"/>
                    <a:gd name="T70" fmla="*/ 50 w 510"/>
                    <a:gd name="T71" fmla="*/ 0 h 359"/>
                    <a:gd name="T72" fmla="*/ 114 w 510"/>
                    <a:gd name="T73" fmla="*/ 23 h 359"/>
                    <a:gd name="T74" fmla="*/ 178 w 510"/>
                    <a:gd name="T75" fmla="*/ 9 h 359"/>
                    <a:gd name="T76" fmla="*/ 260 w 510"/>
                    <a:gd name="T77" fmla="*/ 41 h 359"/>
                    <a:gd name="T78" fmla="*/ 328 w 510"/>
                    <a:gd name="T79" fmla="*/ 50 h 359"/>
                    <a:gd name="T80" fmla="*/ 319 w 510"/>
                    <a:gd name="T81" fmla="*/ 77 h 359"/>
                    <a:gd name="T82" fmla="*/ 324 w 510"/>
                    <a:gd name="T83" fmla="*/ 86 h 359"/>
                    <a:gd name="T84" fmla="*/ 401 w 510"/>
                    <a:gd name="T85" fmla="*/ 27 h 359"/>
                    <a:gd name="T86" fmla="*/ 438 w 510"/>
                    <a:gd name="T87" fmla="*/ 46 h 359"/>
                    <a:gd name="T88" fmla="*/ 447 w 510"/>
                    <a:gd name="T89" fmla="*/ 46 h 359"/>
                    <a:gd name="T90" fmla="*/ 451 w 510"/>
                    <a:gd name="T91" fmla="*/ 59 h 359"/>
                    <a:gd name="T92" fmla="*/ 469 w 510"/>
                    <a:gd name="T93" fmla="*/ 118 h 359"/>
                    <a:gd name="T94" fmla="*/ 501 w 510"/>
                    <a:gd name="T95" fmla="*/ 141 h 359"/>
                    <a:gd name="T96" fmla="*/ 506 w 510"/>
                    <a:gd name="T97" fmla="*/ 209 h 359"/>
                    <a:gd name="T98" fmla="*/ 483 w 510"/>
                    <a:gd name="T99" fmla="*/ 277 h 359"/>
                    <a:gd name="T100" fmla="*/ 492 w 510"/>
                    <a:gd name="T101" fmla="*/ 305 h 359"/>
                    <a:gd name="T102" fmla="*/ 438 w 510"/>
                    <a:gd name="T103" fmla="*/ 346 h 359"/>
                    <a:gd name="T104" fmla="*/ 369 w 510"/>
                    <a:gd name="T105" fmla="*/ 35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0" h="359">
                      <a:moveTo>
                        <a:pt x="369" y="359"/>
                      </a:moveTo>
                      <a:lnTo>
                        <a:pt x="365" y="355"/>
                      </a:lnTo>
                      <a:lnTo>
                        <a:pt x="365" y="346"/>
                      </a:lnTo>
                      <a:lnTo>
                        <a:pt x="365" y="341"/>
                      </a:lnTo>
                      <a:lnTo>
                        <a:pt x="365" y="332"/>
                      </a:lnTo>
                      <a:lnTo>
                        <a:pt x="360" y="332"/>
                      </a:lnTo>
                      <a:lnTo>
                        <a:pt x="360" y="332"/>
                      </a:lnTo>
                      <a:lnTo>
                        <a:pt x="356" y="332"/>
                      </a:lnTo>
                      <a:lnTo>
                        <a:pt x="346" y="332"/>
                      </a:lnTo>
                      <a:lnTo>
                        <a:pt x="342" y="332"/>
                      </a:lnTo>
                      <a:lnTo>
                        <a:pt x="342" y="332"/>
                      </a:lnTo>
                      <a:lnTo>
                        <a:pt x="342" y="332"/>
                      </a:lnTo>
                      <a:lnTo>
                        <a:pt x="337" y="332"/>
                      </a:lnTo>
                      <a:lnTo>
                        <a:pt x="333" y="332"/>
                      </a:lnTo>
                      <a:lnTo>
                        <a:pt x="328" y="327"/>
                      </a:lnTo>
                      <a:lnTo>
                        <a:pt x="319" y="327"/>
                      </a:lnTo>
                      <a:lnTo>
                        <a:pt x="315" y="323"/>
                      </a:lnTo>
                      <a:lnTo>
                        <a:pt x="315" y="327"/>
                      </a:lnTo>
                      <a:lnTo>
                        <a:pt x="315" y="327"/>
                      </a:lnTo>
                      <a:lnTo>
                        <a:pt x="310" y="327"/>
                      </a:lnTo>
                      <a:lnTo>
                        <a:pt x="310" y="327"/>
                      </a:lnTo>
                      <a:lnTo>
                        <a:pt x="310" y="327"/>
                      </a:lnTo>
                      <a:lnTo>
                        <a:pt x="305" y="327"/>
                      </a:lnTo>
                      <a:lnTo>
                        <a:pt x="301" y="327"/>
                      </a:lnTo>
                      <a:lnTo>
                        <a:pt x="296" y="327"/>
                      </a:lnTo>
                      <a:lnTo>
                        <a:pt x="292" y="327"/>
                      </a:lnTo>
                      <a:lnTo>
                        <a:pt x="287" y="327"/>
                      </a:lnTo>
                      <a:lnTo>
                        <a:pt x="278" y="332"/>
                      </a:lnTo>
                      <a:lnTo>
                        <a:pt x="274" y="332"/>
                      </a:lnTo>
                      <a:lnTo>
                        <a:pt x="260" y="327"/>
                      </a:lnTo>
                      <a:lnTo>
                        <a:pt x="246" y="323"/>
                      </a:lnTo>
                      <a:lnTo>
                        <a:pt x="233" y="318"/>
                      </a:lnTo>
                      <a:lnTo>
                        <a:pt x="228" y="309"/>
                      </a:lnTo>
                      <a:lnTo>
                        <a:pt x="228" y="305"/>
                      </a:lnTo>
                      <a:lnTo>
                        <a:pt x="233" y="305"/>
                      </a:lnTo>
                      <a:lnTo>
                        <a:pt x="233" y="300"/>
                      </a:lnTo>
                      <a:lnTo>
                        <a:pt x="237" y="300"/>
                      </a:lnTo>
                      <a:lnTo>
                        <a:pt x="251" y="300"/>
                      </a:lnTo>
                      <a:lnTo>
                        <a:pt x="260" y="305"/>
                      </a:lnTo>
                      <a:lnTo>
                        <a:pt x="269" y="314"/>
                      </a:lnTo>
                      <a:lnTo>
                        <a:pt x="278" y="314"/>
                      </a:lnTo>
                      <a:lnTo>
                        <a:pt x="283" y="314"/>
                      </a:lnTo>
                      <a:lnTo>
                        <a:pt x="292" y="314"/>
                      </a:lnTo>
                      <a:lnTo>
                        <a:pt x="296" y="309"/>
                      </a:lnTo>
                      <a:lnTo>
                        <a:pt x="296" y="300"/>
                      </a:lnTo>
                      <a:lnTo>
                        <a:pt x="296" y="291"/>
                      </a:lnTo>
                      <a:lnTo>
                        <a:pt x="292" y="282"/>
                      </a:lnTo>
                      <a:lnTo>
                        <a:pt x="283" y="277"/>
                      </a:lnTo>
                      <a:lnTo>
                        <a:pt x="274" y="273"/>
                      </a:lnTo>
                      <a:lnTo>
                        <a:pt x="264" y="277"/>
                      </a:lnTo>
                      <a:lnTo>
                        <a:pt x="255" y="282"/>
                      </a:lnTo>
                      <a:lnTo>
                        <a:pt x="246" y="286"/>
                      </a:lnTo>
                      <a:lnTo>
                        <a:pt x="233" y="291"/>
                      </a:lnTo>
                      <a:lnTo>
                        <a:pt x="228" y="291"/>
                      </a:lnTo>
                      <a:lnTo>
                        <a:pt x="228" y="286"/>
                      </a:lnTo>
                      <a:lnTo>
                        <a:pt x="223" y="286"/>
                      </a:lnTo>
                      <a:lnTo>
                        <a:pt x="219" y="286"/>
                      </a:lnTo>
                      <a:lnTo>
                        <a:pt x="214" y="286"/>
                      </a:lnTo>
                      <a:lnTo>
                        <a:pt x="214" y="291"/>
                      </a:lnTo>
                      <a:lnTo>
                        <a:pt x="210" y="296"/>
                      </a:lnTo>
                      <a:lnTo>
                        <a:pt x="205" y="296"/>
                      </a:lnTo>
                      <a:lnTo>
                        <a:pt x="201" y="296"/>
                      </a:lnTo>
                      <a:lnTo>
                        <a:pt x="201" y="291"/>
                      </a:lnTo>
                      <a:lnTo>
                        <a:pt x="196" y="291"/>
                      </a:lnTo>
                      <a:lnTo>
                        <a:pt x="192" y="291"/>
                      </a:lnTo>
                      <a:lnTo>
                        <a:pt x="192" y="291"/>
                      </a:lnTo>
                      <a:lnTo>
                        <a:pt x="187" y="291"/>
                      </a:lnTo>
                      <a:lnTo>
                        <a:pt x="178" y="291"/>
                      </a:lnTo>
                      <a:lnTo>
                        <a:pt x="178" y="300"/>
                      </a:lnTo>
                      <a:lnTo>
                        <a:pt x="178" y="305"/>
                      </a:lnTo>
                      <a:lnTo>
                        <a:pt x="178" y="309"/>
                      </a:lnTo>
                      <a:lnTo>
                        <a:pt x="178" y="314"/>
                      </a:lnTo>
                      <a:lnTo>
                        <a:pt x="178" y="323"/>
                      </a:lnTo>
                      <a:lnTo>
                        <a:pt x="178" y="323"/>
                      </a:lnTo>
                      <a:lnTo>
                        <a:pt x="178" y="346"/>
                      </a:lnTo>
                      <a:lnTo>
                        <a:pt x="178" y="346"/>
                      </a:lnTo>
                      <a:lnTo>
                        <a:pt x="169" y="346"/>
                      </a:lnTo>
                      <a:lnTo>
                        <a:pt x="164" y="336"/>
                      </a:lnTo>
                      <a:lnTo>
                        <a:pt x="160" y="327"/>
                      </a:lnTo>
                      <a:lnTo>
                        <a:pt x="160" y="314"/>
                      </a:lnTo>
                      <a:lnTo>
                        <a:pt x="160" y="309"/>
                      </a:lnTo>
                      <a:lnTo>
                        <a:pt x="164" y="305"/>
                      </a:lnTo>
                      <a:lnTo>
                        <a:pt x="169" y="300"/>
                      </a:lnTo>
                      <a:lnTo>
                        <a:pt x="169" y="296"/>
                      </a:lnTo>
                      <a:lnTo>
                        <a:pt x="164" y="286"/>
                      </a:lnTo>
                      <a:lnTo>
                        <a:pt x="160" y="277"/>
                      </a:lnTo>
                      <a:lnTo>
                        <a:pt x="155" y="273"/>
                      </a:lnTo>
                      <a:lnTo>
                        <a:pt x="151" y="264"/>
                      </a:lnTo>
                      <a:lnTo>
                        <a:pt x="155" y="255"/>
                      </a:lnTo>
                      <a:lnTo>
                        <a:pt x="164" y="246"/>
                      </a:lnTo>
                      <a:lnTo>
                        <a:pt x="169" y="236"/>
                      </a:lnTo>
                      <a:lnTo>
                        <a:pt x="173" y="227"/>
                      </a:lnTo>
                      <a:lnTo>
                        <a:pt x="173" y="227"/>
                      </a:lnTo>
                      <a:lnTo>
                        <a:pt x="173" y="223"/>
                      </a:lnTo>
                      <a:lnTo>
                        <a:pt x="173" y="223"/>
                      </a:lnTo>
                      <a:lnTo>
                        <a:pt x="173" y="218"/>
                      </a:lnTo>
                      <a:lnTo>
                        <a:pt x="173" y="218"/>
                      </a:lnTo>
                      <a:lnTo>
                        <a:pt x="173" y="218"/>
                      </a:lnTo>
                      <a:lnTo>
                        <a:pt x="169" y="218"/>
                      </a:lnTo>
                      <a:lnTo>
                        <a:pt x="169" y="218"/>
                      </a:lnTo>
                      <a:lnTo>
                        <a:pt x="160" y="223"/>
                      </a:lnTo>
                      <a:lnTo>
                        <a:pt x="151" y="232"/>
                      </a:lnTo>
                      <a:lnTo>
                        <a:pt x="141" y="241"/>
                      </a:lnTo>
                      <a:lnTo>
                        <a:pt x="132" y="246"/>
                      </a:lnTo>
                      <a:lnTo>
                        <a:pt x="128" y="246"/>
                      </a:lnTo>
                      <a:lnTo>
                        <a:pt x="119" y="241"/>
                      </a:lnTo>
                      <a:lnTo>
                        <a:pt x="114" y="236"/>
                      </a:lnTo>
                      <a:lnTo>
                        <a:pt x="110" y="232"/>
                      </a:lnTo>
                      <a:lnTo>
                        <a:pt x="110" y="227"/>
                      </a:lnTo>
                      <a:lnTo>
                        <a:pt x="114" y="223"/>
                      </a:lnTo>
                      <a:lnTo>
                        <a:pt x="114" y="223"/>
                      </a:lnTo>
                      <a:lnTo>
                        <a:pt x="114" y="218"/>
                      </a:lnTo>
                      <a:lnTo>
                        <a:pt x="114" y="214"/>
                      </a:lnTo>
                      <a:lnTo>
                        <a:pt x="110" y="214"/>
                      </a:lnTo>
                      <a:lnTo>
                        <a:pt x="110" y="209"/>
                      </a:lnTo>
                      <a:lnTo>
                        <a:pt x="105" y="209"/>
                      </a:lnTo>
                      <a:lnTo>
                        <a:pt x="105" y="209"/>
                      </a:lnTo>
                      <a:lnTo>
                        <a:pt x="100" y="209"/>
                      </a:lnTo>
                      <a:lnTo>
                        <a:pt x="100" y="214"/>
                      </a:lnTo>
                      <a:lnTo>
                        <a:pt x="96" y="214"/>
                      </a:lnTo>
                      <a:lnTo>
                        <a:pt x="82" y="214"/>
                      </a:lnTo>
                      <a:lnTo>
                        <a:pt x="69" y="214"/>
                      </a:lnTo>
                      <a:lnTo>
                        <a:pt x="55" y="209"/>
                      </a:lnTo>
                      <a:lnTo>
                        <a:pt x="46" y="205"/>
                      </a:lnTo>
                      <a:lnTo>
                        <a:pt x="46" y="191"/>
                      </a:lnTo>
                      <a:lnTo>
                        <a:pt x="46" y="173"/>
                      </a:lnTo>
                      <a:lnTo>
                        <a:pt x="46" y="164"/>
                      </a:lnTo>
                      <a:lnTo>
                        <a:pt x="55" y="159"/>
                      </a:lnTo>
                      <a:lnTo>
                        <a:pt x="59" y="159"/>
                      </a:lnTo>
                      <a:lnTo>
                        <a:pt x="59" y="164"/>
                      </a:lnTo>
                      <a:lnTo>
                        <a:pt x="59" y="168"/>
                      </a:lnTo>
                      <a:lnTo>
                        <a:pt x="64" y="168"/>
                      </a:lnTo>
                      <a:lnTo>
                        <a:pt x="73" y="164"/>
                      </a:lnTo>
                      <a:lnTo>
                        <a:pt x="82" y="155"/>
                      </a:lnTo>
                      <a:lnTo>
                        <a:pt x="87" y="146"/>
                      </a:lnTo>
                      <a:lnTo>
                        <a:pt x="91" y="132"/>
                      </a:lnTo>
                      <a:lnTo>
                        <a:pt x="78" y="100"/>
                      </a:lnTo>
                      <a:lnTo>
                        <a:pt x="46" y="86"/>
                      </a:lnTo>
                      <a:lnTo>
                        <a:pt x="14" y="68"/>
                      </a:lnTo>
                      <a:lnTo>
                        <a:pt x="0" y="41"/>
                      </a:lnTo>
                      <a:lnTo>
                        <a:pt x="5" y="23"/>
                      </a:lnTo>
                      <a:lnTo>
                        <a:pt x="14" y="9"/>
                      </a:lnTo>
                      <a:lnTo>
                        <a:pt x="32" y="5"/>
                      </a:lnTo>
                      <a:lnTo>
                        <a:pt x="50" y="0"/>
                      </a:lnTo>
                      <a:lnTo>
                        <a:pt x="64" y="5"/>
                      </a:lnTo>
                      <a:lnTo>
                        <a:pt x="78" y="9"/>
                      </a:lnTo>
                      <a:lnTo>
                        <a:pt x="91" y="18"/>
                      </a:lnTo>
                      <a:lnTo>
                        <a:pt x="114" y="23"/>
                      </a:lnTo>
                      <a:lnTo>
                        <a:pt x="128" y="23"/>
                      </a:lnTo>
                      <a:lnTo>
                        <a:pt x="146" y="14"/>
                      </a:lnTo>
                      <a:lnTo>
                        <a:pt x="160" y="9"/>
                      </a:lnTo>
                      <a:lnTo>
                        <a:pt x="178" y="9"/>
                      </a:lnTo>
                      <a:lnTo>
                        <a:pt x="201" y="14"/>
                      </a:lnTo>
                      <a:lnTo>
                        <a:pt x="219" y="23"/>
                      </a:lnTo>
                      <a:lnTo>
                        <a:pt x="237" y="32"/>
                      </a:lnTo>
                      <a:lnTo>
                        <a:pt x="260" y="41"/>
                      </a:lnTo>
                      <a:lnTo>
                        <a:pt x="278" y="41"/>
                      </a:lnTo>
                      <a:lnTo>
                        <a:pt x="296" y="41"/>
                      </a:lnTo>
                      <a:lnTo>
                        <a:pt x="315" y="46"/>
                      </a:lnTo>
                      <a:lnTo>
                        <a:pt x="328" y="50"/>
                      </a:lnTo>
                      <a:lnTo>
                        <a:pt x="328" y="55"/>
                      </a:lnTo>
                      <a:lnTo>
                        <a:pt x="324" y="64"/>
                      </a:lnTo>
                      <a:lnTo>
                        <a:pt x="319" y="68"/>
                      </a:lnTo>
                      <a:lnTo>
                        <a:pt x="319" y="77"/>
                      </a:lnTo>
                      <a:lnTo>
                        <a:pt x="319" y="82"/>
                      </a:lnTo>
                      <a:lnTo>
                        <a:pt x="324" y="82"/>
                      </a:lnTo>
                      <a:lnTo>
                        <a:pt x="324" y="86"/>
                      </a:lnTo>
                      <a:lnTo>
                        <a:pt x="324" y="86"/>
                      </a:lnTo>
                      <a:lnTo>
                        <a:pt x="346" y="77"/>
                      </a:lnTo>
                      <a:lnTo>
                        <a:pt x="360" y="55"/>
                      </a:lnTo>
                      <a:lnTo>
                        <a:pt x="374" y="36"/>
                      </a:lnTo>
                      <a:lnTo>
                        <a:pt x="401" y="27"/>
                      </a:lnTo>
                      <a:lnTo>
                        <a:pt x="410" y="32"/>
                      </a:lnTo>
                      <a:lnTo>
                        <a:pt x="419" y="36"/>
                      </a:lnTo>
                      <a:lnTo>
                        <a:pt x="428" y="41"/>
                      </a:lnTo>
                      <a:lnTo>
                        <a:pt x="438" y="46"/>
                      </a:lnTo>
                      <a:lnTo>
                        <a:pt x="442" y="46"/>
                      </a:lnTo>
                      <a:lnTo>
                        <a:pt x="442" y="46"/>
                      </a:lnTo>
                      <a:lnTo>
                        <a:pt x="442" y="46"/>
                      </a:lnTo>
                      <a:lnTo>
                        <a:pt x="447" y="46"/>
                      </a:lnTo>
                      <a:lnTo>
                        <a:pt x="447" y="46"/>
                      </a:lnTo>
                      <a:lnTo>
                        <a:pt x="447" y="46"/>
                      </a:lnTo>
                      <a:lnTo>
                        <a:pt x="447" y="46"/>
                      </a:lnTo>
                      <a:lnTo>
                        <a:pt x="451" y="59"/>
                      </a:lnTo>
                      <a:lnTo>
                        <a:pt x="456" y="77"/>
                      </a:lnTo>
                      <a:lnTo>
                        <a:pt x="460" y="91"/>
                      </a:lnTo>
                      <a:lnTo>
                        <a:pt x="465" y="109"/>
                      </a:lnTo>
                      <a:lnTo>
                        <a:pt x="469" y="118"/>
                      </a:lnTo>
                      <a:lnTo>
                        <a:pt x="479" y="123"/>
                      </a:lnTo>
                      <a:lnTo>
                        <a:pt x="488" y="127"/>
                      </a:lnTo>
                      <a:lnTo>
                        <a:pt x="497" y="132"/>
                      </a:lnTo>
                      <a:lnTo>
                        <a:pt x="501" y="141"/>
                      </a:lnTo>
                      <a:lnTo>
                        <a:pt x="506" y="155"/>
                      </a:lnTo>
                      <a:lnTo>
                        <a:pt x="510" y="168"/>
                      </a:lnTo>
                      <a:lnTo>
                        <a:pt x="510" y="182"/>
                      </a:lnTo>
                      <a:lnTo>
                        <a:pt x="506" y="209"/>
                      </a:lnTo>
                      <a:lnTo>
                        <a:pt x="497" y="227"/>
                      </a:lnTo>
                      <a:lnTo>
                        <a:pt x="488" y="246"/>
                      </a:lnTo>
                      <a:lnTo>
                        <a:pt x="483" y="268"/>
                      </a:lnTo>
                      <a:lnTo>
                        <a:pt x="483" y="277"/>
                      </a:lnTo>
                      <a:lnTo>
                        <a:pt x="488" y="286"/>
                      </a:lnTo>
                      <a:lnTo>
                        <a:pt x="497" y="291"/>
                      </a:lnTo>
                      <a:lnTo>
                        <a:pt x="501" y="291"/>
                      </a:lnTo>
                      <a:lnTo>
                        <a:pt x="492" y="305"/>
                      </a:lnTo>
                      <a:lnTo>
                        <a:pt x="483" y="318"/>
                      </a:lnTo>
                      <a:lnTo>
                        <a:pt x="474" y="332"/>
                      </a:lnTo>
                      <a:lnTo>
                        <a:pt x="460" y="341"/>
                      </a:lnTo>
                      <a:lnTo>
                        <a:pt x="438" y="346"/>
                      </a:lnTo>
                      <a:lnTo>
                        <a:pt x="415" y="346"/>
                      </a:lnTo>
                      <a:lnTo>
                        <a:pt x="392" y="346"/>
                      </a:lnTo>
                      <a:lnTo>
                        <a:pt x="369" y="355"/>
                      </a:lnTo>
                      <a:lnTo>
                        <a:pt x="369" y="355"/>
                      </a:lnTo>
                      <a:lnTo>
                        <a:pt x="369" y="359"/>
                      </a:lnTo>
                      <a:lnTo>
                        <a:pt x="369" y="359"/>
                      </a:lnTo>
                      <a:close/>
                    </a:path>
                  </a:pathLst>
                </a:custGeom>
                <a:solidFill>
                  <a:schemeClr val="accent2"/>
                </a:solid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lIns="90000" rIns="18000" anchor="ctr"/>
                <a:lstStyle/>
                <a:p>
                  <a:pPr defTabSz="913204" fontAlgn="auto">
                    <a:spcBef>
                      <a:spcPts val="0"/>
                    </a:spcBef>
                    <a:spcAft>
                      <a:spcPts val="0"/>
                    </a:spcAft>
                    <a:defRPr/>
                  </a:pPr>
                  <a:endParaRPr lang="en-US">
                    <a:solidFill>
                      <a:srgbClr val="000000"/>
                    </a:solidFill>
                    <a:latin typeface="+mn-lt"/>
                    <a:cs typeface="+mn-cs"/>
                  </a:endParaRPr>
                </a:p>
              </p:txBody>
            </p:sp>
            <p:sp>
              <p:nvSpPr>
                <p:cNvPr id="97" name="Freeform 229">
                  <a:extLst>
                    <a:ext uri="{FF2B5EF4-FFF2-40B4-BE49-F238E27FC236}">
                      <a16:creationId xmlns="" xmlns:a16="http://schemas.microsoft.com/office/drawing/2014/main" id="{BEF55CD3-02F5-4F45-8F76-F7E241053CB3}"/>
                    </a:ext>
                  </a:extLst>
                </p:cNvPr>
                <p:cNvSpPr>
                  <a:spLocks noChangeAspect="1"/>
                </p:cNvSpPr>
                <p:nvPr/>
              </p:nvSpPr>
              <p:spPr bwMode="auto">
                <a:xfrm>
                  <a:off x="1231" y="1164"/>
                  <a:ext cx="387" cy="486"/>
                </a:xfrm>
                <a:custGeom>
                  <a:avLst/>
                  <a:gdLst>
                    <a:gd name="T0" fmla="*/ 296 w 387"/>
                    <a:gd name="T1" fmla="*/ 431 h 486"/>
                    <a:gd name="T2" fmla="*/ 282 w 387"/>
                    <a:gd name="T3" fmla="*/ 422 h 486"/>
                    <a:gd name="T4" fmla="*/ 259 w 387"/>
                    <a:gd name="T5" fmla="*/ 409 h 486"/>
                    <a:gd name="T6" fmla="*/ 223 w 387"/>
                    <a:gd name="T7" fmla="*/ 409 h 486"/>
                    <a:gd name="T8" fmla="*/ 196 w 387"/>
                    <a:gd name="T9" fmla="*/ 422 h 486"/>
                    <a:gd name="T10" fmla="*/ 150 w 387"/>
                    <a:gd name="T11" fmla="*/ 441 h 486"/>
                    <a:gd name="T12" fmla="*/ 95 w 387"/>
                    <a:gd name="T13" fmla="*/ 454 h 486"/>
                    <a:gd name="T14" fmla="*/ 68 w 387"/>
                    <a:gd name="T15" fmla="*/ 472 h 486"/>
                    <a:gd name="T16" fmla="*/ 59 w 387"/>
                    <a:gd name="T17" fmla="*/ 481 h 486"/>
                    <a:gd name="T18" fmla="*/ 50 w 387"/>
                    <a:gd name="T19" fmla="*/ 486 h 486"/>
                    <a:gd name="T20" fmla="*/ 36 w 387"/>
                    <a:gd name="T21" fmla="*/ 472 h 486"/>
                    <a:gd name="T22" fmla="*/ 41 w 387"/>
                    <a:gd name="T23" fmla="*/ 441 h 486"/>
                    <a:gd name="T24" fmla="*/ 59 w 387"/>
                    <a:gd name="T25" fmla="*/ 404 h 486"/>
                    <a:gd name="T26" fmla="*/ 63 w 387"/>
                    <a:gd name="T27" fmla="*/ 363 h 486"/>
                    <a:gd name="T28" fmla="*/ 54 w 387"/>
                    <a:gd name="T29" fmla="*/ 336 h 486"/>
                    <a:gd name="T30" fmla="*/ 41 w 387"/>
                    <a:gd name="T31" fmla="*/ 322 h 486"/>
                    <a:gd name="T32" fmla="*/ 22 w 387"/>
                    <a:gd name="T33" fmla="*/ 313 h 486"/>
                    <a:gd name="T34" fmla="*/ 13 w 387"/>
                    <a:gd name="T35" fmla="*/ 286 h 486"/>
                    <a:gd name="T36" fmla="*/ 4 w 387"/>
                    <a:gd name="T37" fmla="*/ 254 h 486"/>
                    <a:gd name="T38" fmla="*/ 9 w 387"/>
                    <a:gd name="T39" fmla="*/ 218 h 486"/>
                    <a:gd name="T40" fmla="*/ 59 w 387"/>
                    <a:gd name="T41" fmla="*/ 191 h 486"/>
                    <a:gd name="T42" fmla="*/ 95 w 387"/>
                    <a:gd name="T43" fmla="*/ 159 h 486"/>
                    <a:gd name="T44" fmla="*/ 109 w 387"/>
                    <a:gd name="T45" fmla="*/ 113 h 486"/>
                    <a:gd name="T46" fmla="*/ 114 w 387"/>
                    <a:gd name="T47" fmla="*/ 86 h 486"/>
                    <a:gd name="T48" fmla="*/ 114 w 387"/>
                    <a:gd name="T49" fmla="*/ 72 h 486"/>
                    <a:gd name="T50" fmla="*/ 109 w 387"/>
                    <a:gd name="T51" fmla="*/ 50 h 486"/>
                    <a:gd name="T52" fmla="*/ 95 w 387"/>
                    <a:gd name="T53" fmla="*/ 27 h 486"/>
                    <a:gd name="T54" fmla="*/ 104 w 387"/>
                    <a:gd name="T55" fmla="*/ 13 h 486"/>
                    <a:gd name="T56" fmla="*/ 118 w 387"/>
                    <a:gd name="T57" fmla="*/ 9 h 486"/>
                    <a:gd name="T58" fmla="*/ 123 w 387"/>
                    <a:gd name="T59" fmla="*/ 0 h 486"/>
                    <a:gd name="T60" fmla="*/ 136 w 387"/>
                    <a:gd name="T61" fmla="*/ 0 h 486"/>
                    <a:gd name="T62" fmla="*/ 150 w 387"/>
                    <a:gd name="T63" fmla="*/ 4 h 486"/>
                    <a:gd name="T64" fmla="*/ 141 w 387"/>
                    <a:gd name="T65" fmla="*/ 27 h 486"/>
                    <a:gd name="T66" fmla="*/ 145 w 387"/>
                    <a:gd name="T67" fmla="*/ 41 h 486"/>
                    <a:gd name="T68" fmla="*/ 164 w 387"/>
                    <a:gd name="T69" fmla="*/ 41 h 486"/>
                    <a:gd name="T70" fmla="*/ 191 w 387"/>
                    <a:gd name="T71" fmla="*/ 45 h 486"/>
                    <a:gd name="T72" fmla="*/ 227 w 387"/>
                    <a:gd name="T73" fmla="*/ 45 h 486"/>
                    <a:gd name="T74" fmla="*/ 250 w 387"/>
                    <a:gd name="T75" fmla="*/ 45 h 486"/>
                    <a:gd name="T76" fmla="*/ 246 w 387"/>
                    <a:gd name="T77" fmla="*/ 63 h 486"/>
                    <a:gd name="T78" fmla="*/ 255 w 387"/>
                    <a:gd name="T79" fmla="*/ 81 h 486"/>
                    <a:gd name="T80" fmla="*/ 273 w 387"/>
                    <a:gd name="T81" fmla="*/ 95 h 486"/>
                    <a:gd name="T82" fmla="*/ 296 w 387"/>
                    <a:gd name="T83" fmla="*/ 77 h 486"/>
                    <a:gd name="T84" fmla="*/ 319 w 387"/>
                    <a:gd name="T85" fmla="*/ 63 h 486"/>
                    <a:gd name="T86" fmla="*/ 360 w 387"/>
                    <a:gd name="T87" fmla="*/ 72 h 486"/>
                    <a:gd name="T88" fmla="*/ 387 w 387"/>
                    <a:gd name="T89" fmla="*/ 95 h 486"/>
                    <a:gd name="T90" fmla="*/ 382 w 387"/>
                    <a:gd name="T91" fmla="*/ 104 h 486"/>
                    <a:gd name="T92" fmla="*/ 382 w 387"/>
                    <a:gd name="T93" fmla="*/ 127 h 486"/>
                    <a:gd name="T94" fmla="*/ 382 w 387"/>
                    <a:gd name="T95" fmla="*/ 141 h 486"/>
                    <a:gd name="T96" fmla="*/ 382 w 387"/>
                    <a:gd name="T97" fmla="*/ 159 h 486"/>
                    <a:gd name="T98" fmla="*/ 378 w 387"/>
                    <a:gd name="T99" fmla="*/ 177 h 486"/>
                    <a:gd name="T100" fmla="*/ 373 w 387"/>
                    <a:gd name="T101" fmla="*/ 200 h 486"/>
                    <a:gd name="T102" fmla="*/ 382 w 387"/>
                    <a:gd name="T103" fmla="*/ 263 h 486"/>
                    <a:gd name="T104" fmla="*/ 387 w 387"/>
                    <a:gd name="T105" fmla="*/ 318 h 486"/>
                    <a:gd name="T106" fmla="*/ 355 w 387"/>
                    <a:gd name="T107" fmla="*/ 341 h 486"/>
                    <a:gd name="T108" fmla="*/ 323 w 387"/>
                    <a:gd name="T109" fmla="*/ 391 h 486"/>
                    <a:gd name="T110" fmla="*/ 332 w 387"/>
                    <a:gd name="T111" fmla="*/ 404 h 486"/>
                    <a:gd name="T112" fmla="*/ 337 w 387"/>
                    <a:gd name="T113" fmla="*/ 418 h 486"/>
                    <a:gd name="T114" fmla="*/ 319 w 387"/>
                    <a:gd name="T115" fmla="*/ 431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87" h="486">
                      <a:moveTo>
                        <a:pt x="319" y="431"/>
                      </a:moveTo>
                      <a:lnTo>
                        <a:pt x="296" y="431"/>
                      </a:lnTo>
                      <a:lnTo>
                        <a:pt x="296" y="431"/>
                      </a:lnTo>
                      <a:lnTo>
                        <a:pt x="282" y="422"/>
                      </a:lnTo>
                      <a:lnTo>
                        <a:pt x="273" y="413"/>
                      </a:lnTo>
                      <a:lnTo>
                        <a:pt x="259" y="409"/>
                      </a:lnTo>
                      <a:lnTo>
                        <a:pt x="241" y="404"/>
                      </a:lnTo>
                      <a:lnTo>
                        <a:pt x="223" y="409"/>
                      </a:lnTo>
                      <a:lnTo>
                        <a:pt x="209" y="413"/>
                      </a:lnTo>
                      <a:lnTo>
                        <a:pt x="196" y="422"/>
                      </a:lnTo>
                      <a:lnTo>
                        <a:pt x="182" y="427"/>
                      </a:lnTo>
                      <a:lnTo>
                        <a:pt x="150" y="441"/>
                      </a:lnTo>
                      <a:lnTo>
                        <a:pt x="123" y="445"/>
                      </a:lnTo>
                      <a:lnTo>
                        <a:pt x="95" y="454"/>
                      </a:lnTo>
                      <a:lnTo>
                        <a:pt x="73" y="468"/>
                      </a:lnTo>
                      <a:lnTo>
                        <a:pt x="68" y="472"/>
                      </a:lnTo>
                      <a:lnTo>
                        <a:pt x="63" y="477"/>
                      </a:lnTo>
                      <a:lnTo>
                        <a:pt x="59" y="481"/>
                      </a:lnTo>
                      <a:lnTo>
                        <a:pt x="54" y="486"/>
                      </a:lnTo>
                      <a:lnTo>
                        <a:pt x="50" y="486"/>
                      </a:lnTo>
                      <a:lnTo>
                        <a:pt x="41" y="481"/>
                      </a:lnTo>
                      <a:lnTo>
                        <a:pt x="36" y="472"/>
                      </a:lnTo>
                      <a:lnTo>
                        <a:pt x="36" y="463"/>
                      </a:lnTo>
                      <a:lnTo>
                        <a:pt x="41" y="441"/>
                      </a:lnTo>
                      <a:lnTo>
                        <a:pt x="50" y="422"/>
                      </a:lnTo>
                      <a:lnTo>
                        <a:pt x="59" y="404"/>
                      </a:lnTo>
                      <a:lnTo>
                        <a:pt x="63" y="377"/>
                      </a:lnTo>
                      <a:lnTo>
                        <a:pt x="63" y="363"/>
                      </a:lnTo>
                      <a:lnTo>
                        <a:pt x="59" y="350"/>
                      </a:lnTo>
                      <a:lnTo>
                        <a:pt x="54" y="336"/>
                      </a:lnTo>
                      <a:lnTo>
                        <a:pt x="50" y="327"/>
                      </a:lnTo>
                      <a:lnTo>
                        <a:pt x="41" y="322"/>
                      </a:lnTo>
                      <a:lnTo>
                        <a:pt x="32" y="318"/>
                      </a:lnTo>
                      <a:lnTo>
                        <a:pt x="22" y="313"/>
                      </a:lnTo>
                      <a:lnTo>
                        <a:pt x="18" y="304"/>
                      </a:lnTo>
                      <a:lnTo>
                        <a:pt x="13" y="286"/>
                      </a:lnTo>
                      <a:lnTo>
                        <a:pt x="9" y="272"/>
                      </a:lnTo>
                      <a:lnTo>
                        <a:pt x="4" y="254"/>
                      </a:lnTo>
                      <a:lnTo>
                        <a:pt x="0" y="241"/>
                      </a:lnTo>
                      <a:lnTo>
                        <a:pt x="9" y="218"/>
                      </a:lnTo>
                      <a:lnTo>
                        <a:pt x="32" y="200"/>
                      </a:lnTo>
                      <a:lnTo>
                        <a:pt x="59" y="191"/>
                      </a:lnTo>
                      <a:lnTo>
                        <a:pt x="82" y="177"/>
                      </a:lnTo>
                      <a:lnTo>
                        <a:pt x="95" y="159"/>
                      </a:lnTo>
                      <a:lnTo>
                        <a:pt x="104" y="141"/>
                      </a:lnTo>
                      <a:lnTo>
                        <a:pt x="109" y="113"/>
                      </a:lnTo>
                      <a:lnTo>
                        <a:pt x="114" y="91"/>
                      </a:lnTo>
                      <a:lnTo>
                        <a:pt x="114" y="86"/>
                      </a:lnTo>
                      <a:lnTo>
                        <a:pt x="114" y="81"/>
                      </a:lnTo>
                      <a:lnTo>
                        <a:pt x="114" y="72"/>
                      </a:lnTo>
                      <a:lnTo>
                        <a:pt x="114" y="68"/>
                      </a:lnTo>
                      <a:lnTo>
                        <a:pt x="109" y="50"/>
                      </a:lnTo>
                      <a:lnTo>
                        <a:pt x="100" y="36"/>
                      </a:lnTo>
                      <a:lnTo>
                        <a:pt x="95" y="27"/>
                      </a:lnTo>
                      <a:lnTo>
                        <a:pt x="95" y="18"/>
                      </a:lnTo>
                      <a:lnTo>
                        <a:pt x="104" y="13"/>
                      </a:lnTo>
                      <a:lnTo>
                        <a:pt x="109" y="13"/>
                      </a:lnTo>
                      <a:lnTo>
                        <a:pt x="118" y="9"/>
                      </a:lnTo>
                      <a:lnTo>
                        <a:pt x="118" y="0"/>
                      </a:lnTo>
                      <a:lnTo>
                        <a:pt x="123" y="0"/>
                      </a:lnTo>
                      <a:lnTo>
                        <a:pt x="132" y="0"/>
                      </a:lnTo>
                      <a:lnTo>
                        <a:pt x="136" y="0"/>
                      </a:lnTo>
                      <a:lnTo>
                        <a:pt x="145" y="0"/>
                      </a:lnTo>
                      <a:lnTo>
                        <a:pt x="150" y="4"/>
                      </a:lnTo>
                      <a:lnTo>
                        <a:pt x="145" y="18"/>
                      </a:lnTo>
                      <a:lnTo>
                        <a:pt x="141" y="27"/>
                      </a:lnTo>
                      <a:lnTo>
                        <a:pt x="141" y="36"/>
                      </a:lnTo>
                      <a:lnTo>
                        <a:pt x="145" y="41"/>
                      </a:lnTo>
                      <a:lnTo>
                        <a:pt x="150" y="41"/>
                      </a:lnTo>
                      <a:lnTo>
                        <a:pt x="164" y="41"/>
                      </a:lnTo>
                      <a:lnTo>
                        <a:pt x="173" y="41"/>
                      </a:lnTo>
                      <a:lnTo>
                        <a:pt x="191" y="45"/>
                      </a:lnTo>
                      <a:lnTo>
                        <a:pt x="205" y="45"/>
                      </a:lnTo>
                      <a:lnTo>
                        <a:pt x="227" y="45"/>
                      </a:lnTo>
                      <a:lnTo>
                        <a:pt x="250" y="45"/>
                      </a:lnTo>
                      <a:lnTo>
                        <a:pt x="250" y="45"/>
                      </a:lnTo>
                      <a:lnTo>
                        <a:pt x="246" y="63"/>
                      </a:lnTo>
                      <a:lnTo>
                        <a:pt x="246" y="63"/>
                      </a:lnTo>
                      <a:lnTo>
                        <a:pt x="250" y="72"/>
                      </a:lnTo>
                      <a:lnTo>
                        <a:pt x="255" y="81"/>
                      </a:lnTo>
                      <a:lnTo>
                        <a:pt x="264" y="91"/>
                      </a:lnTo>
                      <a:lnTo>
                        <a:pt x="273" y="95"/>
                      </a:lnTo>
                      <a:lnTo>
                        <a:pt x="287" y="91"/>
                      </a:lnTo>
                      <a:lnTo>
                        <a:pt x="296" y="77"/>
                      </a:lnTo>
                      <a:lnTo>
                        <a:pt x="305" y="68"/>
                      </a:lnTo>
                      <a:lnTo>
                        <a:pt x="319" y="63"/>
                      </a:lnTo>
                      <a:lnTo>
                        <a:pt x="341" y="68"/>
                      </a:lnTo>
                      <a:lnTo>
                        <a:pt x="360" y="72"/>
                      </a:lnTo>
                      <a:lnTo>
                        <a:pt x="378" y="81"/>
                      </a:lnTo>
                      <a:lnTo>
                        <a:pt x="387" y="95"/>
                      </a:lnTo>
                      <a:lnTo>
                        <a:pt x="382" y="100"/>
                      </a:lnTo>
                      <a:lnTo>
                        <a:pt x="382" y="104"/>
                      </a:lnTo>
                      <a:lnTo>
                        <a:pt x="382" y="113"/>
                      </a:lnTo>
                      <a:lnTo>
                        <a:pt x="382" y="127"/>
                      </a:lnTo>
                      <a:lnTo>
                        <a:pt x="382" y="136"/>
                      </a:lnTo>
                      <a:lnTo>
                        <a:pt x="382" y="141"/>
                      </a:lnTo>
                      <a:lnTo>
                        <a:pt x="382" y="150"/>
                      </a:lnTo>
                      <a:lnTo>
                        <a:pt x="382" y="159"/>
                      </a:lnTo>
                      <a:lnTo>
                        <a:pt x="382" y="172"/>
                      </a:lnTo>
                      <a:lnTo>
                        <a:pt x="378" y="177"/>
                      </a:lnTo>
                      <a:lnTo>
                        <a:pt x="373" y="186"/>
                      </a:lnTo>
                      <a:lnTo>
                        <a:pt x="373" y="200"/>
                      </a:lnTo>
                      <a:lnTo>
                        <a:pt x="373" y="231"/>
                      </a:lnTo>
                      <a:lnTo>
                        <a:pt x="382" y="263"/>
                      </a:lnTo>
                      <a:lnTo>
                        <a:pt x="387" y="291"/>
                      </a:lnTo>
                      <a:lnTo>
                        <a:pt x="387" y="318"/>
                      </a:lnTo>
                      <a:lnTo>
                        <a:pt x="378" y="331"/>
                      </a:lnTo>
                      <a:lnTo>
                        <a:pt x="355" y="341"/>
                      </a:lnTo>
                      <a:lnTo>
                        <a:pt x="332" y="359"/>
                      </a:lnTo>
                      <a:lnTo>
                        <a:pt x="323" y="391"/>
                      </a:lnTo>
                      <a:lnTo>
                        <a:pt x="328" y="400"/>
                      </a:lnTo>
                      <a:lnTo>
                        <a:pt x="332" y="404"/>
                      </a:lnTo>
                      <a:lnTo>
                        <a:pt x="332" y="409"/>
                      </a:lnTo>
                      <a:lnTo>
                        <a:pt x="337" y="418"/>
                      </a:lnTo>
                      <a:lnTo>
                        <a:pt x="337" y="418"/>
                      </a:lnTo>
                      <a:lnTo>
                        <a:pt x="319" y="431"/>
                      </a:lnTo>
                      <a:lnTo>
                        <a:pt x="319" y="431"/>
                      </a:lnTo>
                      <a:close/>
                    </a:path>
                  </a:pathLst>
                </a:custGeom>
                <a:solidFill>
                  <a:schemeClr val="accent2"/>
                </a:solid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lIns="90000" rIns="18000" anchor="ctr"/>
                <a:lstStyle/>
                <a:p>
                  <a:pPr defTabSz="913204" fontAlgn="auto">
                    <a:spcBef>
                      <a:spcPts val="0"/>
                    </a:spcBef>
                    <a:spcAft>
                      <a:spcPts val="0"/>
                    </a:spcAft>
                    <a:defRPr/>
                  </a:pPr>
                  <a:endParaRPr lang="en-US">
                    <a:solidFill>
                      <a:srgbClr val="000000"/>
                    </a:solidFill>
                    <a:latin typeface="+mn-lt"/>
                    <a:cs typeface="+mn-cs"/>
                  </a:endParaRPr>
                </a:p>
              </p:txBody>
            </p:sp>
          </p:grpSp>
          <p:grpSp>
            <p:nvGrpSpPr>
              <p:cNvPr id="84" name="Group 230">
                <a:extLst>
                  <a:ext uri="{FF2B5EF4-FFF2-40B4-BE49-F238E27FC236}">
                    <a16:creationId xmlns="" xmlns:a16="http://schemas.microsoft.com/office/drawing/2014/main" id="{2B440D90-88CF-4A67-BC94-039C0CD2B41E}"/>
                  </a:ext>
                </a:extLst>
              </p:cNvPr>
              <p:cNvGrpSpPr>
                <a:grpSpLocks noChangeAspect="1"/>
              </p:cNvGrpSpPr>
              <p:nvPr/>
            </p:nvGrpSpPr>
            <p:grpSpPr bwMode="auto">
              <a:xfrm>
                <a:off x="2509" y="1636"/>
                <a:ext cx="790" cy="815"/>
                <a:chOff x="1135" y="1245"/>
                <a:chExt cx="1089" cy="1037"/>
              </a:xfrm>
              <a:grpFill/>
            </p:grpSpPr>
            <p:sp>
              <p:nvSpPr>
                <p:cNvPr id="89" name="Freeform 231">
                  <a:extLst>
                    <a:ext uri="{FF2B5EF4-FFF2-40B4-BE49-F238E27FC236}">
                      <a16:creationId xmlns="" xmlns:a16="http://schemas.microsoft.com/office/drawing/2014/main" id="{205707A9-209B-45D9-BEE5-537D6350B5CB}"/>
                    </a:ext>
                  </a:extLst>
                </p:cNvPr>
                <p:cNvSpPr>
                  <a:spLocks noChangeAspect="1"/>
                </p:cNvSpPr>
                <p:nvPr/>
              </p:nvSpPr>
              <p:spPr bwMode="auto">
                <a:xfrm>
                  <a:off x="1554" y="1245"/>
                  <a:ext cx="383" cy="369"/>
                </a:xfrm>
                <a:custGeom>
                  <a:avLst/>
                  <a:gdLst>
                    <a:gd name="T0" fmla="*/ 246 w 383"/>
                    <a:gd name="T1" fmla="*/ 369 h 369"/>
                    <a:gd name="T2" fmla="*/ 228 w 383"/>
                    <a:gd name="T3" fmla="*/ 369 h 369"/>
                    <a:gd name="T4" fmla="*/ 219 w 383"/>
                    <a:gd name="T5" fmla="*/ 364 h 369"/>
                    <a:gd name="T6" fmla="*/ 164 w 383"/>
                    <a:gd name="T7" fmla="*/ 364 h 369"/>
                    <a:gd name="T8" fmla="*/ 114 w 383"/>
                    <a:gd name="T9" fmla="*/ 355 h 369"/>
                    <a:gd name="T10" fmla="*/ 73 w 383"/>
                    <a:gd name="T11" fmla="*/ 346 h 369"/>
                    <a:gd name="T12" fmla="*/ 41 w 383"/>
                    <a:gd name="T13" fmla="*/ 341 h 369"/>
                    <a:gd name="T14" fmla="*/ 14 w 383"/>
                    <a:gd name="T15" fmla="*/ 337 h 369"/>
                    <a:gd name="T16" fmla="*/ 5 w 383"/>
                    <a:gd name="T17" fmla="*/ 323 h 369"/>
                    <a:gd name="T18" fmla="*/ 0 w 383"/>
                    <a:gd name="T19" fmla="*/ 310 h 369"/>
                    <a:gd name="T20" fmla="*/ 32 w 383"/>
                    <a:gd name="T21" fmla="*/ 260 h 369"/>
                    <a:gd name="T22" fmla="*/ 64 w 383"/>
                    <a:gd name="T23" fmla="*/ 237 h 369"/>
                    <a:gd name="T24" fmla="*/ 59 w 383"/>
                    <a:gd name="T25" fmla="*/ 182 h 369"/>
                    <a:gd name="T26" fmla="*/ 50 w 383"/>
                    <a:gd name="T27" fmla="*/ 119 h 369"/>
                    <a:gd name="T28" fmla="*/ 55 w 383"/>
                    <a:gd name="T29" fmla="*/ 96 h 369"/>
                    <a:gd name="T30" fmla="*/ 59 w 383"/>
                    <a:gd name="T31" fmla="*/ 78 h 369"/>
                    <a:gd name="T32" fmla="*/ 59 w 383"/>
                    <a:gd name="T33" fmla="*/ 60 h 369"/>
                    <a:gd name="T34" fmla="*/ 59 w 383"/>
                    <a:gd name="T35" fmla="*/ 46 h 369"/>
                    <a:gd name="T36" fmla="*/ 68 w 383"/>
                    <a:gd name="T37" fmla="*/ 14 h 369"/>
                    <a:gd name="T38" fmla="*/ 100 w 383"/>
                    <a:gd name="T39" fmla="*/ 10 h 369"/>
                    <a:gd name="T40" fmla="*/ 150 w 383"/>
                    <a:gd name="T41" fmla="*/ 19 h 369"/>
                    <a:gd name="T42" fmla="*/ 196 w 383"/>
                    <a:gd name="T43" fmla="*/ 32 h 369"/>
                    <a:gd name="T44" fmla="*/ 223 w 383"/>
                    <a:gd name="T45" fmla="*/ 23 h 369"/>
                    <a:gd name="T46" fmla="*/ 246 w 383"/>
                    <a:gd name="T47" fmla="*/ 14 h 369"/>
                    <a:gd name="T48" fmla="*/ 260 w 383"/>
                    <a:gd name="T49" fmla="*/ 14 h 369"/>
                    <a:gd name="T50" fmla="*/ 269 w 383"/>
                    <a:gd name="T51" fmla="*/ 19 h 369"/>
                    <a:gd name="T52" fmla="*/ 296 w 383"/>
                    <a:gd name="T53" fmla="*/ 10 h 369"/>
                    <a:gd name="T54" fmla="*/ 324 w 383"/>
                    <a:gd name="T55" fmla="*/ 0 h 369"/>
                    <a:gd name="T56" fmla="*/ 360 w 383"/>
                    <a:gd name="T57" fmla="*/ 28 h 369"/>
                    <a:gd name="T58" fmla="*/ 383 w 383"/>
                    <a:gd name="T59" fmla="*/ 69 h 369"/>
                    <a:gd name="T60" fmla="*/ 346 w 383"/>
                    <a:gd name="T61" fmla="*/ 105 h 369"/>
                    <a:gd name="T62" fmla="*/ 333 w 383"/>
                    <a:gd name="T63" fmla="*/ 146 h 369"/>
                    <a:gd name="T64" fmla="*/ 333 w 383"/>
                    <a:gd name="T65" fmla="*/ 160 h 369"/>
                    <a:gd name="T66" fmla="*/ 333 w 383"/>
                    <a:gd name="T67" fmla="*/ 169 h 369"/>
                    <a:gd name="T68" fmla="*/ 324 w 383"/>
                    <a:gd name="T69" fmla="*/ 210 h 369"/>
                    <a:gd name="T70" fmla="*/ 301 w 383"/>
                    <a:gd name="T71" fmla="*/ 246 h 369"/>
                    <a:gd name="T72" fmla="*/ 278 w 383"/>
                    <a:gd name="T73" fmla="*/ 278 h 369"/>
                    <a:gd name="T74" fmla="*/ 255 w 383"/>
                    <a:gd name="T75" fmla="*/ 310 h 369"/>
                    <a:gd name="T76" fmla="*/ 251 w 383"/>
                    <a:gd name="T77" fmla="*/ 369 h 369"/>
                    <a:gd name="T78" fmla="*/ 255 w 383"/>
                    <a:gd name="T79"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3" h="369">
                      <a:moveTo>
                        <a:pt x="255" y="369"/>
                      </a:moveTo>
                      <a:lnTo>
                        <a:pt x="246" y="369"/>
                      </a:lnTo>
                      <a:lnTo>
                        <a:pt x="237" y="369"/>
                      </a:lnTo>
                      <a:lnTo>
                        <a:pt x="228" y="369"/>
                      </a:lnTo>
                      <a:lnTo>
                        <a:pt x="219" y="364"/>
                      </a:lnTo>
                      <a:lnTo>
                        <a:pt x="219" y="364"/>
                      </a:lnTo>
                      <a:lnTo>
                        <a:pt x="164" y="364"/>
                      </a:lnTo>
                      <a:lnTo>
                        <a:pt x="164" y="364"/>
                      </a:lnTo>
                      <a:lnTo>
                        <a:pt x="137" y="360"/>
                      </a:lnTo>
                      <a:lnTo>
                        <a:pt x="114" y="355"/>
                      </a:lnTo>
                      <a:lnTo>
                        <a:pt x="91" y="350"/>
                      </a:lnTo>
                      <a:lnTo>
                        <a:pt x="73" y="346"/>
                      </a:lnTo>
                      <a:lnTo>
                        <a:pt x="59" y="341"/>
                      </a:lnTo>
                      <a:lnTo>
                        <a:pt x="41" y="341"/>
                      </a:lnTo>
                      <a:lnTo>
                        <a:pt x="27" y="337"/>
                      </a:lnTo>
                      <a:lnTo>
                        <a:pt x="14" y="337"/>
                      </a:lnTo>
                      <a:lnTo>
                        <a:pt x="9" y="328"/>
                      </a:lnTo>
                      <a:lnTo>
                        <a:pt x="5" y="323"/>
                      </a:lnTo>
                      <a:lnTo>
                        <a:pt x="5" y="319"/>
                      </a:lnTo>
                      <a:lnTo>
                        <a:pt x="0" y="310"/>
                      </a:lnTo>
                      <a:lnTo>
                        <a:pt x="9" y="278"/>
                      </a:lnTo>
                      <a:lnTo>
                        <a:pt x="32" y="260"/>
                      </a:lnTo>
                      <a:lnTo>
                        <a:pt x="55" y="250"/>
                      </a:lnTo>
                      <a:lnTo>
                        <a:pt x="64" y="237"/>
                      </a:lnTo>
                      <a:lnTo>
                        <a:pt x="64" y="210"/>
                      </a:lnTo>
                      <a:lnTo>
                        <a:pt x="59" y="182"/>
                      </a:lnTo>
                      <a:lnTo>
                        <a:pt x="50" y="150"/>
                      </a:lnTo>
                      <a:lnTo>
                        <a:pt x="50" y="119"/>
                      </a:lnTo>
                      <a:lnTo>
                        <a:pt x="50" y="105"/>
                      </a:lnTo>
                      <a:lnTo>
                        <a:pt x="55" y="96"/>
                      </a:lnTo>
                      <a:lnTo>
                        <a:pt x="59" y="91"/>
                      </a:lnTo>
                      <a:lnTo>
                        <a:pt x="59" y="78"/>
                      </a:lnTo>
                      <a:lnTo>
                        <a:pt x="59" y="69"/>
                      </a:lnTo>
                      <a:lnTo>
                        <a:pt x="59" y="60"/>
                      </a:lnTo>
                      <a:lnTo>
                        <a:pt x="59" y="55"/>
                      </a:lnTo>
                      <a:lnTo>
                        <a:pt x="59" y="46"/>
                      </a:lnTo>
                      <a:lnTo>
                        <a:pt x="59" y="28"/>
                      </a:lnTo>
                      <a:lnTo>
                        <a:pt x="68" y="14"/>
                      </a:lnTo>
                      <a:lnTo>
                        <a:pt x="78" y="10"/>
                      </a:lnTo>
                      <a:lnTo>
                        <a:pt x="100" y="10"/>
                      </a:lnTo>
                      <a:lnTo>
                        <a:pt x="128" y="14"/>
                      </a:lnTo>
                      <a:lnTo>
                        <a:pt x="150" y="19"/>
                      </a:lnTo>
                      <a:lnTo>
                        <a:pt x="169" y="28"/>
                      </a:lnTo>
                      <a:lnTo>
                        <a:pt x="196" y="32"/>
                      </a:lnTo>
                      <a:lnTo>
                        <a:pt x="210" y="28"/>
                      </a:lnTo>
                      <a:lnTo>
                        <a:pt x="223" y="23"/>
                      </a:lnTo>
                      <a:lnTo>
                        <a:pt x="232" y="19"/>
                      </a:lnTo>
                      <a:lnTo>
                        <a:pt x="246" y="14"/>
                      </a:lnTo>
                      <a:lnTo>
                        <a:pt x="251" y="14"/>
                      </a:lnTo>
                      <a:lnTo>
                        <a:pt x="260" y="14"/>
                      </a:lnTo>
                      <a:lnTo>
                        <a:pt x="264" y="19"/>
                      </a:lnTo>
                      <a:lnTo>
                        <a:pt x="269" y="19"/>
                      </a:lnTo>
                      <a:lnTo>
                        <a:pt x="283" y="14"/>
                      </a:lnTo>
                      <a:lnTo>
                        <a:pt x="296" y="10"/>
                      </a:lnTo>
                      <a:lnTo>
                        <a:pt x="305" y="5"/>
                      </a:lnTo>
                      <a:lnTo>
                        <a:pt x="324" y="0"/>
                      </a:lnTo>
                      <a:lnTo>
                        <a:pt x="342" y="10"/>
                      </a:lnTo>
                      <a:lnTo>
                        <a:pt x="360" y="28"/>
                      </a:lnTo>
                      <a:lnTo>
                        <a:pt x="374" y="50"/>
                      </a:lnTo>
                      <a:lnTo>
                        <a:pt x="383" y="69"/>
                      </a:lnTo>
                      <a:lnTo>
                        <a:pt x="365" y="87"/>
                      </a:lnTo>
                      <a:lnTo>
                        <a:pt x="346" y="105"/>
                      </a:lnTo>
                      <a:lnTo>
                        <a:pt x="337" y="128"/>
                      </a:lnTo>
                      <a:lnTo>
                        <a:pt x="333" y="146"/>
                      </a:lnTo>
                      <a:lnTo>
                        <a:pt x="333" y="155"/>
                      </a:lnTo>
                      <a:lnTo>
                        <a:pt x="333" y="160"/>
                      </a:lnTo>
                      <a:lnTo>
                        <a:pt x="333" y="164"/>
                      </a:lnTo>
                      <a:lnTo>
                        <a:pt x="333" y="169"/>
                      </a:lnTo>
                      <a:lnTo>
                        <a:pt x="328" y="187"/>
                      </a:lnTo>
                      <a:lnTo>
                        <a:pt x="324" y="210"/>
                      </a:lnTo>
                      <a:lnTo>
                        <a:pt x="314" y="228"/>
                      </a:lnTo>
                      <a:lnTo>
                        <a:pt x="301" y="246"/>
                      </a:lnTo>
                      <a:lnTo>
                        <a:pt x="292" y="260"/>
                      </a:lnTo>
                      <a:lnTo>
                        <a:pt x="278" y="278"/>
                      </a:lnTo>
                      <a:lnTo>
                        <a:pt x="264" y="296"/>
                      </a:lnTo>
                      <a:lnTo>
                        <a:pt x="255" y="310"/>
                      </a:lnTo>
                      <a:lnTo>
                        <a:pt x="255" y="310"/>
                      </a:lnTo>
                      <a:lnTo>
                        <a:pt x="251" y="369"/>
                      </a:lnTo>
                      <a:lnTo>
                        <a:pt x="255" y="369"/>
                      </a:lnTo>
                      <a:lnTo>
                        <a:pt x="255" y="369"/>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90" name="Freeform 232">
                  <a:extLst>
                    <a:ext uri="{FF2B5EF4-FFF2-40B4-BE49-F238E27FC236}">
                      <a16:creationId xmlns="" xmlns:a16="http://schemas.microsoft.com/office/drawing/2014/main" id="{CF8448F2-DC07-4CAE-89E3-926D17706261}"/>
                    </a:ext>
                  </a:extLst>
                </p:cNvPr>
                <p:cNvSpPr>
                  <a:spLocks noChangeAspect="1"/>
                </p:cNvSpPr>
                <p:nvPr/>
              </p:nvSpPr>
              <p:spPr bwMode="auto">
                <a:xfrm>
                  <a:off x="1135" y="1568"/>
                  <a:ext cx="515" cy="441"/>
                </a:xfrm>
                <a:custGeom>
                  <a:avLst/>
                  <a:gdLst>
                    <a:gd name="T0" fmla="*/ 392 w 515"/>
                    <a:gd name="T1" fmla="*/ 27 h 441"/>
                    <a:gd name="T2" fmla="*/ 355 w 515"/>
                    <a:gd name="T3" fmla="*/ 5 h 441"/>
                    <a:gd name="T4" fmla="*/ 305 w 515"/>
                    <a:gd name="T5" fmla="*/ 9 h 441"/>
                    <a:gd name="T6" fmla="*/ 246 w 515"/>
                    <a:gd name="T7" fmla="*/ 37 h 441"/>
                    <a:gd name="T8" fmla="*/ 169 w 515"/>
                    <a:gd name="T9" fmla="*/ 64 h 441"/>
                    <a:gd name="T10" fmla="*/ 128 w 515"/>
                    <a:gd name="T11" fmla="*/ 118 h 441"/>
                    <a:gd name="T12" fmla="*/ 64 w 515"/>
                    <a:gd name="T13" fmla="*/ 137 h 441"/>
                    <a:gd name="T14" fmla="*/ 23 w 515"/>
                    <a:gd name="T15" fmla="*/ 150 h 441"/>
                    <a:gd name="T16" fmla="*/ 32 w 515"/>
                    <a:gd name="T17" fmla="*/ 164 h 441"/>
                    <a:gd name="T18" fmla="*/ 5 w 515"/>
                    <a:gd name="T19" fmla="*/ 173 h 441"/>
                    <a:gd name="T20" fmla="*/ 0 w 515"/>
                    <a:gd name="T21" fmla="*/ 214 h 441"/>
                    <a:gd name="T22" fmla="*/ 0 w 515"/>
                    <a:gd name="T23" fmla="*/ 237 h 441"/>
                    <a:gd name="T24" fmla="*/ 18 w 515"/>
                    <a:gd name="T25" fmla="*/ 241 h 441"/>
                    <a:gd name="T26" fmla="*/ 41 w 515"/>
                    <a:gd name="T27" fmla="*/ 232 h 441"/>
                    <a:gd name="T28" fmla="*/ 59 w 515"/>
                    <a:gd name="T29" fmla="*/ 241 h 441"/>
                    <a:gd name="T30" fmla="*/ 91 w 515"/>
                    <a:gd name="T31" fmla="*/ 246 h 441"/>
                    <a:gd name="T32" fmla="*/ 146 w 515"/>
                    <a:gd name="T33" fmla="*/ 223 h 441"/>
                    <a:gd name="T34" fmla="*/ 223 w 515"/>
                    <a:gd name="T35" fmla="*/ 250 h 441"/>
                    <a:gd name="T36" fmla="*/ 223 w 515"/>
                    <a:gd name="T37" fmla="*/ 268 h 441"/>
                    <a:gd name="T38" fmla="*/ 187 w 515"/>
                    <a:gd name="T39" fmla="*/ 250 h 441"/>
                    <a:gd name="T40" fmla="*/ 128 w 515"/>
                    <a:gd name="T41" fmla="*/ 241 h 441"/>
                    <a:gd name="T42" fmla="*/ 109 w 515"/>
                    <a:gd name="T43" fmla="*/ 259 h 441"/>
                    <a:gd name="T44" fmla="*/ 109 w 515"/>
                    <a:gd name="T45" fmla="*/ 273 h 441"/>
                    <a:gd name="T46" fmla="*/ 100 w 515"/>
                    <a:gd name="T47" fmla="*/ 287 h 441"/>
                    <a:gd name="T48" fmla="*/ 96 w 515"/>
                    <a:gd name="T49" fmla="*/ 309 h 441"/>
                    <a:gd name="T50" fmla="*/ 123 w 515"/>
                    <a:gd name="T51" fmla="*/ 314 h 441"/>
                    <a:gd name="T52" fmla="*/ 164 w 515"/>
                    <a:gd name="T53" fmla="*/ 341 h 441"/>
                    <a:gd name="T54" fmla="*/ 169 w 515"/>
                    <a:gd name="T55" fmla="*/ 359 h 441"/>
                    <a:gd name="T56" fmla="*/ 191 w 515"/>
                    <a:gd name="T57" fmla="*/ 382 h 441"/>
                    <a:gd name="T58" fmla="*/ 251 w 515"/>
                    <a:gd name="T59" fmla="*/ 418 h 441"/>
                    <a:gd name="T60" fmla="*/ 273 w 515"/>
                    <a:gd name="T61" fmla="*/ 437 h 441"/>
                    <a:gd name="T62" fmla="*/ 301 w 515"/>
                    <a:gd name="T63" fmla="*/ 432 h 441"/>
                    <a:gd name="T64" fmla="*/ 310 w 515"/>
                    <a:gd name="T65" fmla="*/ 400 h 441"/>
                    <a:gd name="T66" fmla="*/ 301 w 515"/>
                    <a:gd name="T67" fmla="*/ 368 h 441"/>
                    <a:gd name="T68" fmla="*/ 301 w 515"/>
                    <a:gd name="T69" fmla="*/ 355 h 441"/>
                    <a:gd name="T70" fmla="*/ 319 w 515"/>
                    <a:gd name="T71" fmla="*/ 350 h 441"/>
                    <a:gd name="T72" fmla="*/ 323 w 515"/>
                    <a:gd name="T73" fmla="*/ 377 h 441"/>
                    <a:gd name="T74" fmla="*/ 355 w 515"/>
                    <a:gd name="T75" fmla="*/ 391 h 441"/>
                    <a:gd name="T76" fmla="*/ 401 w 515"/>
                    <a:gd name="T77" fmla="*/ 337 h 441"/>
                    <a:gd name="T78" fmla="*/ 419 w 515"/>
                    <a:gd name="T79" fmla="*/ 341 h 441"/>
                    <a:gd name="T80" fmla="*/ 419 w 515"/>
                    <a:gd name="T81" fmla="*/ 300 h 441"/>
                    <a:gd name="T82" fmla="*/ 401 w 515"/>
                    <a:gd name="T83" fmla="*/ 264 h 441"/>
                    <a:gd name="T84" fmla="*/ 396 w 515"/>
                    <a:gd name="T85" fmla="*/ 223 h 441"/>
                    <a:gd name="T86" fmla="*/ 469 w 515"/>
                    <a:gd name="T87" fmla="*/ 200 h 441"/>
                    <a:gd name="T88" fmla="*/ 506 w 515"/>
                    <a:gd name="T89" fmla="*/ 200 h 441"/>
                    <a:gd name="T90" fmla="*/ 474 w 515"/>
                    <a:gd name="T91" fmla="*/ 146 h 441"/>
                    <a:gd name="T92" fmla="*/ 437 w 515"/>
                    <a:gd name="T93" fmla="*/ 123 h 441"/>
                    <a:gd name="T94" fmla="*/ 437 w 515"/>
                    <a:gd name="T95" fmla="*/ 114 h 441"/>
                    <a:gd name="T96" fmla="*/ 469 w 515"/>
                    <a:gd name="T97" fmla="*/ 118 h 441"/>
                    <a:gd name="T98" fmla="*/ 446 w 515"/>
                    <a:gd name="T99" fmla="*/ 77 h 441"/>
                    <a:gd name="T100" fmla="*/ 415 w 515"/>
                    <a:gd name="T101" fmla="*/ 32 h 441"/>
                    <a:gd name="T102" fmla="*/ 415 w 515"/>
                    <a:gd name="T103" fmla="*/ 23 h 441"/>
                    <a:gd name="T104" fmla="*/ 415 w 515"/>
                    <a:gd name="T105" fmla="*/ 27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5" h="441">
                      <a:moveTo>
                        <a:pt x="415" y="27"/>
                      </a:moveTo>
                      <a:lnTo>
                        <a:pt x="392" y="27"/>
                      </a:lnTo>
                      <a:lnTo>
                        <a:pt x="392" y="27"/>
                      </a:lnTo>
                      <a:lnTo>
                        <a:pt x="378" y="18"/>
                      </a:lnTo>
                      <a:lnTo>
                        <a:pt x="369" y="9"/>
                      </a:lnTo>
                      <a:lnTo>
                        <a:pt x="355" y="5"/>
                      </a:lnTo>
                      <a:lnTo>
                        <a:pt x="337" y="0"/>
                      </a:lnTo>
                      <a:lnTo>
                        <a:pt x="319" y="5"/>
                      </a:lnTo>
                      <a:lnTo>
                        <a:pt x="305" y="9"/>
                      </a:lnTo>
                      <a:lnTo>
                        <a:pt x="292" y="18"/>
                      </a:lnTo>
                      <a:lnTo>
                        <a:pt x="278" y="23"/>
                      </a:lnTo>
                      <a:lnTo>
                        <a:pt x="246" y="37"/>
                      </a:lnTo>
                      <a:lnTo>
                        <a:pt x="219" y="41"/>
                      </a:lnTo>
                      <a:lnTo>
                        <a:pt x="191" y="50"/>
                      </a:lnTo>
                      <a:lnTo>
                        <a:pt x="169" y="64"/>
                      </a:lnTo>
                      <a:lnTo>
                        <a:pt x="150" y="82"/>
                      </a:lnTo>
                      <a:lnTo>
                        <a:pt x="141" y="100"/>
                      </a:lnTo>
                      <a:lnTo>
                        <a:pt x="128" y="118"/>
                      </a:lnTo>
                      <a:lnTo>
                        <a:pt x="109" y="132"/>
                      </a:lnTo>
                      <a:lnTo>
                        <a:pt x="87" y="137"/>
                      </a:lnTo>
                      <a:lnTo>
                        <a:pt x="64" y="137"/>
                      </a:lnTo>
                      <a:lnTo>
                        <a:pt x="41" y="137"/>
                      </a:lnTo>
                      <a:lnTo>
                        <a:pt x="18" y="146"/>
                      </a:lnTo>
                      <a:lnTo>
                        <a:pt x="23" y="150"/>
                      </a:lnTo>
                      <a:lnTo>
                        <a:pt x="27" y="155"/>
                      </a:lnTo>
                      <a:lnTo>
                        <a:pt x="32" y="159"/>
                      </a:lnTo>
                      <a:lnTo>
                        <a:pt x="32" y="164"/>
                      </a:lnTo>
                      <a:lnTo>
                        <a:pt x="23" y="168"/>
                      </a:lnTo>
                      <a:lnTo>
                        <a:pt x="9" y="168"/>
                      </a:lnTo>
                      <a:lnTo>
                        <a:pt x="5" y="173"/>
                      </a:lnTo>
                      <a:lnTo>
                        <a:pt x="0" y="187"/>
                      </a:lnTo>
                      <a:lnTo>
                        <a:pt x="0" y="200"/>
                      </a:lnTo>
                      <a:lnTo>
                        <a:pt x="0" y="214"/>
                      </a:lnTo>
                      <a:lnTo>
                        <a:pt x="0" y="223"/>
                      </a:lnTo>
                      <a:lnTo>
                        <a:pt x="0" y="232"/>
                      </a:lnTo>
                      <a:lnTo>
                        <a:pt x="0" y="237"/>
                      </a:lnTo>
                      <a:lnTo>
                        <a:pt x="5" y="237"/>
                      </a:lnTo>
                      <a:lnTo>
                        <a:pt x="9" y="241"/>
                      </a:lnTo>
                      <a:lnTo>
                        <a:pt x="18" y="241"/>
                      </a:lnTo>
                      <a:lnTo>
                        <a:pt x="27" y="241"/>
                      </a:lnTo>
                      <a:lnTo>
                        <a:pt x="32" y="237"/>
                      </a:lnTo>
                      <a:lnTo>
                        <a:pt x="41" y="232"/>
                      </a:lnTo>
                      <a:lnTo>
                        <a:pt x="46" y="232"/>
                      </a:lnTo>
                      <a:lnTo>
                        <a:pt x="50" y="237"/>
                      </a:lnTo>
                      <a:lnTo>
                        <a:pt x="59" y="241"/>
                      </a:lnTo>
                      <a:lnTo>
                        <a:pt x="64" y="246"/>
                      </a:lnTo>
                      <a:lnTo>
                        <a:pt x="68" y="250"/>
                      </a:lnTo>
                      <a:lnTo>
                        <a:pt x="91" y="246"/>
                      </a:lnTo>
                      <a:lnTo>
                        <a:pt x="109" y="232"/>
                      </a:lnTo>
                      <a:lnTo>
                        <a:pt x="123" y="223"/>
                      </a:lnTo>
                      <a:lnTo>
                        <a:pt x="146" y="223"/>
                      </a:lnTo>
                      <a:lnTo>
                        <a:pt x="173" y="227"/>
                      </a:lnTo>
                      <a:lnTo>
                        <a:pt x="200" y="237"/>
                      </a:lnTo>
                      <a:lnTo>
                        <a:pt x="223" y="250"/>
                      </a:lnTo>
                      <a:lnTo>
                        <a:pt x="237" y="268"/>
                      </a:lnTo>
                      <a:lnTo>
                        <a:pt x="237" y="268"/>
                      </a:lnTo>
                      <a:lnTo>
                        <a:pt x="223" y="268"/>
                      </a:lnTo>
                      <a:lnTo>
                        <a:pt x="223" y="268"/>
                      </a:lnTo>
                      <a:lnTo>
                        <a:pt x="205" y="259"/>
                      </a:lnTo>
                      <a:lnTo>
                        <a:pt x="187" y="250"/>
                      </a:lnTo>
                      <a:lnTo>
                        <a:pt x="164" y="246"/>
                      </a:lnTo>
                      <a:lnTo>
                        <a:pt x="141" y="241"/>
                      </a:lnTo>
                      <a:lnTo>
                        <a:pt x="128" y="241"/>
                      </a:lnTo>
                      <a:lnTo>
                        <a:pt x="118" y="241"/>
                      </a:lnTo>
                      <a:lnTo>
                        <a:pt x="114" y="250"/>
                      </a:lnTo>
                      <a:lnTo>
                        <a:pt x="109" y="259"/>
                      </a:lnTo>
                      <a:lnTo>
                        <a:pt x="109" y="268"/>
                      </a:lnTo>
                      <a:lnTo>
                        <a:pt x="109" y="268"/>
                      </a:lnTo>
                      <a:lnTo>
                        <a:pt x="109" y="273"/>
                      </a:lnTo>
                      <a:lnTo>
                        <a:pt x="109" y="273"/>
                      </a:lnTo>
                      <a:lnTo>
                        <a:pt x="105" y="277"/>
                      </a:lnTo>
                      <a:lnTo>
                        <a:pt x="100" y="287"/>
                      </a:lnTo>
                      <a:lnTo>
                        <a:pt x="96" y="291"/>
                      </a:lnTo>
                      <a:lnTo>
                        <a:pt x="91" y="300"/>
                      </a:lnTo>
                      <a:lnTo>
                        <a:pt x="96" y="309"/>
                      </a:lnTo>
                      <a:lnTo>
                        <a:pt x="100" y="314"/>
                      </a:lnTo>
                      <a:lnTo>
                        <a:pt x="114" y="314"/>
                      </a:lnTo>
                      <a:lnTo>
                        <a:pt x="123" y="314"/>
                      </a:lnTo>
                      <a:lnTo>
                        <a:pt x="141" y="318"/>
                      </a:lnTo>
                      <a:lnTo>
                        <a:pt x="155" y="327"/>
                      </a:lnTo>
                      <a:lnTo>
                        <a:pt x="164" y="341"/>
                      </a:lnTo>
                      <a:lnTo>
                        <a:pt x="169" y="355"/>
                      </a:lnTo>
                      <a:lnTo>
                        <a:pt x="169" y="359"/>
                      </a:lnTo>
                      <a:lnTo>
                        <a:pt x="169" y="359"/>
                      </a:lnTo>
                      <a:lnTo>
                        <a:pt x="169" y="364"/>
                      </a:lnTo>
                      <a:lnTo>
                        <a:pt x="169" y="368"/>
                      </a:lnTo>
                      <a:lnTo>
                        <a:pt x="191" y="382"/>
                      </a:lnTo>
                      <a:lnTo>
                        <a:pt x="210" y="391"/>
                      </a:lnTo>
                      <a:lnTo>
                        <a:pt x="232" y="400"/>
                      </a:lnTo>
                      <a:lnTo>
                        <a:pt x="251" y="418"/>
                      </a:lnTo>
                      <a:lnTo>
                        <a:pt x="260" y="423"/>
                      </a:lnTo>
                      <a:lnTo>
                        <a:pt x="264" y="432"/>
                      </a:lnTo>
                      <a:lnTo>
                        <a:pt x="273" y="437"/>
                      </a:lnTo>
                      <a:lnTo>
                        <a:pt x="282" y="441"/>
                      </a:lnTo>
                      <a:lnTo>
                        <a:pt x="292" y="437"/>
                      </a:lnTo>
                      <a:lnTo>
                        <a:pt x="301" y="432"/>
                      </a:lnTo>
                      <a:lnTo>
                        <a:pt x="305" y="423"/>
                      </a:lnTo>
                      <a:lnTo>
                        <a:pt x="310" y="409"/>
                      </a:lnTo>
                      <a:lnTo>
                        <a:pt x="310" y="400"/>
                      </a:lnTo>
                      <a:lnTo>
                        <a:pt x="305" y="391"/>
                      </a:lnTo>
                      <a:lnTo>
                        <a:pt x="301" y="382"/>
                      </a:lnTo>
                      <a:lnTo>
                        <a:pt x="301" y="368"/>
                      </a:lnTo>
                      <a:lnTo>
                        <a:pt x="301" y="364"/>
                      </a:lnTo>
                      <a:lnTo>
                        <a:pt x="301" y="359"/>
                      </a:lnTo>
                      <a:lnTo>
                        <a:pt x="301" y="355"/>
                      </a:lnTo>
                      <a:lnTo>
                        <a:pt x="305" y="350"/>
                      </a:lnTo>
                      <a:lnTo>
                        <a:pt x="305" y="350"/>
                      </a:lnTo>
                      <a:lnTo>
                        <a:pt x="319" y="350"/>
                      </a:lnTo>
                      <a:lnTo>
                        <a:pt x="319" y="350"/>
                      </a:lnTo>
                      <a:lnTo>
                        <a:pt x="319" y="364"/>
                      </a:lnTo>
                      <a:lnTo>
                        <a:pt x="323" y="377"/>
                      </a:lnTo>
                      <a:lnTo>
                        <a:pt x="333" y="396"/>
                      </a:lnTo>
                      <a:lnTo>
                        <a:pt x="342" y="400"/>
                      </a:lnTo>
                      <a:lnTo>
                        <a:pt x="355" y="391"/>
                      </a:lnTo>
                      <a:lnTo>
                        <a:pt x="369" y="368"/>
                      </a:lnTo>
                      <a:lnTo>
                        <a:pt x="383" y="346"/>
                      </a:lnTo>
                      <a:lnTo>
                        <a:pt x="401" y="337"/>
                      </a:lnTo>
                      <a:lnTo>
                        <a:pt x="405" y="337"/>
                      </a:lnTo>
                      <a:lnTo>
                        <a:pt x="415" y="341"/>
                      </a:lnTo>
                      <a:lnTo>
                        <a:pt x="419" y="341"/>
                      </a:lnTo>
                      <a:lnTo>
                        <a:pt x="424" y="346"/>
                      </a:lnTo>
                      <a:lnTo>
                        <a:pt x="424" y="346"/>
                      </a:lnTo>
                      <a:lnTo>
                        <a:pt x="419" y="300"/>
                      </a:lnTo>
                      <a:lnTo>
                        <a:pt x="419" y="300"/>
                      </a:lnTo>
                      <a:lnTo>
                        <a:pt x="410" y="287"/>
                      </a:lnTo>
                      <a:lnTo>
                        <a:pt x="401" y="264"/>
                      </a:lnTo>
                      <a:lnTo>
                        <a:pt x="392" y="246"/>
                      </a:lnTo>
                      <a:lnTo>
                        <a:pt x="387" y="232"/>
                      </a:lnTo>
                      <a:lnTo>
                        <a:pt x="396" y="223"/>
                      </a:lnTo>
                      <a:lnTo>
                        <a:pt x="419" y="209"/>
                      </a:lnTo>
                      <a:lnTo>
                        <a:pt x="446" y="205"/>
                      </a:lnTo>
                      <a:lnTo>
                        <a:pt x="469" y="200"/>
                      </a:lnTo>
                      <a:lnTo>
                        <a:pt x="478" y="200"/>
                      </a:lnTo>
                      <a:lnTo>
                        <a:pt x="492" y="200"/>
                      </a:lnTo>
                      <a:lnTo>
                        <a:pt x="506" y="200"/>
                      </a:lnTo>
                      <a:lnTo>
                        <a:pt x="515" y="196"/>
                      </a:lnTo>
                      <a:lnTo>
                        <a:pt x="501" y="164"/>
                      </a:lnTo>
                      <a:lnTo>
                        <a:pt x="474" y="146"/>
                      </a:lnTo>
                      <a:lnTo>
                        <a:pt x="451" y="137"/>
                      </a:lnTo>
                      <a:lnTo>
                        <a:pt x="437" y="123"/>
                      </a:lnTo>
                      <a:lnTo>
                        <a:pt x="437" y="123"/>
                      </a:lnTo>
                      <a:lnTo>
                        <a:pt x="437" y="118"/>
                      </a:lnTo>
                      <a:lnTo>
                        <a:pt x="437" y="118"/>
                      </a:lnTo>
                      <a:lnTo>
                        <a:pt x="437" y="114"/>
                      </a:lnTo>
                      <a:lnTo>
                        <a:pt x="446" y="118"/>
                      </a:lnTo>
                      <a:lnTo>
                        <a:pt x="460" y="118"/>
                      </a:lnTo>
                      <a:lnTo>
                        <a:pt x="469" y="118"/>
                      </a:lnTo>
                      <a:lnTo>
                        <a:pt x="483" y="114"/>
                      </a:lnTo>
                      <a:lnTo>
                        <a:pt x="469" y="91"/>
                      </a:lnTo>
                      <a:lnTo>
                        <a:pt x="446" y="77"/>
                      </a:lnTo>
                      <a:lnTo>
                        <a:pt x="424" y="59"/>
                      </a:lnTo>
                      <a:lnTo>
                        <a:pt x="415" y="32"/>
                      </a:lnTo>
                      <a:lnTo>
                        <a:pt x="415" y="32"/>
                      </a:lnTo>
                      <a:lnTo>
                        <a:pt x="415" y="27"/>
                      </a:lnTo>
                      <a:lnTo>
                        <a:pt x="415" y="27"/>
                      </a:lnTo>
                      <a:lnTo>
                        <a:pt x="415" y="23"/>
                      </a:lnTo>
                      <a:lnTo>
                        <a:pt x="415" y="23"/>
                      </a:lnTo>
                      <a:lnTo>
                        <a:pt x="415" y="27"/>
                      </a:lnTo>
                      <a:lnTo>
                        <a:pt x="415" y="27"/>
                      </a:lnTo>
                      <a:close/>
                    </a:path>
                  </a:pathLst>
                </a:custGeom>
                <a:solidFill>
                  <a:schemeClr val="accent2"/>
                </a:solid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91" name="Freeform 233">
                  <a:extLst>
                    <a:ext uri="{FF2B5EF4-FFF2-40B4-BE49-F238E27FC236}">
                      <a16:creationId xmlns="" xmlns:a16="http://schemas.microsoft.com/office/drawing/2014/main" id="{76505D3B-DA58-4562-9184-D09BB85640AB}"/>
                    </a:ext>
                  </a:extLst>
                </p:cNvPr>
                <p:cNvSpPr>
                  <a:spLocks noChangeAspect="1"/>
                </p:cNvSpPr>
                <p:nvPr/>
              </p:nvSpPr>
              <p:spPr bwMode="auto">
                <a:xfrm>
                  <a:off x="1522" y="1582"/>
                  <a:ext cx="483" cy="368"/>
                </a:xfrm>
                <a:custGeom>
                  <a:avLst/>
                  <a:gdLst>
                    <a:gd name="T0" fmla="*/ 406 w 483"/>
                    <a:gd name="T1" fmla="*/ 313 h 368"/>
                    <a:gd name="T2" fmla="*/ 387 w 483"/>
                    <a:gd name="T3" fmla="*/ 332 h 368"/>
                    <a:gd name="T4" fmla="*/ 360 w 483"/>
                    <a:gd name="T5" fmla="*/ 341 h 368"/>
                    <a:gd name="T6" fmla="*/ 301 w 483"/>
                    <a:gd name="T7" fmla="*/ 332 h 368"/>
                    <a:gd name="T8" fmla="*/ 255 w 483"/>
                    <a:gd name="T9" fmla="*/ 336 h 368"/>
                    <a:gd name="T10" fmla="*/ 223 w 483"/>
                    <a:gd name="T11" fmla="*/ 359 h 368"/>
                    <a:gd name="T12" fmla="*/ 187 w 483"/>
                    <a:gd name="T13" fmla="*/ 363 h 368"/>
                    <a:gd name="T14" fmla="*/ 173 w 483"/>
                    <a:gd name="T15" fmla="*/ 363 h 368"/>
                    <a:gd name="T16" fmla="*/ 160 w 483"/>
                    <a:gd name="T17" fmla="*/ 363 h 368"/>
                    <a:gd name="T18" fmla="*/ 146 w 483"/>
                    <a:gd name="T19" fmla="*/ 363 h 368"/>
                    <a:gd name="T20" fmla="*/ 123 w 483"/>
                    <a:gd name="T21" fmla="*/ 359 h 368"/>
                    <a:gd name="T22" fmla="*/ 73 w 483"/>
                    <a:gd name="T23" fmla="*/ 354 h 368"/>
                    <a:gd name="T24" fmla="*/ 46 w 483"/>
                    <a:gd name="T25" fmla="*/ 341 h 368"/>
                    <a:gd name="T26" fmla="*/ 41 w 483"/>
                    <a:gd name="T27" fmla="*/ 336 h 368"/>
                    <a:gd name="T28" fmla="*/ 37 w 483"/>
                    <a:gd name="T29" fmla="*/ 332 h 368"/>
                    <a:gd name="T30" fmla="*/ 32 w 483"/>
                    <a:gd name="T31" fmla="*/ 286 h 368"/>
                    <a:gd name="T32" fmla="*/ 14 w 483"/>
                    <a:gd name="T33" fmla="*/ 250 h 368"/>
                    <a:gd name="T34" fmla="*/ 0 w 483"/>
                    <a:gd name="T35" fmla="*/ 218 h 368"/>
                    <a:gd name="T36" fmla="*/ 32 w 483"/>
                    <a:gd name="T37" fmla="*/ 195 h 368"/>
                    <a:gd name="T38" fmla="*/ 82 w 483"/>
                    <a:gd name="T39" fmla="*/ 186 h 368"/>
                    <a:gd name="T40" fmla="*/ 105 w 483"/>
                    <a:gd name="T41" fmla="*/ 186 h 368"/>
                    <a:gd name="T42" fmla="*/ 128 w 483"/>
                    <a:gd name="T43" fmla="*/ 182 h 368"/>
                    <a:gd name="T44" fmla="*/ 87 w 483"/>
                    <a:gd name="T45" fmla="*/ 132 h 368"/>
                    <a:gd name="T46" fmla="*/ 50 w 483"/>
                    <a:gd name="T47" fmla="*/ 109 h 368"/>
                    <a:gd name="T48" fmla="*/ 50 w 483"/>
                    <a:gd name="T49" fmla="*/ 104 h 368"/>
                    <a:gd name="T50" fmla="*/ 50 w 483"/>
                    <a:gd name="T51" fmla="*/ 100 h 368"/>
                    <a:gd name="T52" fmla="*/ 73 w 483"/>
                    <a:gd name="T53" fmla="*/ 104 h 368"/>
                    <a:gd name="T54" fmla="*/ 96 w 483"/>
                    <a:gd name="T55" fmla="*/ 100 h 368"/>
                    <a:gd name="T56" fmla="*/ 59 w 483"/>
                    <a:gd name="T57" fmla="*/ 63 h 368"/>
                    <a:gd name="T58" fmla="*/ 28 w 483"/>
                    <a:gd name="T59" fmla="*/ 18 h 368"/>
                    <a:gd name="T60" fmla="*/ 32 w 483"/>
                    <a:gd name="T61" fmla="*/ 4 h 368"/>
                    <a:gd name="T62" fmla="*/ 46 w 483"/>
                    <a:gd name="T63" fmla="*/ 0 h 368"/>
                    <a:gd name="T64" fmla="*/ 73 w 483"/>
                    <a:gd name="T65" fmla="*/ 4 h 368"/>
                    <a:gd name="T66" fmla="*/ 105 w 483"/>
                    <a:gd name="T67" fmla="*/ 9 h 368"/>
                    <a:gd name="T68" fmla="*/ 146 w 483"/>
                    <a:gd name="T69" fmla="*/ 18 h 368"/>
                    <a:gd name="T70" fmla="*/ 196 w 483"/>
                    <a:gd name="T71" fmla="*/ 27 h 368"/>
                    <a:gd name="T72" fmla="*/ 251 w 483"/>
                    <a:gd name="T73" fmla="*/ 27 h 368"/>
                    <a:gd name="T74" fmla="*/ 264 w 483"/>
                    <a:gd name="T75" fmla="*/ 27 h 368"/>
                    <a:gd name="T76" fmla="*/ 292 w 483"/>
                    <a:gd name="T77" fmla="*/ 32 h 368"/>
                    <a:gd name="T78" fmla="*/ 333 w 483"/>
                    <a:gd name="T79" fmla="*/ 50 h 368"/>
                    <a:gd name="T80" fmla="*/ 401 w 483"/>
                    <a:gd name="T81" fmla="*/ 77 h 368"/>
                    <a:gd name="T82" fmla="*/ 447 w 483"/>
                    <a:gd name="T83" fmla="*/ 95 h 368"/>
                    <a:gd name="T84" fmla="*/ 474 w 483"/>
                    <a:gd name="T85" fmla="*/ 113 h 368"/>
                    <a:gd name="T86" fmla="*/ 483 w 483"/>
                    <a:gd name="T87" fmla="*/ 127 h 368"/>
                    <a:gd name="T88" fmla="*/ 424 w 483"/>
                    <a:gd name="T89" fmla="*/ 309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3" h="368">
                      <a:moveTo>
                        <a:pt x="424" y="309"/>
                      </a:moveTo>
                      <a:lnTo>
                        <a:pt x="406" y="313"/>
                      </a:lnTo>
                      <a:lnTo>
                        <a:pt x="392" y="323"/>
                      </a:lnTo>
                      <a:lnTo>
                        <a:pt x="387" y="332"/>
                      </a:lnTo>
                      <a:lnTo>
                        <a:pt x="383" y="350"/>
                      </a:lnTo>
                      <a:lnTo>
                        <a:pt x="360" y="341"/>
                      </a:lnTo>
                      <a:lnTo>
                        <a:pt x="333" y="336"/>
                      </a:lnTo>
                      <a:lnTo>
                        <a:pt x="301" y="332"/>
                      </a:lnTo>
                      <a:lnTo>
                        <a:pt x="274" y="332"/>
                      </a:lnTo>
                      <a:lnTo>
                        <a:pt x="255" y="336"/>
                      </a:lnTo>
                      <a:lnTo>
                        <a:pt x="242" y="345"/>
                      </a:lnTo>
                      <a:lnTo>
                        <a:pt x="223" y="359"/>
                      </a:lnTo>
                      <a:lnTo>
                        <a:pt x="201" y="363"/>
                      </a:lnTo>
                      <a:lnTo>
                        <a:pt x="187" y="363"/>
                      </a:lnTo>
                      <a:lnTo>
                        <a:pt x="178" y="363"/>
                      </a:lnTo>
                      <a:lnTo>
                        <a:pt x="173" y="363"/>
                      </a:lnTo>
                      <a:lnTo>
                        <a:pt x="164" y="363"/>
                      </a:lnTo>
                      <a:lnTo>
                        <a:pt x="160" y="363"/>
                      </a:lnTo>
                      <a:lnTo>
                        <a:pt x="155" y="363"/>
                      </a:lnTo>
                      <a:lnTo>
                        <a:pt x="146" y="363"/>
                      </a:lnTo>
                      <a:lnTo>
                        <a:pt x="141" y="368"/>
                      </a:lnTo>
                      <a:lnTo>
                        <a:pt x="123" y="359"/>
                      </a:lnTo>
                      <a:lnTo>
                        <a:pt x="100" y="354"/>
                      </a:lnTo>
                      <a:lnTo>
                        <a:pt x="73" y="354"/>
                      </a:lnTo>
                      <a:lnTo>
                        <a:pt x="50" y="345"/>
                      </a:lnTo>
                      <a:lnTo>
                        <a:pt x="46" y="341"/>
                      </a:lnTo>
                      <a:lnTo>
                        <a:pt x="46" y="336"/>
                      </a:lnTo>
                      <a:lnTo>
                        <a:pt x="41" y="336"/>
                      </a:lnTo>
                      <a:lnTo>
                        <a:pt x="37" y="332"/>
                      </a:lnTo>
                      <a:lnTo>
                        <a:pt x="37" y="332"/>
                      </a:lnTo>
                      <a:lnTo>
                        <a:pt x="32" y="286"/>
                      </a:lnTo>
                      <a:lnTo>
                        <a:pt x="32" y="286"/>
                      </a:lnTo>
                      <a:lnTo>
                        <a:pt x="23" y="273"/>
                      </a:lnTo>
                      <a:lnTo>
                        <a:pt x="14" y="250"/>
                      </a:lnTo>
                      <a:lnTo>
                        <a:pt x="5" y="232"/>
                      </a:lnTo>
                      <a:lnTo>
                        <a:pt x="0" y="218"/>
                      </a:lnTo>
                      <a:lnTo>
                        <a:pt x="9" y="209"/>
                      </a:lnTo>
                      <a:lnTo>
                        <a:pt x="32" y="195"/>
                      </a:lnTo>
                      <a:lnTo>
                        <a:pt x="59" y="191"/>
                      </a:lnTo>
                      <a:lnTo>
                        <a:pt x="82" y="186"/>
                      </a:lnTo>
                      <a:lnTo>
                        <a:pt x="91" y="186"/>
                      </a:lnTo>
                      <a:lnTo>
                        <a:pt x="105" y="186"/>
                      </a:lnTo>
                      <a:lnTo>
                        <a:pt x="119" y="186"/>
                      </a:lnTo>
                      <a:lnTo>
                        <a:pt x="128" y="182"/>
                      </a:lnTo>
                      <a:lnTo>
                        <a:pt x="114" y="150"/>
                      </a:lnTo>
                      <a:lnTo>
                        <a:pt x="87" y="132"/>
                      </a:lnTo>
                      <a:lnTo>
                        <a:pt x="64" y="123"/>
                      </a:lnTo>
                      <a:lnTo>
                        <a:pt x="50" y="109"/>
                      </a:lnTo>
                      <a:lnTo>
                        <a:pt x="50" y="109"/>
                      </a:lnTo>
                      <a:lnTo>
                        <a:pt x="50" y="104"/>
                      </a:lnTo>
                      <a:lnTo>
                        <a:pt x="50" y="104"/>
                      </a:lnTo>
                      <a:lnTo>
                        <a:pt x="50" y="100"/>
                      </a:lnTo>
                      <a:lnTo>
                        <a:pt x="59" y="104"/>
                      </a:lnTo>
                      <a:lnTo>
                        <a:pt x="73" y="104"/>
                      </a:lnTo>
                      <a:lnTo>
                        <a:pt x="82" y="104"/>
                      </a:lnTo>
                      <a:lnTo>
                        <a:pt x="96" y="100"/>
                      </a:lnTo>
                      <a:lnTo>
                        <a:pt x="82" y="77"/>
                      </a:lnTo>
                      <a:lnTo>
                        <a:pt x="59" y="63"/>
                      </a:lnTo>
                      <a:lnTo>
                        <a:pt x="37" y="45"/>
                      </a:lnTo>
                      <a:lnTo>
                        <a:pt x="28" y="18"/>
                      </a:lnTo>
                      <a:lnTo>
                        <a:pt x="28" y="13"/>
                      </a:lnTo>
                      <a:lnTo>
                        <a:pt x="32" y="4"/>
                      </a:lnTo>
                      <a:lnTo>
                        <a:pt x="37" y="0"/>
                      </a:lnTo>
                      <a:lnTo>
                        <a:pt x="46" y="0"/>
                      </a:lnTo>
                      <a:lnTo>
                        <a:pt x="59" y="0"/>
                      </a:lnTo>
                      <a:lnTo>
                        <a:pt x="73" y="4"/>
                      </a:lnTo>
                      <a:lnTo>
                        <a:pt x="91" y="4"/>
                      </a:lnTo>
                      <a:lnTo>
                        <a:pt x="105" y="9"/>
                      </a:lnTo>
                      <a:lnTo>
                        <a:pt x="123" y="13"/>
                      </a:lnTo>
                      <a:lnTo>
                        <a:pt x="146" y="18"/>
                      </a:lnTo>
                      <a:lnTo>
                        <a:pt x="169" y="23"/>
                      </a:lnTo>
                      <a:lnTo>
                        <a:pt x="196" y="27"/>
                      </a:lnTo>
                      <a:lnTo>
                        <a:pt x="196" y="27"/>
                      </a:lnTo>
                      <a:lnTo>
                        <a:pt x="251" y="27"/>
                      </a:lnTo>
                      <a:lnTo>
                        <a:pt x="251" y="27"/>
                      </a:lnTo>
                      <a:lnTo>
                        <a:pt x="264" y="27"/>
                      </a:lnTo>
                      <a:lnTo>
                        <a:pt x="278" y="32"/>
                      </a:lnTo>
                      <a:lnTo>
                        <a:pt x="292" y="32"/>
                      </a:lnTo>
                      <a:lnTo>
                        <a:pt x="301" y="36"/>
                      </a:lnTo>
                      <a:lnTo>
                        <a:pt x="333" y="50"/>
                      </a:lnTo>
                      <a:lnTo>
                        <a:pt x="365" y="63"/>
                      </a:lnTo>
                      <a:lnTo>
                        <a:pt x="401" y="77"/>
                      </a:lnTo>
                      <a:lnTo>
                        <a:pt x="433" y="91"/>
                      </a:lnTo>
                      <a:lnTo>
                        <a:pt x="447" y="95"/>
                      </a:lnTo>
                      <a:lnTo>
                        <a:pt x="460" y="104"/>
                      </a:lnTo>
                      <a:lnTo>
                        <a:pt x="474" y="113"/>
                      </a:lnTo>
                      <a:lnTo>
                        <a:pt x="483" y="127"/>
                      </a:lnTo>
                      <a:lnTo>
                        <a:pt x="483" y="127"/>
                      </a:lnTo>
                      <a:lnTo>
                        <a:pt x="424" y="309"/>
                      </a:lnTo>
                      <a:lnTo>
                        <a:pt x="424" y="309"/>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92" name="Freeform 234">
                  <a:extLst>
                    <a:ext uri="{FF2B5EF4-FFF2-40B4-BE49-F238E27FC236}">
                      <a16:creationId xmlns="" xmlns:a16="http://schemas.microsoft.com/office/drawing/2014/main" id="{36716E66-3731-4011-AB50-5523EC3CC776}"/>
                    </a:ext>
                  </a:extLst>
                </p:cNvPr>
                <p:cNvSpPr>
                  <a:spLocks noChangeAspect="1"/>
                </p:cNvSpPr>
                <p:nvPr/>
              </p:nvSpPr>
              <p:spPr bwMode="auto">
                <a:xfrm>
                  <a:off x="1253" y="1905"/>
                  <a:ext cx="483" cy="377"/>
                </a:xfrm>
                <a:custGeom>
                  <a:avLst/>
                  <a:gdLst>
                    <a:gd name="T0" fmla="*/ 415 w 483"/>
                    <a:gd name="T1" fmla="*/ 354 h 377"/>
                    <a:gd name="T2" fmla="*/ 365 w 483"/>
                    <a:gd name="T3" fmla="*/ 331 h 377"/>
                    <a:gd name="T4" fmla="*/ 324 w 483"/>
                    <a:gd name="T5" fmla="*/ 327 h 377"/>
                    <a:gd name="T6" fmla="*/ 306 w 483"/>
                    <a:gd name="T7" fmla="*/ 345 h 377"/>
                    <a:gd name="T8" fmla="*/ 292 w 483"/>
                    <a:gd name="T9" fmla="*/ 359 h 377"/>
                    <a:gd name="T10" fmla="*/ 278 w 483"/>
                    <a:gd name="T11" fmla="*/ 372 h 377"/>
                    <a:gd name="T12" fmla="*/ 265 w 483"/>
                    <a:gd name="T13" fmla="*/ 372 h 377"/>
                    <a:gd name="T14" fmla="*/ 251 w 483"/>
                    <a:gd name="T15" fmla="*/ 359 h 377"/>
                    <a:gd name="T16" fmla="*/ 237 w 483"/>
                    <a:gd name="T17" fmla="*/ 349 h 377"/>
                    <a:gd name="T18" fmla="*/ 215 w 483"/>
                    <a:gd name="T19" fmla="*/ 345 h 377"/>
                    <a:gd name="T20" fmla="*/ 196 w 483"/>
                    <a:gd name="T21" fmla="*/ 336 h 377"/>
                    <a:gd name="T22" fmla="*/ 187 w 483"/>
                    <a:gd name="T23" fmla="*/ 318 h 377"/>
                    <a:gd name="T24" fmla="*/ 146 w 483"/>
                    <a:gd name="T25" fmla="*/ 304 h 377"/>
                    <a:gd name="T26" fmla="*/ 105 w 483"/>
                    <a:gd name="T27" fmla="*/ 268 h 377"/>
                    <a:gd name="T28" fmla="*/ 87 w 483"/>
                    <a:gd name="T29" fmla="*/ 209 h 377"/>
                    <a:gd name="T30" fmla="*/ 60 w 483"/>
                    <a:gd name="T31" fmla="*/ 177 h 377"/>
                    <a:gd name="T32" fmla="*/ 51 w 483"/>
                    <a:gd name="T33" fmla="*/ 163 h 377"/>
                    <a:gd name="T34" fmla="*/ 46 w 483"/>
                    <a:gd name="T35" fmla="*/ 145 h 377"/>
                    <a:gd name="T36" fmla="*/ 23 w 483"/>
                    <a:gd name="T37" fmla="*/ 131 h 377"/>
                    <a:gd name="T38" fmla="*/ 5 w 483"/>
                    <a:gd name="T39" fmla="*/ 113 h 377"/>
                    <a:gd name="T40" fmla="*/ 5 w 483"/>
                    <a:gd name="T41" fmla="*/ 77 h 377"/>
                    <a:gd name="T42" fmla="*/ 37 w 483"/>
                    <a:gd name="T43" fmla="*/ 50 h 377"/>
                    <a:gd name="T44" fmla="*/ 73 w 483"/>
                    <a:gd name="T45" fmla="*/ 45 h 377"/>
                    <a:gd name="T46" fmla="*/ 114 w 483"/>
                    <a:gd name="T47" fmla="*/ 63 h 377"/>
                    <a:gd name="T48" fmla="*/ 142 w 483"/>
                    <a:gd name="T49" fmla="*/ 86 h 377"/>
                    <a:gd name="T50" fmla="*/ 155 w 483"/>
                    <a:gd name="T51" fmla="*/ 100 h 377"/>
                    <a:gd name="T52" fmla="*/ 174 w 483"/>
                    <a:gd name="T53" fmla="*/ 100 h 377"/>
                    <a:gd name="T54" fmla="*/ 187 w 483"/>
                    <a:gd name="T55" fmla="*/ 86 h 377"/>
                    <a:gd name="T56" fmla="*/ 192 w 483"/>
                    <a:gd name="T57" fmla="*/ 63 h 377"/>
                    <a:gd name="T58" fmla="*/ 183 w 483"/>
                    <a:gd name="T59" fmla="*/ 45 h 377"/>
                    <a:gd name="T60" fmla="*/ 183 w 483"/>
                    <a:gd name="T61" fmla="*/ 27 h 377"/>
                    <a:gd name="T62" fmla="*/ 183 w 483"/>
                    <a:gd name="T63" fmla="*/ 18 h 377"/>
                    <a:gd name="T64" fmla="*/ 187 w 483"/>
                    <a:gd name="T65" fmla="*/ 13 h 377"/>
                    <a:gd name="T66" fmla="*/ 201 w 483"/>
                    <a:gd name="T67" fmla="*/ 13 h 377"/>
                    <a:gd name="T68" fmla="*/ 205 w 483"/>
                    <a:gd name="T69" fmla="*/ 40 h 377"/>
                    <a:gd name="T70" fmla="*/ 224 w 483"/>
                    <a:gd name="T71" fmla="*/ 63 h 377"/>
                    <a:gd name="T72" fmla="*/ 251 w 483"/>
                    <a:gd name="T73" fmla="*/ 31 h 377"/>
                    <a:gd name="T74" fmla="*/ 283 w 483"/>
                    <a:gd name="T75" fmla="*/ 0 h 377"/>
                    <a:gd name="T76" fmla="*/ 301 w 483"/>
                    <a:gd name="T77" fmla="*/ 9 h 377"/>
                    <a:gd name="T78" fmla="*/ 319 w 483"/>
                    <a:gd name="T79" fmla="*/ 22 h 377"/>
                    <a:gd name="T80" fmla="*/ 369 w 483"/>
                    <a:gd name="T81" fmla="*/ 31 h 377"/>
                    <a:gd name="T82" fmla="*/ 410 w 483"/>
                    <a:gd name="T83" fmla="*/ 45 h 377"/>
                    <a:gd name="T84" fmla="*/ 410 w 483"/>
                    <a:gd name="T85" fmla="*/ 50 h 377"/>
                    <a:gd name="T86" fmla="*/ 406 w 483"/>
                    <a:gd name="T87" fmla="*/ 54 h 377"/>
                    <a:gd name="T88" fmla="*/ 424 w 483"/>
                    <a:gd name="T89" fmla="*/ 90 h 377"/>
                    <a:gd name="T90" fmla="*/ 447 w 483"/>
                    <a:gd name="T91" fmla="*/ 118 h 377"/>
                    <a:gd name="T92" fmla="*/ 461 w 483"/>
                    <a:gd name="T93" fmla="*/ 150 h 377"/>
                    <a:gd name="T94" fmla="*/ 470 w 483"/>
                    <a:gd name="T95" fmla="*/ 190 h 377"/>
                    <a:gd name="T96" fmla="*/ 479 w 483"/>
                    <a:gd name="T97" fmla="*/ 231 h 377"/>
                    <a:gd name="T98" fmla="*/ 483 w 483"/>
                    <a:gd name="T99" fmla="*/ 268 h 377"/>
                    <a:gd name="T100" fmla="*/ 479 w 483"/>
                    <a:gd name="T101" fmla="*/ 336 h 377"/>
                    <a:gd name="T102" fmla="*/ 442 w 483"/>
                    <a:gd name="T103" fmla="*/ 377 h 377"/>
                    <a:gd name="T104" fmla="*/ 438 w 483"/>
                    <a:gd name="T105" fmla="*/ 372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3" h="377">
                      <a:moveTo>
                        <a:pt x="438" y="372"/>
                      </a:moveTo>
                      <a:lnTo>
                        <a:pt x="415" y="354"/>
                      </a:lnTo>
                      <a:lnTo>
                        <a:pt x="388" y="340"/>
                      </a:lnTo>
                      <a:lnTo>
                        <a:pt x="365" y="331"/>
                      </a:lnTo>
                      <a:lnTo>
                        <a:pt x="338" y="327"/>
                      </a:lnTo>
                      <a:lnTo>
                        <a:pt x="324" y="327"/>
                      </a:lnTo>
                      <a:lnTo>
                        <a:pt x="315" y="336"/>
                      </a:lnTo>
                      <a:lnTo>
                        <a:pt x="306" y="345"/>
                      </a:lnTo>
                      <a:lnTo>
                        <a:pt x="297" y="359"/>
                      </a:lnTo>
                      <a:lnTo>
                        <a:pt x="292" y="359"/>
                      </a:lnTo>
                      <a:lnTo>
                        <a:pt x="287" y="363"/>
                      </a:lnTo>
                      <a:lnTo>
                        <a:pt x="278" y="372"/>
                      </a:lnTo>
                      <a:lnTo>
                        <a:pt x="274" y="372"/>
                      </a:lnTo>
                      <a:lnTo>
                        <a:pt x="265" y="372"/>
                      </a:lnTo>
                      <a:lnTo>
                        <a:pt x="260" y="368"/>
                      </a:lnTo>
                      <a:lnTo>
                        <a:pt x="251" y="359"/>
                      </a:lnTo>
                      <a:lnTo>
                        <a:pt x="246" y="354"/>
                      </a:lnTo>
                      <a:lnTo>
                        <a:pt x="237" y="349"/>
                      </a:lnTo>
                      <a:lnTo>
                        <a:pt x="228" y="349"/>
                      </a:lnTo>
                      <a:lnTo>
                        <a:pt x="215" y="345"/>
                      </a:lnTo>
                      <a:lnTo>
                        <a:pt x="205" y="340"/>
                      </a:lnTo>
                      <a:lnTo>
                        <a:pt x="196" y="336"/>
                      </a:lnTo>
                      <a:lnTo>
                        <a:pt x="192" y="327"/>
                      </a:lnTo>
                      <a:lnTo>
                        <a:pt x="187" y="318"/>
                      </a:lnTo>
                      <a:lnTo>
                        <a:pt x="174" y="313"/>
                      </a:lnTo>
                      <a:lnTo>
                        <a:pt x="146" y="304"/>
                      </a:lnTo>
                      <a:lnTo>
                        <a:pt x="123" y="290"/>
                      </a:lnTo>
                      <a:lnTo>
                        <a:pt x="105" y="268"/>
                      </a:lnTo>
                      <a:lnTo>
                        <a:pt x="96" y="240"/>
                      </a:lnTo>
                      <a:lnTo>
                        <a:pt x="87" y="209"/>
                      </a:lnTo>
                      <a:lnTo>
                        <a:pt x="73" y="190"/>
                      </a:lnTo>
                      <a:lnTo>
                        <a:pt x="60" y="177"/>
                      </a:lnTo>
                      <a:lnTo>
                        <a:pt x="51" y="172"/>
                      </a:lnTo>
                      <a:lnTo>
                        <a:pt x="51" y="163"/>
                      </a:lnTo>
                      <a:lnTo>
                        <a:pt x="46" y="154"/>
                      </a:lnTo>
                      <a:lnTo>
                        <a:pt x="46" y="145"/>
                      </a:lnTo>
                      <a:lnTo>
                        <a:pt x="37" y="136"/>
                      </a:lnTo>
                      <a:lnTo>
                        <a:pt x="23" y="131"/>
                      </a:lnTo>
                      <a:lnTo>
                        <a:pt x="14" y="122"/>
                      </a:lnTo>
                      <a:lnTo>
                        <a:pt x="5" y="113"/>
                      </a:lnTo>
                      <a:lnTo>
                        <a:pt x="0" y="95"/>
                      </a:lnTo>
                      <a:lnTo>
                        <a:pt x="5" y="77"/>
                      </a:lnTo>
                      <a:lnTo>
                        <a:pt x="19" y="63"/>
                      </a:lnTo>
                      <a:lnTo>
                        <a:pt x="37" y="50"/>
                      </a:lnTo>
                      <a:lnTo>
                        <a:pt x="46" y="31"/>
                      </a:lnTo>
                      <a:lnTo>
                        <a:pt x="73" y="45"/>
                      </a:lnTo>
                      <a:lnTo>
                        <a:pt x="92" y="54"/>
                      </a:lnTo>
                      <a:lnTo>
                        <a:pt x="114" y="63"/>
                      </a:lnTo>
                      <a:lnTo>
                        <a:pt x="133" y="81"/>
                      </a:lnTo>
                      <a:lnTo>
                        <a:pt x="142" y="86"/>
                      </a:lnTo>
                      <a:lnTo>
                        <a:pt x="146" y="95"/>
                      </a:lnTo>
                      <a:lnTo>
                        <a:pt x="155" y="100"/>
                      </a:lnTo>
                      <a:lnTo>
                        <a:pt x="164" y="104"/>
                      </a:lnTo>
                      <a:lnTo>
                        <a:pt x="174" y="100"/>
                      </a:lnTo>
                      <a:lnTo>
                        <a:pt x="183" y="95"/>
                      </a:lnTo>
                      <a:lnTo>
                        <a:pt x="187" y="86"/>
                      </a:lnTo>
                      <a:lnTo>
                        <a:pt x="192" y="72"/>
                      </a:lnTo>
                      <a:lnTo>
                        <a:pt x="192" y="63"/>
                      </a:lnTo>
                      <a:lnTo>
                        <a:pt x="187" y="54"/>
                      </a:lnTo>
                      <a:lnTo>
                        <a:pt x="183" y="45"/>
                      </a:lnTo>
                      <a:lnTo>
                        <a:pt x="183" y="31"/>
                      </a:lnTo>
                      <a:lnTo>
                        <a:pt x="183" y="27"/>
                      </a:lnTo>
                      <a:lnTo>
                        <a:pt x="183" y="22"/>
                      </a:lnTo>
                      <a:lnTo>
                        <a:pt x="183" y="18"/>
                      </a:lnTo>
                      <a:lnTo>
                        <a:pt x="187" y="13"/>
                      </a:lnTo>
                      <a:lnTo>
                        <a:pt x="187" y="13"/>
                      </a:lnTo>
                      <a:lnTo>
                        <a:pt x="201" y="13"/>
                      </a:lnTo>
                      <a:lnTo>
                        <a:pt x="201" y="13"/>
                      </a:lnTo>
                      <a:lnTo>
                        <a:pt x="201" y="27"/>
                      </a:lnTo>
                      <a:lnTo>
                        <a:pt x="205" y="40"/>
                      </a:lnTo>
                      <a:lnTo>
                        <a:pt x="215" y="59"/>
                      </a:lnTo>
                      <a:lnTo>
                        <a:pt x="224" y="63"/>
                      </a:lnTo>
                      <a:lnTo>
                        <a:pt x="237" y="54"/>
                      </a:lnTo>
                      <a:lnTo>
                        <a:pt x="251" y="31"/>
                      </a:lnTo>
                      <a:lnTo>
                        <a:pt x="265" y="9"/>
                      </a:lnTo>
                      <a:lnTo>
                        <a:pt x="283" y="0"/>
                      </a:lnTo>
                      <a:lnTo>
                        <a:pt x="292" y="4"/>
                      </a:lnTo>
                      <a:lnTo>
                        <a:pt x="301" y="9"/>
                      </a:lnTo>
                      <a:lnTo>
                        <a:pt x="310" y="18"/>
                      </a:lnTo>
                      <a:lnTo>
                        <a:pt x="319" y="22"/>
                      </a:lnTo>
                      <a:lnTo>
                        <a:pt x="342" y="31"/>
                      </a:lnTo>
                      <a:lnTo>
                        <a:pt x="369" y="31"/>
                      </a:lnTo>
                      <a:lnTo>
                        <a:pt x="392" y="36"/>
                      </a:lnTo>
                      <a:lnTo>
                        <a:pt x="410" y="45"/>
                      </a:lnTo>
                      <a:lnTo>
                        <a:pt x="410" y="45"/>
                      </a:lnTo>
                      <a:lnTo>
                        <a:pt x="410" y="50"/>
                      </a:lnTo>
                      <a:lnTo>
                        <a:pt x="406" y="50"/>
                      </a:lnTo>
                      <a:lnTo>
                        <a:pt x="406" y="54"/>
                      </a:lnTo>
                      <a:lnTo>
                        <a:pt x="410" y="72"/>
                      </a:lnTo>
                      <a:lnTo>
                        <a:pt x="424" y="90"/>
                      </a:lnTo>
                      <a:lnTo>
                        <a:pt x="438" y="104"/>
                      </a:lnTo>
                      <a:lnTo>
                        <a:pt x="447" y="118"/>
                      </a:lnTo>
                      <a:lnTo>
                        <a:pt x="451" y="131"/>
                      </a:lnTo>
                      <a:lnTo>
                        <a:pt x="461" y="150"/>
                      </a:lnTo>
                      <a:lnTo>
                        <a:pt x="465" y="168"/>
                      </a:lnTo>
                      <a:lnTo>
                        <a:pt x="470" y="190"/>
                      </a:lnTo>
                      <a:lnTo>
                        <a:pt x="474" y="209"/>
                      </a:lnTo>
                      <a:lnTo>
                        <a:pt x="479" y="231"/>
                      </a:lnTo>
                      <a:lnTo>
                        <a:pt x="483" y="249"/>
                      </a:lnTo>
                      <a:lnTo>
                        <a:pt x="483" y="268"/>
                      </a:lnTo>
                      <a:lnTo>
                        <a:pt x="483" y="299"/>
                      </a:lnTo>
                      <a:lnTo>
                        <a:pt x="479" y="336"/>
                      </a:lnTo>
                      <a:lnTo>
                        <a:pt x="470" y="363"/>
                      </a:lnTo>
                      <a:lnTo>
                        <a:pt x="442" y="377"/>
                      </a:lnTo>
                      <a:lnTo>
                        <a:pt x="442" y="377"/>
                      </a:lnTo>
                      <a:lnTo>
                        <a:pt x="438" y="372"/>
                      </a:lnTo>
                      <a:lnTo>
                        <a:pt x="438" y="372"/>
                      </a:lnTo>
                      <a:close/>
                    </a:path>
                  </a:pathLst>
                </a:custGeom>
                <a:solidFill>
                  <a:schemeClr val="accent2"/>
                </a:solid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93" name="Freeform 235">
                  <a:extLst>
                    <a:ext uri="{FF2B5EF4-FFF2-40B4-BE49-F238E27FC236}">
                      <a16:creationId xmlns="" xmlns:a16="http://schemas.microsoft.com/office/drawing/2014/main" id="{AD565099-09EC-4E1D-AABA-2BA536CED075}"/>
                    </a:ext>
                  </a:extLst>
                </p:cNvPr>
                <p:cNvSpPr>
                  <a:spLocks noChangeAspect="1"/>
                </p:cNvSpPr>
                <p:nvPr/>
              </p:nvSpPr>
              <p:spPr bwMode="auto">
                <a:xfrm>
                  <a:off x="1805" y="1309"/>
                  <a:ext cx="419" cy="400"/>
                </a:xfrm>
                <a:custGeom>
                  <a:avLst/>
                  <a:gdLst>
                    <a:gd name="T0" fmla="*/ 114 w 419"/>
                    <a:gd name="T1" fmla="*/ 23 h 400"/>
                    <a:gd name="T2" fmla="*/ 86 w 419"/>
                    <a:gd name="T3" fmla="*/ 64 h 400"/>
                    <a:gd name="T4" fmla="*/ 82 w 419"/>
                    <a:gd name="T5" fmla="*/ 91 h 400"/>
                    <a:gd name="T6" fmla="*/ 82 w 419"/>
                    <a:gd name="T7" fmla="*/ 100 h 400"/>
                    <a:gd name="T8" fmla="*/ 77 w 419"/>
                    <a:gd name="T9" fmla="*/ 123 h 400"/>
                    <a:gd name="T10" fmla="*/ 63 w 419"/>
                    <a:gd name="T11" fmla="*/ 164 h 400"/>
                    <a:gd name="T12" fmla="*/ 41 w 419"/>
                    <a:gd name="T13" fmla="*/ 196 h 400"/>
                    <a:gd name="T14" fmla="*/ 13 w 419"/>
                    <a:gd name="T15" fmla="*/ 232 h 400"/>
                    <a:gd name="T16" fmla="*/ 4 w 419"/>
                    <a:gd name="T17" fmla="*/ 246 h 400"/>
                    <a:gd name="T18" fmla="*/ 0 w 419"/>
                    <a:gd name="T19" fmla="*/ 305 h 400"/>
                    <a:gd name="T20" fmla="*/ 9 w 419"/>
                    <a:gd name="T21" fmla="*/ 305 h 400"/>
                    <a:gd name="T22" fmla="*/ 18 w 419"/>
                    <a:gd name="T23" fmla="*/ 309 h 400"/>
                    <a:gd name="T24" fmla="*/ 82 w 419"/>
                    <a:gd name="T25" fmla="*/ 336 h 400"/>
                    <a:gd name="T26" fmla="*/ 150 w 419"/>
                    <a:gd name="T27" fmla="*/ 364 h 400"/>
                    <a:gd name="T28" fmla="*/ 177 w 419"/>
                    <a:gd name="T29" fmla="*/ 377 h 400"/>
                    <a:gd name="T30" fmla="*/ 200 w 419"/>
                    <a:gd name="T31" fmla="*/ 400 h 400"/>
                    <a:gd name="T32" fmla="*/ 264 w 419"/>
                    <a:gd name="T33" fmla="*/ 364 h 400"/>
                    <a:gd name="T34" fmla="*/ 328 w 419"/>
                    <a:gd name="T35" fmla="*/ 318 h 400"/>
                    <a:gd name="T36" fmla="*/ 355 w 419"/>
                    <a:gd name="T37" fmla="*/ 273 h 400"/>
                    <a:gd name="T38" fmla="*/ 382 w 419"/>
                    <a:gd name="T39" fmla="*/ 232 h 400"/>
                    <a:gd name="T40" fmla="*/ 401 w 419"/>
                    <a:gd name="T41" fmla="*/ 155 h 400"/>
                    <a:gd name="T42" fmla="*/ 419 w 419"/>
                    <a:gd name="T43" fmla="*/ 141 h 400"/>
                    <a:gd name="T44" fmla="*/ 396 w 419"/>
                    <a:gd name="T45" fmla="*/ 123 h 400"/>
                    <a:gd name="T46" fmla="*/ 373 w 419"/>
                    <a:gd name="T47" fmla="*/ 105 h 400"/>
                    <a:gd name="T48" fmla="*/ 364 w 419"/>
                    <a:gd name="T49" fmla="*/ 96 h 400"/>
                    <a:gd name="T50" fmla="*/ 350 w 419"/>
                    <a:gd name="T51" fmla="*/ 86 h 400"/>
                    <a:gd name="T52" fmla="*/ 323 w 419"/>
                    <a:gd name="T53" fmla="*/ 77 h 400"/>
                    <a:gd name="T54" fmla="*/ 296 w 419"/>
                    <a:gd name="T55" fmla="*/ 73 h 400"/>
                    <a:gd name="T56" fmla="*/ 268 w 419"/>
                    <a:gd name="T57" fmla="*/ 50 h 400"/>
                    <a:gd name="T58" fmla="*/ 237 w 419"/>
                    <a:gd name="T59" fmla="*/ 23 h 400"/>
                    <a:gd name="T60" fmla="*/ 196 w 419"/>
                    <a:gd name="T61" fmla="*/ 9 h 400"/>
                    <a:gd name="T62" fmla="*/ 155 w 419"/>
                    <a:gd name="T63" fmla="*/ 0 h 400"/>
                    <a:gd name="T64" fmla="*/ 141 w 419"/>
                    <a:gd name="T65" fmla="*/ 0 h 400"/>
                    <a:gd name="T66" fmla="*/ 132 w 419"/>
                    <a:gd name="T67" fmla="*/ 5 h 400"/>
                    <a:gd name="T68" fmla="*/ 132 w 419"/>
                    <a:gd name="T69" fmla="*/ 5 h 400"/>
                    <a:gd name="T70" fmla="*/ 132 w 419"/>
                    <a:gd name="T71" fmla="*/ 5 h 400"/>
                    <a:gd name="T72" fmla="*/ 132 w 419"/>
                    <a:gd name="T73" fmla="*/ 5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9" h="400">
                      <a:moveTo>
                        <a:pt x="132" y="5"/>
                      </a:moveTo>
                      <a:lnTo>
                        <a:pt x="114" y="23"/>
                      </a:lnTo>
                      <a:lnTo>
                        <a:pt x="95" y="41"/>
                      </a:lnTo>
                      <a:lnTo>
                        <a:pt x="86" y="64"/>
                      </a:lnTo>
                      <a:lnTo>
                        <a:pt x="82" y="82"/>
                      </a:lnTo>
                      <a:lnTo>
                        <a:pt x="82" y="91"/>
                      </a:lnTo>
                      <a:lnTo>
                        <a:pt x="82" y="96"/>
                      </a:lnTo>
                      <a:lnTo>
                        <a:pt x="82" y="100"/>
                      </a:lnTo>
                      <a:lnTo>
                        <a:pt x="82" y="105"/>
                      </a:lnTo>
                      <a:lnTo>
                        <a:pt x="77" y="123"/>
                      </a:lnTo>
                      <a:lnTo>
                        <a:pt x="73" y="146"/>
                      </a:lnTo>
                      <a:lnTo>
                        <a:pt x="63" y="164"/>
                      </a:lnTo>
                      <a:lnTo>
                        <a:pt x="50" y="182"/>
                      </a:lnTo>
                      <a:lnTo>
                        <a:pt x="41" y="196"/>
                      </a:lnTo>
                      <a:lnTo>
                        <a:pt x="27" y="214"/>
                      </a:lnTo>
                      <a:lnTo>
                        <a:pt x="13" y="232"/>
                      </a:lnTo>
                      <a:lnTo>
                        <a:pt x="4" y="246"/>
                      </a:lnTo>
                      <a:lnTo>
                        <a:pt x="4" y="246"/>
                      </a:lnTo>
                      <a:lnTo>
                        <a:pt x="0" y="305"/>
                      </a:lnTo>
                      <a:lnTo>
                        <a:pt x="0" y="305"/>
                      </a:lnTo>
                      <a:lnTo>
                        <a:pt x="4" y="305"/>
                      </a:lnTo>
                      <a:lnTo>
                        <a:pt x="9" y="305"/>
                      </a:lnTo>
                      <a:lnTo>
                        <a:pt x="13" y="305"/>
                      </a:lnTo>
                      <a:lnTo>
                        <a:pt x="18" y="309"/>
                      </a:lnTo>
                      <a:lnTo>
                        <a:pt x="50" y="323"/>
                      </a:lnTo>
                      <a:lnTo>
                        <a:pt x="82" y="336"/>
                      </a:lnTo>
                      <a:lnTo>
                        <a:pt x="118" y="350"/>
                      </a:lnTo>
                      <a:lnTo>
                        <a:pt x="150" y="364"/>
                      </a:lnTo>
                      <a:lnTo>
                        <a:pt x="164" y="368"/>
                      </a:lnTo>
                      <a:lnTo>
                        <a:pt x="177" y="377"/>
                      </a:lnTo>
                      <a:lnTo>
                        <a:pt x="191" y="386"/>
                      </a:lnTo>
                      <a:lnTo>
                        <a:pt x="200" y="400"/>
                      </a:lnTo>
                      <a:lnTo>
                        <a:pt x="223" y="377"/>
                      </a:lnTo>
                      <a:lnTo>
                        <a:pt x="264" y="364"/>
                      </a:lnTo>
                      <a:lnTo>
                        <a:pt x="305" y="350"/>
                      </a:lnTo>
                      <a:lnTo>
                        <a:pt x="328" y="318"/>
                      </a:lnTo>
                      <a:lnTo>
                        <a:pt x="337" y="296"/>
                      </a:lnTo>
                      <a:lnTo>
                        <a:pt x="355" y="273"/>
                      </a:lnTo>
                      <a:lnTo>
                        <a:pt x="373" y="255"/>
                      </a:lnTo>
                      <a:lnTo>
                        <a:pt x="382" y="232"/>
                      </a:lnTo>
                      <a:lnTo>
                        <a:pt x="387" y="182"/>
                      </a:lnTo>
                      <a:lnTo>
                        <a:pt x="401" y="155"/>
                      </a:lnTo>
                      <a:lnTo>
                        <a:pt x="414" y="141"/>
                      </a:lnTo>
                      <a:lnTo>
                        <a:pt x="419" y="141"/>
                      </a:lnTo>
                      <a:lnTo>
                        <a:pt x="405" y="132"/>
                      </a:lnTo>
                      <a:lnTo>
                        <a:pt x="396" y="123"/>
                      </a:lnTo>
                      <a:lnTo>
                        <a:pt x="382" y="114"/>
                      </a:lnTo>
                      <a:lnTo>
                        <a:pt x="373" y="105"/>
                      </a:lnTo>
                      <a:lnTo>
                        <a:pt x="369" y="100"/>
                      </a:lnTo>
                      <a:lnTo>
                        <a:pt x="364" y="96"/>
                      </a:lnTo>
                      <a:lnTo>
                        <a:pt x="355" y="91"/>
                      </a:lnTo>
                      <a:lnTo>
                        <a:pt x="350" y="86"/>
                      </a:lnTo>
                      <a:lnTo>
                        <a:pt x="337" y="82"/>
                      </a:lnTo>
                      <a:lnTo>
                        <a:pt x="323" y="77"/>
                      </a:lnTo>
                      <a:lnTo>
                        <a:pt x="309" y="77"/>
                      </a:lnTo>
                      <a:lnTo>
                        <a:pt x="296" y="73"/>
                      </a:lnTo>
                      <a:lnTo>
                        <a:pt x="282" y="59"/>
                      </a:lnTo>
                      <a:lnTo>
                        <a:pt x="268" y="50"/>
                      </a:lnTo>
                      <a:lnTo>
                        <a:pt x="255" y="36"/>
                      </a:lnTo>
                      <a:lnTo>
                        <a:pt x="237" y="23"/>
                      </a:lnTo>
                      <a:lnTo>
                        <a:pt x="218" y="14"/>
                      </a:lnTo>
                      <a:lnTo>
                        <a:pt x="196" y="9"/>
                      </a:lnTo>
                      <a:lnTo>
                        <a:pt x="177" y="0"/>
                      </a:lnTo>
                      <a:lnTo>
                        <a:pt x="155" y="0"/>
                      </a:lnTo>
                      <a:lnTo>
                        <a:pt x="150" y="0"/>
                      </a:lnTo>
                      <a:lnTo>
                        <a:pt x="141" y="0"/>
                      </a:lnTo>
                      <a:lnTo>
                        <a:pt x="136" y="0"/>
                      </a:lnTo>
                      <a:lnTo>
                        <a:pt x="132" y="5"/>
                      </a:lnTo>
                      <a:lnTo>
                        <a:pt x="132" y="5"/>
                      </a:lnTo>
                      <a:lnTo>
                        <a:pt x="132" y="5"/>
                      </a:lnTo>
                      <a:lnTo>
                        <a:pt x="132" y="5"/>
                      </a:lnTo>
                      <a:lnTo>
                        <a:pt x="132" y="5"/>
                      </a:lnTo>
                      <a:lnTo>
                        <a:pt x="132" y="5"/>
                      </a:lnTo>
                      <a:lnTo>
                        <a:pt x="132" y="5"/>
                      </a:lnTo>
                      <a:lnTo>
                        <a:pt x="132" y="5"/>
                      </a:lnTo>
                      <a:close/>
                    </a:path>
                  </a:pathLst>
                </a:custGeom>
                <a:solidFill>
                  <a:schemeClr val="accent2"/>
                </a:solid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grpSp>
          <p:grpSp>
            <p:nvGrpSpPr>
              <p:cNvPr id="85" name="Group 236">
                <a:extLst>
                  <a:ext uri="{FF2B5EF4-FFF2-40B4-BE49-F238E27FC236}">
                    <a16:creationId xmlns="" xmlns:a16="http://schemas.microsoft.com/office/drawing/2014/main" id="{A2C40775-0EAF-471E-990F-34F2F8FD2B23}"/>
                  </a:ext>
                </a:extLst>
              </p:cNvPr>
              <p:cNvGrpSpPr>
                <a:grpSpLocks noChangeAspect="1"/>
              </p:cNvGrpSpPr>
              <p:nvPr/>
            </p:nvGrpSpPr>
            <p:grpSpPr bwMode="auto">
              <a:xfrm>
                <a:off x="2674" y="1204"/>
                <a:ext cx="644" cy="565"/>
                <a:chOff x="1363" y="695"/>
                <a:chExt cx="888" cy="719"/>
              </a:xfrm>
              <a:grpFill/>
            </p:grpSpPr>
            <p:sp>
              <p:nvSpPr>
                <p:cNvPr id="86" name="Freeform 237">
                  <a:extLst>
                    <a:ext uri="{FF2B5EF4-FFF2-40B4-BE49-F238E27FC236}">
                      <a16:creationId xmlns="" xmlns:a16="http://schemas.microsoft.com/office/drawing/2014/main" id="{BA4E1FFA-F0C8-4C36-BEE9-0051AB4A266B}"/>
                    </a:ext>
                  </a:extLst>
                </p:cNvPr>
                <p:cNvSpPr>
                  <a:spLocks noChangeAspect="1"/>
                </p:cNvSpPr>
                <p:nvPr/>
              </p:nvSpPr>
              <p:spPr bwMode="auto">
                <a:xfrm>
                  <a:off x="1363" y="695"/>
                  <a:ext cx="351" cy="564"/>
                </a:xfrm>
                <a:custGeom>
                  <a:avLst/>
                  <a:gdLst>
                    <a:gd name="T0" fmla="*/ 237 w 351"/>
                    <a:gd name="T1" fmla="*/ 173 h 564"/>
                    <a:gd name="T2" fmla="*/ 228 w 351"/>
                    <a:gd name="T3" fmla="*/ 169 h 564"/>
                    <a:gd name="T4" fmla="*/ 232 w 351"/>
                    <a:gd name="T5" fmla="*/ 155 h 564"/>
                    <a:gd name="T6" fmla="*/ 196 w 351"/>
                    <a:gd name="T7" fmla="*/ 114 h 564"/>
                    <a:gd name="T8" fmla="*/ 205 w 351"/>
                    <a:gd name="T9" fmla="*/ 73 h 564"/>
                    <a:gd name="T10" fmla="*/ 209 w 351"/>
                    <a:gd name="T11" fmla="*/ 37 h 564"/>
                    <a:gd name="T12" fmla="*/ 168 w 351"/>
                    <a:gd name="T13" fmla="*/ 14 h 564"/>
                    <a:gd name="T14" fmla="*/ 114 w 351"/>
                    <a:gd name="T15" fmla="*/ 37 h 564"/>
                    <a:gd name="T16" fmla="*/ 91 w 351"/>
                    <a:gd name="T17" fmla="*/ 37 h 564"/>
                    <a:gd name="T18" fmla="*/ 45 w 351"/>
                    <a:gd name="T19" fmla="*/ 19 h 564"/>
                    <a:gd name="T20" fmla="*/ 0 w 351"/>
                    <a:gd name="T21" fmla="*/ 5 h 564"/>
                    <a:gd name="T22" fmla="*/ 23 w 351"/>
                    <a:gd name="T23" fmla="*/ 46 h 564"/>
                    <a:gd name="T24" fmla="*/ 23 w 351"/>
                    <a:gd name="T25" fmla="*/ 78 h 564"/>
                    <a:gd name="T26" fmla="*/ 18 w 351"/>
                    <a:gd name="T27" fmla="*/ 110 h 564"/>
                    <a:gd name="T28" fmla="*/ 32 w 351"/>
                    <a:gd name="T29" fmla="*/ 137 h 564"/>
                    <a:gd name="T30" fmla="*/ 32 w 351"/>
                    <a:gd name="T31" fmla="*/ 150 h 564"/>
                    <a:gd name="T32" fmla="*/ 36 w 351"/>
                    <a:gd name="T33" fmla="*/ 173 h 564"/>
                    <a:gd name="T34" fmla="*/ 50 w 351"/>
                    <a:gd name="T35" fmla="*/ 191 h 564"/>
                    <a:gd name="T36" fmla="*/ 64 w 351"/>
                    <a:gd name="T37" fmla="*/ 196 h 564"/>
                    <a:gd name="T38" fmla="*/ 95 w 351"/>
                    <a:gd name="T39" fmla="*/ 246 h 564"/>
                    <a:gd name="T40" fmla="*/ 91 w 351"/>
                    <a:gd name="T41" fmla="*/ 264 h 564"/>
                    <a:gd name="T42" fmla="*/ 95 w 351"/>
                    <a:gd name="T43" fmla="*/ 305 h 564"/>
                    <a:gd name="T44" fmla="*/ 100 w 351"/>
                    <a:gd name="T45" fmla="*/ 360 h 564"/>
                    <a:gd name="T46" fmla="*/ 91 w 351"/>
                    <a:gd name="T47" fmla="*/ 419 h 564"/>
                    <a:gd name="T48" fmla="*/ 114 w 351"/>
                    <a:gd name="T49" fmla="*/ 469 h 564"/>
                    <a:gd name="T50" fmla="*/ 146 w 351"/>
                    <a:gd name="T51" fmla="*/ 496 h 564"/>
                    <a:gd name="T52" fmla="*/ 146 w 351"/>
                    <a:gd name="T53" fmla="*/ 514 h 564"/>
                    <a:gd name="T54" fmla="*/ 118 w 351"/>
                    <a:gd name="T55" fmla="*/ 514 h 564"/>
                    <a:gd name="T56" fmla="*/ 114 w 351"/>
                    <a:gd name="T57" fmla="*/ 532 h 564"/>
                    <a:gd name="T58" fmla="*/ 132 w 351"/>
                    <a:gd name="T59" fmla="*/ 560 h 564"/>
                    <a:gd name="T60" fmla="*/ 164 w 351"/>
                    <a:gd name="T61" fmla="*/ 546 h 564"/>
                    <a:gd name="T62" fmla="*/ 209 w 351"/>
                    <a:gd name="T63" fmla="*/ 537 h 564"/>
                    <a:gd name="T64" fmla="*/ 259 w 351"/>
                    <a:gd name="T65" fmla="*/ 564 h 564"/>
                    <a:gd name="T66" fmla="*/ 278 w 351"/>
                    <a:gd name="T67" fmla="*/ 560 h 564"/>
                    <a:gd name="T68" fmla="*/ 305 w 351"/>
                    <a:gd name="T69" fmla="*/ 560 h 564"/>
                    <a:gd name="T70" fmla="*/ 323 w 351"/>
                    <a:gd name="T71" fmla="*/ 560 h 564"/>
                    <a:gd name="T72" fmla="*/ 351 w 351"/>
                    <a:gd name="T73" fmla="*/ 505 h 564"/>
                    <a:gd name="T74" fmla="*/ 337 w 351"/>
                    <a:gd name="T75" fmla="*/ 464 h 564"/>
                    <a:gd name="T76" fmla="*/ 300 w 351"/>
                    <a:gd name="T77" fmla="*/ 437 h 564"/>
                    <a:gd name="T78" fmla="*/ 259 w 351"/>
                    <a:gd name="T79" fmla="*/ 437 h 564"/>
                    <a:gd name="T80" fmla="*/ 250 w 351"/>
                    <a:gd name="T81" fmla="*/ 410 h 564"/>
                    <a:gd name="T82" fmla="*/ 291 w 351"/>
                    <a:gd name="T83" fmla="*/ 341 h 564"/>
                    <a:gd name="T84" fmla="*/ 291 w 351"/>
                    <a:gd name="T85" fmla="*/ 260 h 564"/>
                    <a:gd name="T86" fmla="*/ 255 w 351"/>
                    <a:gd name="T87" fmla="*/ 214 h 564"/>
                    <a:gd name="T88" fmla="*/ 241 w 351"/>
                    <a:gd name="T89" fmla="*/ 173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51" h="564">
                      <a:moveTo>
                        <a:pt x="241" y="173"/>
                      </a:moveTo>
                      <a:lnTo>
                        <a:pt x="237" y="173"/>
                      </a:lnTo>
                      <a:lnTo>
                        <a:pt x="237" y="173"/>
                      </a:lnTo>
                      <a:lnTo>
                        <a:pt x="232" y="173"/>
                      </a:lnTo>
                      <a:lnTo>
                        <a:pt x="228" y="173"/>
                      </a:lnTo>
                      <a:lnTo>
                        <a:pt x="228" y="169"/>
                      </a:lnTo>
                      <a:lnTo>
                        <a:pt x="228" y="164"/>
                      </a:lnTo>
                      <a:lnTo>
                        <a:pt x="228" y="160"/>
                      </a:lnTo>
                      <a:lnTo>
                        <a:pt x="232" y="155"/>
                      </a:lnTo>
                      <a:lnTo>
                        <a:pt x="223" y="137"/>
                      </a:lnTo>
                      <a:lnTo>
                        <a:pt x="209" y="128"/>
                      </a:lnTo>
                      <a:lnTo>
                        <a:pt x="196" y="114"/>
                      </a:lnTo>
                      <a:lnTo>
                        <a:pt x="191" y="100"/>
                      </a:lnTo>
                      <a:lnTo>
                        <a:pt x="196" y="87"/>
                      </a:lnTo>
                      <a:lnTo>
                        <a:pt x="205" y="73"/>
                      </a:lnTo>
                      <a:lnTo>
                        <a:pt x="209" y="60"/>
                      </a:lnTo>
                      <a:lnTo>
                        <a:pt x="214" y="46"/>
                      </a:lnTo>
                      <a:lnTo>
                        <a:pt x="209" y="37"/>
                      </a:lnTo>
                      <a:lnTo>
                        <a:pt x="200" y="23"/>
                      </a:lnTo>
                      <a:lnTo>
                        <a:pt x="182" y="19"/>
                      </a:lnTo>
                      <a:lnTo>
                        <a:pt x="168" y="14"/>
                      </a:lnTo>
                      <a:lnTo>
                        <a:pt x="146" y="19"/>
                      </a:lnTo>
                      <a:lnTo>
                        <a:pt x="132" y="28"/>
                      </a:lnTo>
                      <a:lnTo>
                        <a:pt x="114" y="37"/>
                      </a:lnTo>
                      <a:lnTo>
                        <a:pt x="95" y="41"/>
                      </a:lnTo>
                      <a:lnTo>
                        <a:pt x="91" y="41"/>
                      </a:lnTo>
                      <a:lnTo>
                        <a:pt x="91" y="37"/>
                      </a:lnTo>
                      <a:lnTo>
                        <a:pt x="86" y="37"/>
                      </a:lnTo>
                      <a:lnTo>
                        <a:pt x="82" y="32"/>
                      </a:lnTo>
                      <a:lnTo>
                        <a:pt x="45" y="19"/>
                      </a:lnTo>
                      <a:lnTo>
                        <a:pt x="23" y="5"/>
                      </a:lnTo>
                      <a:lnTo>
                        <a:pt x="9" y="0"/>
                      </a:lnTo>
                      <a:lnTo>
                        <a:pt x="0" y="5"/>
                      </a:lnTo>
                      <a:lnTo>
                        <a:pt x="0" y="19"/>
                      </a:lnTo>
                      <a:lnTo>
                        <a:pt x="9" y="32"/>
                      </a:lnTo>
                      <a:lnTo>
                        <a:pt x="23" y="46"/>
                      </a:lnTo>
                      <a:lnTo>
                        <a:pt x="27" y="60"/>
                      </a:lnTo>
                      <a:lnTo>
                        <a:pt x="27" y="69"/>
                      </a:lnTo>
                      <a:lnTo>
                        <a:pt x="23" y="78"/>
                      </a:lnTo>
                      <a:lnTo>
                        <a:pt x="13" y="87"/>
                      </a:lnTo>
                      <a:lnTo>
                        <a:pt x="13" y="100"/>
                      </a:lnTo>
                      <a:lnTo>
                        <a:pt x="18" y="110"/>
                      </a:lnTo>
                      <a:lnTo>
                        <a:pt x="23" y="119"/>
                      </a:lnTo>
                      <a:lnTo>
                        <a:pt x="27" y="128"/>
                      </a:lnTo>
                      <a:lnTo>
                        <a:pt x="32" y="137"/>
                      </a:lnTo>
                      <a:lnTo>
                        <a:pt x="32" y="141"/>
                      </a:lnTo>
                      <a:lnTo>
                        <a:pt x="32" y="146"/>
                      </a:lnTo>
                      <a:lnTo>
                        <a:pt x="32" y="150"/>
                      </a:lnTo>
                      <a:lnTo>
                        <a:pt x="32" y="155"/>
                      </a:lnTo>
                      <a:lnTo>
                        <a:pt x="32" y="164"/>
                      </a:lnTo>
                      <a:lnTo>
                        <a:pt x="36" y="173"/>
                      </a:lnTo>
                      <a:lnTo>
                        <a:pt x="45" y="182"/>
                      </a:lnTo>
                      <a:lnTo>
                        <a:pt x="50" y="191"/>
                      </a:lnTo>
                      <a:lnTo>
                        <a:pt x="50" y="191"/>
                      </a:lnTo>
                      <a:lnTo>
                        <a:pt x="50" y="187"/>
                      </a:lnTo>
                      <a:lnTo>
                        <a:pt x="50" y="187"/>
                      </a:lnTo>
                      <a:lnTo>
                        <a:pt x="64" y="196"/>
                      </a:lnTo>
                      <a:lnTo>
                        <a:pt x="77" y="214"/>
                      </a:lnTo>
                      <a:lnTo>
                        <a:pt x="91" y="232"/>
                      </a:lnTo>
                      <a:lnTo>
                        <a:pt x="95" y="246"/>
                      </a:lnTo>
                      <a:lnTo>
                        <a:pt x="95" y="250"/>
                      </a:lnTo>
                      <a:lnTo>
                        <a:pt x="95" y="260"/>
                      </a:lnTo>
                      <a:lnTo>
                        <a:pt x="91" y="264"/>
                      </a:lnTo>
                      <a:lnTo>
                        <a:pt x="91" y="273"/>
                      </a:lnTo>
                      <a:lnTo>
                        <a:pt x="91" y="291"/>
                      </a:lnTo>
                      <a:lnTo>
                        <a:pt x="95" y="305"/>
                      </a:lnTo>
                      <a:lnTo>
                        <a:pt x="100" y="319"/>
                      </a:lnTo>
                      <a:lnTo>
                        <a:pt x="100" y="337"/>
                      </a:lnTo>
                      <a:lnTo>
                        <a:pt x="100" y="360"/>
                      </a:lnTo>
                      <a:lnTo>
                        <a:pt x="95" y="378"/>
                      </a:lnTo>
                      <a:lnTo>
                        <a:pt x="91" y="400"/>
                      </a:lnTo>
                      <a:lnTo>
                        <a:pt x="91" y="419"/>
                      </a:lnTo>
                      <a:lnTo>
                        <a:pt x="95" y="437"/>
                      </a:lnTo>
                      <a:lnTo>
                        <a:pt x="105" y="455"/>
                      </a:lnTo>
                      <a:lnTo>
                        <a:pt x="114" y="469"/>
                      </a:lnTo>
                      <a:lnTo>
                        <a:pt x="123" y="482"/>
                      </a:lnTo>
                      <a:lnTo>
                        <a:pt x="132" y="491"/>
                      </a:lnTo>
                      <a:lnTo>
                        <a:pt x="146" y="496"/>
                      </a:lnTo>
                      <a:lnTo>
                        <a:pt x="155" y="505"/>
                      </a:lnTo>
                      <a:lnTo>
                        <a:pt x="155" y="510"/>
                      </a:lnTo>
                      <a:lnTo>
                        <a:pt x="146" y="514"/>
                      </a:lnTo>
                      <a:lnTo>
                        <a:pt x="136" y="514"/>
                      </a:lnTo>
                      <a:lnTo>
                        <a:pt x="127" y="514"/>
                      </a:lnTo>
                      <a:lnTo>
                        <a:pt x="118" y="514"/>
                      </a:lnTo>
                      <a:lnTo>
                        <a:pt x="118" y="514"/>
                      </a:lnTo>
                      <a:lnTo>
                        <a:pt x="114" y="532"/>
                      </a:lnTo>
                      <a:lnTo>
                        <a:pt x="114" y="532"/>
                      </a:lnTo>
                      <a:lnTo>
                        <a:pt x="118" y="541"/>
                      </a:lnTo>
                      <a:lnTo>
                        <a:pt x="123" y="550"/>
                      </a:lnTo>
                      <a:lnTo>
                        <a:pt x="132" y="560"/>
                      </a:lnTo>
                      <a:lnTo>
                        <a:pt x="141" y="564"/>
                      </a:lnTo>
                      <a:lnTo>
                        <a:pt x="155" y="560"/>
                      </a:lnTo>
                      <a:lnTo>
                        <a:pt x="164" y="546"/>
                      </a:lnTo>
                      <a:lnTo>
                        <a:pt x="173" y="537"/>
                      </a:lnTo>
                      <a:lnTo>
                        <a:pt x="187" y="532"/>
                      </a:lnTo>
                      <a:lnTo>
                        <a:pt x="209" y="537"/>
                      </a:lnTo>
                      <a:lnTo>
                        <a:pt x="232" y="541"/>
                      </a:lnTo>
                      <a:lnTo>
                        <a:pt x="246" y="550"/>
                      </a:lnTo>
                      <a:lnTo>
                        <a:pt x="259" y="564"/>
                      </a:lnTo>
                      <a:lnTo>
                        <a:pt x="264" y="560"/>
                      </a:lnTo>
                      <a:lnTo>
                        <a:pt x="269" y="560"/>
                      </a:lnTo>
                      <a:lnTo>
                        <a:pt x="278" y="560"/>
                      </a:lnTo>
                      <a:lnTo>
                        <a:pt x="291" y="560"/>
                      </a:lnTo>
                      <a:lnTo>
                        <a:pt x="300" y="560"/>
                      </a:lnTo>
                      <a:lnTo>
                        <a:pt x="305" y="560"/>
                      </a:lnTo>
                      <a:lnTo>
                        <a:pt x="314" y="560"/>
                      </a:lnTo>
                      <a:lnTo>
                        <a:pt x="319" y="564"/>
                      </a:lnTo>
                      <a:lnTo>
                        <a:pt x="323" y="560"/>
                      </a:lnTo>
                      <a:lnTo>
                        <a:pt x="337" y="546"/>
                      </a:lnTo>
                      <a:lnTo>
                        <a:pt x="346" y="528"/>
                      </a:lnTo>
                      <a:lnTo>
                        <a:pt x="351" y="505"/>
                      </a:lnTo>
                      <a:lnTo>
                        <a:pt x="351" y="491"/>
                      </a:lnTo>
                      <a:lnTo>
                        <a:pt x="346" y="478"/>
                      </a:lnTo>
                      <a:lnTo>
                        <a:pt x="337" y="464"/>
                      </a:lnTo>
                      <a:lnTo>
                        <a:pt x="337" y="450"/>
                      </a:lnTo>
                      <a:lnTo>
                        <a:pt x="319" y="437"/>
                      </a:lnTo>
                      <a:lnTo>
                        <a:pt x="300" y="437"/>
                      </a:lnTo>
                      <a:lnTo>
                        <a:pt x="287" y="437"/>
                      </a:lnTo>
                      <a:lnTo>
                        <a:pt x="269" y="441"/>
                      </a:lnTo>
                      <a:lnTo>
                        <a:pt x="259" y="437"/>
                      </a:lnTo>
                      <a:lnTo>
                        <a:pt x="255" y="432"/>
                      </a:lnTo>
                      <a:lnTo>
                        <a:pt x="250" y="419"/>
                      </a:lnTo>
                      <a:lnTo>
                        <a:pt x="250" y="410"/>
                      </a:lnTo>
                      <a:lnTo>
                        <a:pt x="259" y="382"/>
                      </a:lnTo>
                      <a:lnTo>
                        <a:pt x="278" y="364"/>
                      </a:lnTo>
                      <a:lnTo>
                        <a:pt x="291" y="341"/>
                      </a:lnTo>
                      <a:lnTo>
                        <a:pt x="300" y="314"/>
                      </a:lnTo>
                      <a:lnTo>
                        <a:pt x="300" y="278"/>
                      </a:lnTo>
                      <a:lnTo>
                        <a:pt x="291" y="260"/>
                      </a:lnTo>
                      <a:lnTo>
                        <a:pt x="278" y="246"/>
                      </a:lnTo>
                      <a:lnTo>
                        <a:pt x="255" y="214"/>
                      </a:lnTo>
                      <a:lnTo>
                        <a:pt x="255" y="214"/>
                      </a:lnTo>
                      <a:lnTo>
                        <a:pt x="246" y="173"/>
                      </a:lnTo>
                      <a:lnTo>
                        <a:pt x="241" y="173"/>
                      </a:lnTo>
                      <a:lnTo>
                        <a:pt x="241" y="173"/>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87" name="Freeform 238">
                  <a:extLst>
                    <a:ext uri="{FF2B5EF4-FFF2-40B4-BE49-F238E27FC236}">
                      <a16:creationId xmlns="" xmlns:a16="http://schemas.microsoft.com/office/drawing/2014/main" id="{B5C09A8F-DDA5-4CE4-96A8-F18E548A816A}"/>
                    </a:ext>
                  </a:extLst>
                </p:cNvPr>
                <p:cNvSpPr>
                  <a:spLocks noChangeAspect="1"/>
                </p:cNvSpPr>
                <p:nvPr/>
              </p:nvSpPr>
              <p:spPr bwMode="auto">
                <a:xfrm>
                  <a:off x="1682" y="1068"/>
                  <a:ext cx="569" cy="346"/>
                </a:xfrm>
                <a:custGeom>
                  <a:avLst/>
                  <a:gdLst>
                    <a:gd name="T0" fmla="*/ 510 w 569"/>
                    <a:gd name="T1" fmla="*/ 105 h 346"/>
                    <a:gd name="T2" fmla="*/ 478 w 569"/>
                    <a:gd name="T3" fmla="*/ 59 h 346"/>
                    <a:gd name="T4" fmla="*/ 437 w 569"/>
                    <a:gd name="T5" fmla="*/ 23 h 346"/>
                    <a:gd name="T6" fmla="*/ 382 w 569"/>
                    <a:gd name="T7" fmla="*/ 5 h 346"/>
                    <a:gd name="T8" fmla="*/ 319 w 569"/>
                    <a:gd name="T9" fmla="*/ 0 h 346"/>
                    <a:gd name="T10" fmla="*/ 268 w 569"/>
                    <a:gd name="T11" fmla="*/ 14 h 346"/>
                    <a:gd name="T12" fmla="*/ 232 w 569"/>
                    <a:gd name="T13" fmla="*/ 37 h 346"/>
                    <a:gd name="T14" fmla="*/ 191 w 569"/>
                    <a:gd name="T15" fmla="*/ 50 h 346"/>
                    <a:gd name="T16" fmla="*/ 141 w 569"/>
                    <a:gd name="T17" fmla="*/ 50 h 346"/>
                    <a:gd name="T18" fmla="*/ 104 w 569"/>
                    <a:gd name="T19" fmla="*/ 50 h 346"/>
                    <a:gd name="T20" fmla="*/ 54 w 569"/>
                    <a:gd name="T21" fmla="*/ 41 h 346"/>
                    <a:gd name="T22" fmla="*/ 22 w 569"/>
                    <a:gd name="T23" fmla="*/ 64 h 346"/>
                    <a:gd name="T24" fmla="*/ 18 w 569"/>
                    <a:gd name="T25" fmla="*/ 91 h 346"/>
                    <a:gd name="T26" fmla="*/ 32 w 569"/>
                    <a:gd name="T27" fmla="*/ 118 h 346"/>
                    <a:gd name="T28" fmla="*/ 27 w 569"/>
                    <a:gd name="T29" fmla="*/ 155 h 346"/>
                    <a:gd name="T30" fmla="*/ 4 w 569"/>
                    <a:gd name="T31" fmla="*/ 187 h 346"/>
                    <a:gd name="T32" fmla="*/ 13 w 569"/>
                    <a:gd name="T33" fmla="*/ 196 h 346"/>
                    <a:gd name="T34" fmla="*/ 45 w 569"/>
                    <a:gd name="T35" fmla="*/ 209 h 346"/>
                    <a:gd name="T36" fmla="*/ 82 w 569"/>
                    <a:gd name="T37" fmla="*/ 205 h 346"/>
                    <a:gd name="T38" fmla="*/ 104 w 569"/>
                    <a:gd name="T39" fmla="*/ 196 h 346"/>
                    <a:gd name="T40" fmla="*/ 123 w 569"/>
                    <a:gd name="T41" fmla="*/ 191 h 346"/>
                    <a:gd name="T42" fmla="*/ 136 w 569"/>
                    <a:gd name="T43" fmla="*/ 196 h 346"/>
                    <a:gd name="T44" fmla="*/ 155 w 569"/>
                    <a:gd name="T45" fmla="*/ 191 h 346"/>
                    <a:gd name="T46" fmla="*/ 177 w 569"/>
                    <a:gd name="T47" fmla="*/ 182 h 346"/>
                    <a:gd name="T48" fmla="*/ 214 w 569"/>
                    <a:gd name="T49" fmla="*/ 187 h 346"/>
                    <a:gd name="T50" fmla="*/ 246 w 569"/>
                    <a:gd name="T51" fmla="*/ 227 h 346"/>
                    <a:gd name="T52" fmla="*/ 259 w 569"/>
                    <a:gd name="T53" fmla="*/ 241 h 346"/>
                    <a:gd name="T54" fmla="*/ 273 w 569"/>
                    <a:gd name="T55" fmla="*/ 241 h 346"/>
                    <a:gd name="T56" fmla="*/ 300 w 569"/>
                    <a:gd name="T57" fmla="*/ 241 h 346"/>
                    <a:gd name="T58" fmla="*/ 341 w 569"/>
                    <a:gd name="T59" fmla="*/ 255 h 346"/>
                    <a:gd name="T60" fmla="*/ 378 w 569"/>
                    <a:gd name="T61" fmla="*/ 277 h 346"/>
                    <a:gd name="T62" fmla="*/ 405 w 569"/>
                    <a:gd name="T63" fmla="*/ 300 h 346"/>
                    <a:gd name="T64" fmla="*/ 432 w 569"/>
                    <a:gd name="T65" fmla="*/ 318 h 346"/>
                    <a:gd name="T66" fmla="*/ 460 w 569"/>
                    <a:gd name="T67" fmla="*/ 323 h 346"/>
                    <a:gd name="T68" fmla="*/ 483 w 569"/>
                    <a:gd name="T69" fmla="*/ 332 h 346"/>
                    <a:gd name="T70" fmla="*/ 496 w 569"/>
                    <a:gd name="T71" fmla="*/ 341 h 346"/>
                    <a:gd name="T72" fmla="*/ 501 w 569"/>
                    <a:gd name="T73" fmla="*/ 327 h 346"/>
                    <a:gd name="T74" fmla="*/ 514 w 569"/>
                    <a:gd name="T75" fmla="*/ 291 h 346"/>
                    <a:gd name="T76" fmla="*/ 533 w 569"/>
                    <a:gd name="T77" fmla="*/ 259 h 346"/>
                    <a:gd name="T78" fmla="*/ 565 w 569"/>
                    <a:gd name="T79" fmla="*/ 232 h 346"/>
                    <a:gd name="T80" fmla="*/ 565 w 569"/>
                    <a:gd name="T81" fmla="*/ 187 h 346"/>
                    <a:gd name="T82" fmla="*/ 537 w 569"/>
                    <a:gd name="T83" fmla="*/ 146 h 346"/>
                    <a:gd name="T84" fmla="*/ 519 w 569"/>
                    <a:gd name="T85" fmla="*/ 132 h 346"/>
                    <a:gd name="T86" fmla="*/ 519 w 569"/>
                    <a:gd name="T87" fmla="*/ 1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9" h="346">
                      <a:moveTo>
                        <a:pt x="519" y="132"/>
                      </a:moveTo>
                      <a:lnTo>
                        <a:pt x="510" y="105"/>
                      </a:lnTo>
                      <a:lnTo>
                        <a:pt x="496" y="82"/>
                      </a:lnTo>
                      <a:lnTo>
                        <a:pt x="478" y="59"/>
                      </a:lnTo>
                      <a:lnTo>
                        <a:pt x="460" y="41"/>
                      </a:lnTo>
                      <a:lnTo>
                        <a:pt x="437" y="23"/>
                      </a:lnTo>
                      <a:lnTo>
                        <a:pt x="410" y="9"/>
                      </a:lnTo>
                      <a:lnTo>
                        <a:pt x="382" y="5"/>
                      </a:lnTo>
                      <a:lnTo>
                        <a:pt x="350" y="0"/>
                      </a:lnTo>
                      <a:lnTo>
                        <a:pt x="319" y="0"/>
                      </a:lnTo>
                      <a:lnTo>
                        <a:pt x="291" y="9"/>
                      </a:lnTo>
                      <a:lnTo>
                        <a:pt x="268" y="14"/>
                      </a:lnTo>
                      <a:lnTo>
                        <a:pt x="250" y="23"/>
                      </a:lnTo>
                      <a:lnTo>
                        <a:pt x="232" y="37"/>
                      </a:lnTo>
                      <a:lnTo>
                        <a:pt x="214" y="41"/>
                      </a:lnTo>
                      <a:lnTo>
                        <a:pt x="191" y="50"/>
                      </a:lnTo>
                      <a:lnTo>
                        <a:pt x="164" y="50"/>
                      </a:lnTo>
                      <a:lnTo>
                        <a:pt x="141" y="50"/>
                      </a:lnTo>
                      <a:lnTo>
                        <a:pt x="123" y="50"/>
                      </a:lnTo>
                      <a:lnTo>
                        <a:pt x="104" y="50"/>
                      </a:lnTo>
                      <a:lnTo>
                        <a:pt x="82" y="46"/>
                      </a:lnTo>
                      <a:lnTo>
                        <a:pt x="54" y="41"/>
                      </a:lnTo>
                      <a:lnTo>
                        <a:pt x="32" y="50"/>
                      </a:lnTo>
                      <a:lnTo>
                        <a:pt x="22" y="64"/>
                      </a:lnTo>
                      <a:lnTo>
                        <a:pt x="18" y="77"/>
                      </a:lnTo>
                      <a:lnTo>
                        <a:pt x="18" y="91"/>
                      </a:lnTo>
                      <a:lnTo>
                        <a:pt x="27" y="105"/>
                      </a:lnTo>
                      <a:lnTo>
                        <a:pt x="32" y="118"/>
                      </a:lnTo>
                      <a:lnTo>
                        <a:pt x="32" y="132"/>
                      </a:lnTo>
                      <a:lnTo>
                        <a:pt x="27" y="155"/>
                      </a:lnTo>
                      <a:lnTo>
                        <a:pt x="18" y="173"/>
                      </a:lnTo>
                      <a:lnTo>
                        <a:pt x="4" y="187"/>
                      </a:lnTo>
                      <a:lnTo>
                        <a:pt x="0" y="191"/>
                      </a:lnTo>
                      <a:lnTo>
                        <a:pt x="13" y="196"/>
                      </a:lnTo>
                      <a:lnTo>
                        <a:pt x="32" y="200"/>
                      </a:lnTo>
                      <a:lnTo>
                        <a:pt x="45" y="209"/>
                      </a:lnTo>
                      <a:lnTo>
                        <a:pt x="68" y="209"/>
                      </a:lnTo>
                      <a:lnTo>
                        <a:pt x="82" y="205"/>
                      </a:lnTo>
                      <a:lnTo>
                        <a:pt x="95" y="200"/>
                      </a:lnTo>
                      <a:lnTo>
                        <a:pt x="104" y="196"/>
                      </a:lnTo>
                      <a:lnTo>
                        <a:pt x="118" y="191"/>
                      </a:lnTo>
                      <a:lnTo>
                        <a:pt x="123" y="191"/>
                      </a:lnTo>
                      <a:lnTo>
                        <a:pt x="132" y="191"/>
                      </a:lnTo>
                      <a:lnTo>
                        <a:pt x="136" y="196"/>
                      </a:lnTo>
                      <a:lnTo>
                        <a:pt x="141" y="196"/>
                      </a:lnTo>
                      <a:lnTo>
                        <a:pt x="155" y="191"/>
                      </a:lnTo>
                      <a:lnTo>
                        <a:pt x="168" y="187"/>
                      </a:lnTo>
                      <a:lnTo>
                        <a:pt x="177" y="182"/>
                      </a:lnTo>
                      <a:lnTo>
                        <a:pt x="196" y="177"/>
                      </a:lnTo>
                      <a:lnTo>
                        <a:pt x="214" y="187"/>
                      </a:lnTo>
                      <a:lnTo>
                        <a:pt x="232" y="205"/>
                      </a:lnTo>
                      <a:lnTo>
                        <a:pt x="246" y="227"/>
                      </a:lnTo>
                      <a:lnTo>
                        <a:pt x="255" y="246"/>
                      </a:lnTo>
                      <a:lnTo>
                        <a:pt x="259" y="241"/>
                      </a:lnTo>
                      <a:lnTo>
                        <a:pt x="264" y="241"/>
                      </a:lnTo>
                      <a:lnTo>
                        <a:pt x="273" y="241"/>
                      </a:lnTo>
                      <a:lnTo>
                        <a:pt x="278" y="241"/>
                      </a:lnTo>
                      <a:lnTo>
                        <a:pt x="300" y="241"/>
                      </a:lnTo>
                      <a:lnTo>
                        <a:pt x="319" y="250"/>
                      </a:lnTo>
                      <a:lnTo>
                        <a:pt x="341" y="255"/>
                      </a:lnTo>
                      <a:lnTo>
                        <a:pt x="360" y="264"/>
                      </a:lnTo>
                      <a:lnTo>
                        <a:pt x="378" y="277"/>
                      </a:lnTo>
                      <a:lnTo>
                        <a:pt x="391" y="291"/>
                      </a:lnTo>
                      <a:lnTo>
                        <a:pt x="405" y="300"/>
                      </a:lnTo>
                      <a:lnTo>
                        <a:pt x="419" y="314"/>
                      </a:lnTo>
                      <a:lnTo>
                        <a:pt x="432" y="318"/>
                      </a:lnTo>
                      <a:lnTo>
                        <a:pt x="446" y="318"/>
                      </a:lnTo>
                      <a:lnTo>
                        <a:pt x="460" y="323"/>
                      </a:lnTo>
                      <a:lnTo>
                        <a:pt x="473" y="327"/>
                      </a:lnTo>
                      <a:lnTo>
                        <a:pt x="483" y="332"/>
                      </a:lnTo>
                      <a:lnTo>
                        <a:pt x="487" y="337"/>
                      </a:lnTo>
                      <a:lnTo>
                        <a:pt x="496" y="341"/>
                      </a:lnTo>
                      <a:lnTo>
                        <a:pt x="501" y="346"/>
                      </a:lnTo>
                      <a:lnTo>
                        <a:pt x="501" y="327"/>
                      </a:lnTo>
                      <a:lnTo>
                        <a:pt x="505" y="309"/>
                      </a:lnTo>
                      <a:lnTo>
                        <a:pt x="514" y="291"/>
                      </a:lnTo>
                      <a:lnTo>
                        <a:pt x="519" y="273"/>
                      </a:lnTo>
                      <a:lnTo>
                        <a:pt x="533" y="259"/>
                      </a:lnTo>
                      <a:lnTo>
                        <a:pt x="551" y="246"/>
                      </a:lnTo>
                      <a:lnTo>
                        <a:pt x="565" y="232"/>
                      </a:lnTo>
                      <a:lnTo>
                        <a:pt x="569" y="209"/>
                      </a:lnTo>
                      <a:lnTo>
                        <a:pt x="565" y="187"/>
                      </a:lnTo>
                      <a:lnTo>
                        <a:pt x="551" y="164"/>
                      </a:lnTo>
                      <a:lnTo>
                        <a:pt x="537" y="146"/>
                      </a:lnTo>
                      <a:lnTo>
                        <a:pt x="519" y="132"/>
                      </a:lnTo>
                      <a:lnTo>
                        <a:pt x="519" y="132"/>
                      </a:lnTo>
                      <a:lnTo>
                        <a:pt x="519" y="132"/>
                      </a:lnTo>
                      <a:lnTo>
                        <a:pt x="519" y="132"/>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88" name="Freeform 239">
                  <a:extLst>
                    <a:ext uri="{FF2B5EF4-FFF2-40B4-BE49-F238E27FC236}">
                      <a16:creationId xmlns="" xmlns:a16="http://schemas.microsoft.com/office/drawing/2014/main" id="{AEDCF49C-C6C4-428C-9349-A0AAC01EC787}"/>
                    </a:ext>
                  </a:extLst>
                </p:cNvPr>
                <p:cNvSpPr>
                  <a:spLocks noChangeAspect="1"/>
                </p:cNvSpPr>
                <p:nvPr/>
              </p:nvSpPr>
              <p:spPr bwMode="auto">
                <a:xfrm>
                  <a:off x="1604" y="859"/>
                  <a:ext cx="474" cy="286"/>
                </a:xfrm>
                <a:custGeom>
                  <a:avLst/>
                  <a:gdLst>
                    <a:gd name="T0" fmla="*/ 415 w 474"/>
                    <a:gd name="T1" fmla="*/ 5 h 286"/>
                    <a:gd name="T2" fmla="*/ 387 w 474"/>
                    <a:gd name="T3" fmla="*/ 14 h 286"/>
                    <a:gd name="T4" fmla="*/ 356 w 474"/>
                    <a:gd name="T5" fmla="*/ 27 h 286"/>
                    <a:gd name="T6" fmla="*/ 305 w 474"/>
                    <a:gd name="T7" fmla="*/ 59 h 286"/>
                    <a:gd name="T8" fmla="*/ 274 w 474"/>
                    <a:gd name="T9" fmla="*/ 59 h 286"/>
                    <a:gd name="T10" fmla="*/ 260 w 474"/>
                    <a:gd name="T11" fmla="*/ 50 h 286"/>
                    <a:gd name="T12" fmla="*/ 237 w 474"/>
                    <a:gd name="T13" fmla="*/ 36 h 286"/>
                    <a:gd name="T14" fmla="*/ 196 w 474"/>
                    <a:gd name="T15" fmla="*/ 27 h 286"/>
                    <a:gd name="T16" fmla="*/ 146 w 474"/>
                    <a:gd name="T17" fmla="*/ 27 h 286"/>
                    <a:gd name="T18" fmla="*/ 82 w 474"/>
                    <a:gd name="T19" fmla="*/ 14 h 286"/>
                    <a:gd name="T20" fmla="*/ 59 w 474"/>
                    <a:gd name="T21" fmla="*/ 0 h 286"/>
                    <a:gd name="T22" fmla="*/ 46 w 474"/>
                    <a:gd name="T23" fmla="*/ 0 h 286"/>
                    <a:gd name="T24" fmla="*/ 37 w 474"/>
                    <a:gd name="T25" fmla="*/ 0 h 286"/>
                    <a:gd name="T26" fmla="*/ 23 w 474"/>
                    <a:gd name="T27" fmla="*/ 0 h 286"/>
                    <a:gd name="T28" fmla="*/ 14 w 474"/>
                    <a:gd name="T29" fmla="*/ 5 h 286"/>
                    <a:gd name="T30" fmla="*/ 5 w 474"/>
                    <a:gd name="T31" fmla="*/ 9 h 286"/>
                    <a:gd name="T32" fmla="*/ 0 w 474"/>
                    <a:gd name="T33" fmla="*/ 9 h 286"/>
                    <a:gd name="T34" fmla="*/ 14 w 474"/>
                    <a:gd name="T35" fmla="*/ 50 h 286"/>
                    <a:gd name="T36" fmla="*/ 37 w 474"/>
                    <a:gd name="T37" fmla="*/ 82 h 286"/>
                    <a:gd name="T38" fmla="*/ 59 w 474"/>
                    <a:gd name="T39" fmla="*/ 114 h 286"/>
                    <a:gd name="T40" fmla="*/ 50 w 474"/>
                    <a:gd name="T41" fmla="*/ 177 h 286"/>
                    <a:gd name="T42" fmla="*/ 18 w 474"/>
                    <a:gd name="T43" fmla="*/ 218 h 286"/>
                    <a:gd name="T44" fmla="*/ 9 w 474"/>
                    <a:gd name="T45" fmla="*/ 255 h 286"/>
                    <a:gd name="T46" fmla="*/ 18 w 474"/>
                    <a:gd name="T47" fmla="*/ 273 h 286"/>
                    <a:gd name="T48" fmla="*/ 46 w 474"/>
                    <a:gd name="T49" fmla="*/ 273 h 286"/>
                    <a:gd name="T50" fmla="*/ 78 w 474"/>
                    <a:gd name="T51" fmla="*/ 273 h 286"/>
                    <a:gd name="T52" fmla="*/ 100 w 474"/>
                    <a:gd name="T53" fmla="*/ 273 h 286"/>
                    <a:gd name="T54" fmla="*/ 132 w 474"/>
                    <a:gd name="T55" fmla="*/ 250 h 286"/>
                    <a:gd name="T56" fmla="*/ 182 w 474"/>
                    <a:gd name="T57" fmla="*/ 259 h 286"/>
                    <a:gd name="T58" fmla="*/ 219 w 474"/>
                    <a:gd name="T59" fmla="*/ 259 h 286"/>
                    <a:gd name="T60" fmla="*/ 269 w 474"/>
                    <a:gd name="T61" fmla="*/ 259 h 286"/>
                    <a:gd name="T62" fmla="*/ 310 w 474"/>
                    <a:gd name="T63" fmla="*/ 246 h 286"/>
                    <a:gd name="T64" fmla="*/ 346 w 474"/>
                    <a:gd name="T65" fmla="*/ 223 h 286"/>
                    <a:gd name="T66" fmla="*/ 397 w 474"/>
                    <a:gd name="T67" fmla="*/ 209 h 286"/>
                    <a:gd name="T68" fmla="*/ 438 w 474"/>
                    <a:gd name="T69" fmla="*/ 209 h 286"/>
                    <a:gd name="T70" fmla="*/ 456 w 474"/>
                    <a:gd name="T71" fmla="*/ 214 h 286"/>
                    <a:gd name="T72" fmla="*/ 469 w 474"/>
                    <a:gd name="T73" fmla="*/ 205 h 286"/>
                    <a:gd name="T74" fmla="*/ 474 w 474"/>
                    <a:gd name="T75" fmla="*/ 182 h 286"/>
                    <a:gd name="T76" fmla="*/ 469 w 474"/>
                    <a:gd name="T77" fmla="*/ 146 h 286"/>
                    <a:gd name="T78" fmla="*/ 456 w 474"/>
                    <a:gd name="T79" fmla="*/ 100 h 286"/>
                    <a:gd name="T80" fmla="*/ 451 w 474"/>
                    <a:gd name="T81" fmla="*/ 68 h 286"/>
                    <a:gd name="T82" fmla="*/ 451 w 474"/>
                    <a:gd name="T83" fmla="*/ 55 h 286"/>
                    <a:gd name="T84" fmla="*/ 451 w 474"/>
                    <a:gd name="T85" fmla="*/ 32 h 286"/>
                    <a:gd name="T86" fmla="*/ 442 w 474"/>
                    <a:gd name="T87" fmla="*/ 18 h 286"/>
                    <a:gd name="T88" fmla="*/ 438 w 474"/>
                    <a:gd name="T89" fmla="*/ 5 h 286"/>
                    <a:gd name="T90" fmla="*/ 433 w 474"/>
                    <a:gd name="T91"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4" h="286">
                      <a:moveTo>
                        <a:pt x="433" y="0"/>
                      </a:moveTo>
                      <a:lnTo>
                        <a:pt x="415" y="5"/>
                      </a:lnTo>
                      <a:lnTo>
                        <a:pt x="401" y="9"/>
                      </a:lnTo>
                      <a:lnTo>
                        <a:pt x="387" y="14"/>
                      </a:lnTo>
                      <a:lnTo>
                        <a:pt x="378" y="14"/>
                      </a:lnTo>
                      <a:lnTo>
                        <a:pt x="356" y="27"/>
                      </a:lnTo>
                      <a:lnTo>
                        <a:pt x="333" y="46"/>
                      </a:lnTo>
                      <a:lnTo>
                        <a:pt x="305" y="59"/>
                      </a:lnTo>
                      <a:lnTo>
                        <a:pt x="283" y="64"/>
                      </a:lnTo>
                      <a:lnTo>
                        <a:pt x="274" y="59"/>
                      </a:lnTo>
                      <a:lnTo>
                        <a:pt x="269" y="55"/>
                      </a:lnTo>
                      <a:lnTo>
                        <a:pt x="260" y="50"/>
                      </a:lnTo>
                      <a:lnTo>
                        <a:pt x="255" y="46"/>
                      </a:lnTo>
                      <a:lnTo>
                        <a:pt x="237" y="36"/>
                      </a:lnTo>
                      <a:lnTo>
                        <a:pt x="219" y="27"/>
                      </a:lnTo>
                      <a:lnTo>
                        <a:pt x="196" y="27"/>
                      </a:lnTo>
                      <a:lnTo>
                        <a:pt x="173" y="27"/>
                      </a:lnTo>
                      <a:lnTo>
                        <a:pt x="146" y="27"/>
                      </a:lnTo>
                      <a:lnTo>
                        <a:pt x="110" y="23"/>
                      </a:lnTo>
                      <a:lnTo>
                        <a:pt x="82" y="14"/>
                      </a:lnTo>
                      <a:lnTo>
                        <a:pt x="64" y="0"/>
                      </a:lnTo>
                      <a:lnTo>
                        <a:pt x="59" y="0"/>
                      </a:lnTo>
                      <a:lnTo>
                        <a:pt x="50" y="0"/>
                      </a:lnTo>
                      <a:lnTo>
                        <a:pt x="46" y="0"/>
                      </a:lnTo>
                      <a:lnTo>
                        <a:pt x="46" y="0"/>
                      </a:lnTo>
                      <a:lnTo>
                        <a:pt x="37" y="0"/>
                      </a:lnTo>
                      <a:lnTo>
                        <a:pt x="32" y="0"/>
                      </a:lnTo>
                      <a:lnTo>
                        <a:pt x="23" y="0"/>
                      </a:lnTo>
                      <a:lnTo>
                        <a:pt x="14" y="5"/>
                      </a:lnTo>
                      <a:lnTo>
                        <a:pt x="14" y="5"/>
                      </a:lnTo>
                      <a:lnTo>
                        <a:pt x="9" y="5"/>
                      </a:lnTo>
                      <a:lnTo>
                        <a:pt x="5" y="9"/>
                      </a:lnTo>
                      <a:lnTo>
                        <a:pt x="0" y="9"/>
                      </a:lnTo>
                      <a:lnTo>
                        <a:pt x="0" y="9"/>
                      </a:lnTo>
                      <a:lnTo>
                        <a:pt x="5" y="9"/>
                      </a:lnTo>
                      <a:lnTo>
                        <a:pt x="14" y="50"/>
                      </a:lnTo>
                      <a:lnTo>
                        <a:pt x="14" y="50"/>
                      </a:lnTo>
                      <a:lnTo>
                        <a:pt x="37" y="82"/>
                      </a:lnTo>
                      <a:lnTo>
                        <a:pt x="50" y="96"/>
                      </a:lnTo>
                      <a:lnTo>
                        <a:pt x="59" y="114"/>
                      </a:lnTo>
                      <a:lnTo>
                        <a:pt x="59" y="150"/>
                      </a:lnTo>
                      <a:lnTo>
                        <a:pt x="50" y="177"/>
                      </a:lnTo>
                      <a:lnTo>
                        <a:pt x="37" y="200"/>
                      </a:lnTo>
                      <a:lnTo>
                        <a:pt x="18" y="218"/>
                      </a:lnTo>
                      <a:lnTo>
                        <a:pt x="9" y="246"/>
                      </a:lnTo>
                      <a:lnTo>
                        <a:pt x="9" y="255"/>
                      </a:lnTo>
                      <a:lnTo>
                        <a:pt x="14" y="268"/>
                      </a:lnTo>
                      <a:lnTo>
                        <a:pt x="18" y="273"/>
                      </a:lnTo>
                      <a:lnTo>
                        <a:pt x="28" y="277"/>
                      </a:lnTo>
                      <a:lnTo>
                        <a:pt x="46" y="273"/>
                      </a:lnTo>
                      <a:lnTo>
                        <a:pt x="59" y="273"/>
                      </a:lnTo>
                      <a:lnTo>
                        <a:pt x="78" y="273"/>
                      </a:lnTo>
                      <a:lnTo>
                        <a:pt x="96" y="286"/>
                      </a:lnTo>
                      <a:lnTo>
                        <a:pt x="100" y="273"/>
                      </a:lnTo>
                      <a:lnTo>
                        <a:pt x="110" y="259"/>
                      </a:lnTo>
                      <a:lnTo>
                        <a:pt x="132" y="250"/>
                      </a:lnTo>
                      <a:lnTo>
                        <a:pt x="160" y="255"/>
                      </a:lnTo>
                      <a:lnTo>
                        <a:pt x="182" y="259"/>
                      </a:lnTo>
                      <a:lnTo>
                        <a:pt x="201" y="259"/>
                      </a:lnTo>
                      <a:lnTo>
                        <a:pt x="219" y="259"/>
                      </a:lnTo>
                      <a:lnTo>
                        <a:pt x="242" y="259"/>
                      </a:lnTo>
                      <a:lnTo>
                        <a:pt x="269" y="259"/>
                      </a:lnTo>
                      <a:lnTo>
                        <a:pt x="292" y="250"/>
                      </a:lnTo>
                      <a:lnTo>
                        <a:pt x="310" y="246"/>
                      </a:lnTo>
                      <a:lnTo>
                        <a:pt x="328" y="232"/>
                      </a:lnTo>
                      <a:lnTo>
                        <a:pt x="346" y="223"/>
                      </a:lnTo>
                      <a:lnTo>
                        <a:pt x="369" y="218"/>
                      </a:lnTo>
                      <a:lnTo>
                        <a:pt x="397" y="209"/>
                      </a:lnTo>
                      <a:lnTo>
                        <a:pt x="428" y="209"/>
                      </a:lnTo>
                      <a:lnTo>
                        <a:pt x="438" y="209"/>
                      </a:lnTo>
                      <a:lnTo>
                        <a:pt x="447" y="209"/>
                      </a:lnTo>
                      <a:lnTo>
                        <a:pt x="456" y="214"/>
                      </a:lnTo>
                      <a:lnTo>
                        <a:pt x="465" y="214"/>
                      </a:lnTo>
                      <a:lnTo>
                        <a:pt x="469" y="205"/>
                      </a:lnTo>
                      <a:lnTo>
                        <a:pt x="469" y="191"/>
                      </a:lnTo>
                      <a:lnTo>
                        <a:pt x="474" y="182"/>
                      </a:lnTo>
                      <a:lnTo>
                        <a:pt x="474" y="173"/>
                      </a:lnTo>
                      <a:lnTo>
                        <a:pt x="469" y="146"/>
                      </a:lnTo>
                      <a:lnTo>
                        <a:pt x="465" y="118"/>
                      </a:lnTo>
                      <a:lnTo>
                        <a:pt x="456" y="100"/>
                      </a:lnTo>
                      <a:lnTo>
                        <a:pt x="451" y="77"/>
                      </a:lnTo>
                      <a:lnTo>
                        <a:pt x="451" y="68"/>
                      </a:lnTo>
                      <a:lnTo>
                        <a:pt x="451" y="59"/>
                      </a:lnTo>
                      <a:lnTo>
                        <a:pt x="451" y="55"/>
                      </a:lnTo>
                      <a:lnTo>
                        <a:pt x="451" y="46"/>
                      </a:lnTo>
                      <a:lnTo>
                        <a:pt x="451" y="32"/>
                      </a:lnTo>
                      <a:lnTo>
                        <a:pt x="447" y="23"/>
                      </a:lnTo>
                      <a:lnTo>
                        <a:pt x="442" y="18"/>
                      </a:lnTo>
                      <a:lnTo>
                        <a:pt x="438" y="5"/>
                      </a:lnTo>
                      <a:lnTo>
                        <a:pt x="438" y="5"/>
                      </a:lnTo>
                      <a:lnTo>
                        <a:pt x="433" y="0"/>
                      </a:lnTo>
                      <a:lnTo>
                        <a:pt x="433" y="0"/>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grpSp>
        </p:grpSp>
        <p:grpSp>
          <p:nvGrpSpPr>
            <p:cNvPr id="8" name="Group 240">
              <a:extLst>
                <a:ext uri="{FF2B5EF4-FFF2-40B4-BE49-F238E27FC236}">
                  <a16:creationId xmlns="" xmlns:a16="http://schemas.microsoft.com/office/drawing/2014/main" id="{FDA1EE69-7D8A-4CE8-A390-424D07A356C2}"/>
                </a:ext>
              </a:extLst>
            </p:cNvPr>
            <p:cNvGrpSpPr>
              <a:grpSpLocks noChangeAspect="1"/>
            </p:cNvGrpSpPr>
            <p:nvPr/>
          </p:nvGrpSpPr>
          <p:grpSpPr bwMode="auto">
            <a:xfrm>
              <a:off x="2466460" y="1197041"/>
              <a:ext cx="1408210" cy="1356452"/>
              <a:chOff x="3116" y="725"/>
              <a:chExt cx="912" cy="876"/>
            </a:xfrm>
            <a:solidFill>
              <a:schemeClr val="bg1">
                <a:lumMod val="20000"/>
                <a:lumOff val="80000"/>
              </a:schemeClr>
            </a:solidFill>
          </p:grpSpPr>
          <p:grpSp>
            <p:nvGrpSpPr>
              <p:cNvPr id="73" name="Group 241">
                <a:extLst>
                  <a:ext uri="{FF2B5EF4-FFF2-40B4-BE49-F238E27FC236}">
                    <a16:creationId xmlns="" xmlns:a16="http://schemas.microsoft.com/office/drawing/2014/main" id="{2EC8FE08-609B-4F0C-8790-2FB9FC5ECFD3}"/>
                  </a:ext>
                </a:extLst>
              </p:cNvPr>
              <p:cNvGrpSpPr>
                <a:grpSpLocks noChangeAspect="1"/>
              </p:cNvGrpSpPr>
              <p:nvPr/>
            </p:nvGrpSpPr>
            <p:grpSpPr bwMode="auto">
              <a:xfrm>
                <a:off x="3404" y="993"/>
                <a:ext cx="624" cy="533"/>
                <a:chOff x="2370" y="427"/>
                <a:chExt cx="860" cy="678"/>
              </a:xfrm>
              <a:grpFill/>
            </p:grpSpPr>
            <p:sp>
              <p:nvSpPr>
                <p:cNvPr id="80" name="Freeform 242">
                  <a:extLst>
                    <a:ext uri="{FF2B5EF4-FFF2-40B4-BE49-F238E27FC236}">
                      <a16:creationId xmlns="" xmlns:a16="http://schemas.microsoft.com/office/drawing/2014/main" id="{37DD9414-F5E5-4D43-82E9-3A4D9408AE43}"/>
                    </a:ext>
                  </a:extLst>
                </p:cNvPr>
                <p:cNvSpPr>
                  <a:spLocks noChangeAspect="1"/>
                </p:cNvSpPr>
                <p:nvPr/>
              </p:nvSpPr>
              <p:spPr bwMode="auto">
                <a:xfrm>
                  <a:off x="2456" y="709"/>
                  <a:ext cx="456" cy="305"/>
                </a:xfrm>
                <a:custGeom>
                  <a:avLst/>
                  <a:gdLst>
                    <a:gd name="T0" fmla="*/ 433 w 456"/>
                    <a:gd name="T1" fmla="*/ 18 h 305"/>
                    <a:gd name="T2" fmla="*/ 433 w 456"/>
                    <a:gd name="T3" fmla="*/ 23 h 305"/>
                    <a:gd name="T4" fmla="*/ 433 w 456"/>
                    <a:gd name="T5" fmla="*/ 27 h 305"/>
                    <a:gd name="T6" fmla="*/ 437 w 456"/>
                    <a:gd name="T7" fmla="*/ 50 h 305"/>
                    <a:gd name="T8" fmla="*/ 451 w 456"/>
                    <a:gd name="T9" fmla="*/ 109 h 305"/>
                    <a:gd name="T10" fmla="*/ 442 w 456"/>
                    <a:gd name="T11" fmla="*/ 159 h 305"/>
                    <a:gd name="T12" fmla="*/ 405 w 456"/>
                    <a:gd name="T13" fmla="*/ 182 h 305"/>
                    <a:gd name="T14" fmla="*/ 401 w 456"/>
                    <a:gd name="T15" fmla="*/ 205 h 305"/>
                    <a:gd name="T16" fmla="*/ 410 w 456"/>
                    <a:gd name="T17" fmla="*/ 218 h 305"/>
                    <a:gd name="T18" fmla="*/ 419 w 456"/>
                    <a:gd name="T19" fmla="*/ 241 h 305"/>
                    <a:gd name="T20" fmla="*/ 451 w 456"/>
                    <a:gd name="T21" fmla="*/ 246 h 305"/>
                    <a:gd name="T22" fmla="*/ 456 w 456"/>
                    <a:gd name="T23" fmla="*/ 264 h 305"/>
                    <a:gd name="T24" fmla="*/ 446 w 456"/>
                    <a:gd name="T25" fmla="*/ 273 h 305"/>
                    <a:gd name="T26" fmla="*/ 437 w 456"/>
                    <a:gd name="T27" fmla="*/ 286 h 305"/>
                    <a:gd name="T28" fmla="*/ 410 w 456"/>
                    <a:gd name="T29" fmla="*/ 305 h 305"/>
                    <a:gd name="T30" fmla="*/ 378 w 456"/>
                    <a:gd name="T31" fmla="*/ 296 h 305"/>
                    <a:gd name="T32" fmla="*/ 346 w 456"/>
                    <a:gd name="T33" fmla="*/ 300 h 305"/>
                    <a:gd name="T34" fmla="*/ 323 w 456"/>
                    <a:gd name="T35" fmla="*/ 305 h 305"/>
                    <a:gd name="T36" fmla="*/ 314 w 456"/>
                    <a:gd name="T37" fmla="*/ 291 h 305"/>
                    <a:gd name="T38" fmla="*/ 296 w 456"/>
                    <a:gd name="T39" fmla="*/ 291 h 305"/>
                    <a:gd name="T40" fmla="*/ 282 w 456"/>
                    <a:gd name="T41" fmla="*/ 305 h 305"/>
                    <a:gd name="T42" fmla="*/ 260 w 456"/>
                    <a:gd name="T43" fmla="*/ 300 h 305"/>
                    <a:gd name="T44" fmla="*/ 241 w 456"/>
                    <a:gd name="T45" fmla="*/ 273 h 305"/>
                    <a:gd name="T46" fmla="*/ 210 w 456"/>
                    <a:gd name="T47" fmla="*/ 264 h 305"/>
                    <a:gd name="T48" fmla="*/ 173 w 456"/>
                    <a:gd name="T49" fmla="*/ 268 h 305"/>
                    <a:gd name="T50" fmla="*/ 146 w 456"/>
                    <a:gd name="T51" fmla="*/ 264 h 305"/>
                    <a:gd name="T52" fmla="*/ 137 w 456"/>
                    <a:gd name="T53" fmla="*/ 250 h 305"/>
                    <a:gd name="T54" fmla="*/ 118 w 456"/>
                    <a:gd name="T55" fmla="*/ 250 h 305"/>
                    <a:gd name="T56" fmla="*/ 96 w 456"/>
                    <a:gd name="T57" fmla="*/ 264 h 305"/>
                    <a:gd name="T58" fmla="*/ 68 w 456"/>
                    <a:gd name="T59" fmla="*/ 259 h 305"/>
                    <a:gd name="T60" fmla="*/ 36 w 456"/>
                    <a:gd name="T61" fmla="*/ 246 h 305"/>
                    <a:gd name="T62" fmla="*/ 27 w 456"/>
                    <a:gd name="T63" fmla="*/ 227 h 305"/>
                    <a:gd name="T64" fmla="*/ 32 w 456"/>
                    <a:gd name="T65" fmla="*/ 214 h 305"/>
                    <a:gd name="T66" fmla="*/ 27 w 456"/>
                    <a:gd name="T67" fmla="*/ 191 h 305"/>
                    <a:gd name="T68" fmla="*/ 14 w 456"/>
                    <a:gd name="T69" fmla="*/ 173 h 305"/>
                    <a:gd name="T70" fmla="*/ 9 w 456"/>
                    <a:gd name="T71" fmla="*/ 141 h 305"/>
                    <a:gd name="T72" fmla="*/ 23 w 456"/>
                    <a:gd name="T73" fmla="*/ 123 h 305"/>
                    <a:gd name="T74" fmla="*/ 18 w 456"/>
                    <a:gd name="T75" fmla="*/ 91 h 305"/>
                    <a:gd name="T76" fmla="*/ 5 w 456"/>
                    <a:gd name="T77" fmla="*/ 68 h 305"/>
                    <a:gd name="T78" fmla="*/ 5 w 456"/>
                    <a:gd name="T79" fmla="*/ 32 h 305"/>
                    <a:gd name="T80" fmla="*/ 23 w 456"/>
                    <a:gd name="T81" fmla="*/ 9 h 305"/>
                    <a:gd name="T82" fmla="*/ 55 w 456"/>
                    <a:gd name="T83" fmla="*/ 0 h 305"/>
                    <a:gd name="T84" fmla="*/ 82 w 456"/>
                    <a:gd name="T85" fmla="*/ 9 h 305"/>
                    <a:gd name="T86" fmla="*/ 132 w 456"/>
                    <a:gd name="T87" fmla="*/ 9 h 305"/>
                    <a:gd name="T88" fmla="*/ 196 w 456"/>
                    <a:gd name="T89" fmla="*/ 18 h 305"/>
                    <a:gd name="T90" fmla="*/ 237 w 456"/>
                    <a:gd name="T91" fmla="*/ 41 h 305"/>
                    <a:gd name="T92" fmla="*/ 264 w 456"/>
                    <a:gd name="T93" fmla="*/ 73 h 305"/>
                    <a:gd name="T94" fmla="*/ 314 w 456"/>
                    <a:gd name="T95" fmla="*/ 68 h 305"/>
                    <a:gd name="T96" fmla="*/ 355 w 456"/>
                    <a:gd name="T97" fmla="*/ 32 h 305"/>
                    <a:gd name="T98" fmla="*/ 392 w 456"/>
                    <a:gd name="T99" fmla="*/ 23 h 305"/>
                    <a:gd name="T100" fmla="*/ 405 w 456"/>
                    <a:gd name="T101" fmla="*/ 32 h 305"/>
                    <a:gd name="T102" fmla="*/ 419 w 456"/>
                    <a:gd name="T103" fmla="*/ 32 h 305"/>
                    <a:gd name="T104" fmla="*/ 424 w 456"/>
                    <a:gd name="T105" fmla="*/ 32 h 305"/>
                    <a:gd name="T106" fmla="*/ 428 w 456"/>
                    <a:gd name="T107" fmla="*/ 32 h 305"/>
                    <a:gd name="T108" fmla="*/ 433 w 456"/>
                    <a:gd name="T109" fmla="*/ 18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6" h="305">
                      <a:moveTo>
                        <a:pt x="433" y="18"/>
                      </a:moveTo>
                      <a:lnTo>
                        <a:pt x="433" y="18"/>
                      </a:lnTo>
                      <a:lnTo>
                        <a:pt x="433" y="18"/>
                      </a:lnTo>
                      <a:lnTo>
                        <a:pt x="433" y="23"/>
                      </a:lnTo>
                      <a:lnTo>
                        <a:pt x="433" y="23"/>
                      </a:lnTo>
                      <a:lnTo>
                        <a:pt x="433" y="27"/>
                      </a:lnTo>
                      <a:lnTo>
                        <a:pt x="428" y="32"/>
                      </a:lnTo>
                      <a:lnTo>
                        <a:pt x="437" y="50"/>
                      </a:lnTo>
                      <a:lnTo>
                        <a:pt x="446" y="77"/>
                      </a:lnTo>
                      <a:lnTo>
                        <a:pt x="451" y="109"/>
                      </a:lnTo>
                      <a:lnTo>
                        <a:pt x="451" y="136"/>
                      </a:lnTo>
                      <a:lnTo>
                        <a:pt x="442" y="159"/>
                      </a:lnTo>
                      <a:lnTo>
                        <a:pt x="424" y="173"/>
                      </a:lnTo>
                      <a:lnTo>
                        <a:pt x="405" y="182"/>
                      </a:lnTo>
                      <a:lnTo>
                        <a:pt x="396" y="196"/>
                      </a:lnTo>
                      <a:lnTo>
                        <a:pt x="401" y="205"/>
                      </a:lnTo>
                      <a:lnTo>
                        <a:pt x="405" y="214"/>
                      </a:lnTo>
                      <a:lnTo>
                        <a:pt x="410" y="218"/>
                      </a:lnTo>
                      <a:lnTo>
                        <a:pt x="415" y="232"/>
                      </a:lnTo>
                      <a:lnTo>
                        <a:pt x="419" y="241"/>
                      </a:lnTo>
                      <a:lnTo>
                        <a:pt x="437" y="246"/>
                      </a:lnTo>
                      <a:lnTo>
                        <a:pt x="451" y="246"/>
                      </a:lnTo>
                      <a:lnTo>
                        <a:pt x="456" y="255"/>
                      </a:lnTo>
                      <a:lnTo>
                        <a:pt x="456" y="264"/>
                      </a:lnTo>
                      <a:lnTo>
                        <a:pt x="451" y="268"/>
                      </a:lnTo>
                      <a:lnTo>
                        <a:pt x="446" y="273"/>
                      </a:lnTo>
                      <a:lnTo>
                        <a:pt x="446" y="282"/>
                      </a:lnTo>
                      <a:lnTo>
                        <a:pt x="437" y="286"/>
                      </a:lnTo>
                      <a:lnTo>
                        <a:pt x="424" y="296"/>
                      </a:lnTo>
                      <a:lnTo>
                        <a:pt x="410" y="305"/>
                      </a:lnTo>
                      <a:lnTo>
                        <a:pt x="396" y="305"/>
                      </a:lnTo>
                      <a:lnTo>
                        <a:pt x="378" y="296"/>
                      </a:lnTo>
                      <a:lnTo>
                        <a:pt x="360" y="296"/>
                      </a:lnTo>
                      <a:lnTo>
                        <a:pt x="346" y="300"/>
                      </a:lnTo>
                      <a:lnTo>
                        <a:pt x="333" y="305"/>
                      </a:lnTo>
                      <a:lnTo>
                        <a:pt x="323" y="305"/>
                      </a:lnTo>
                      <a:lnTo>
                        <a:pt x="319" y="296"/>
                      </a:lnTo>
                      <a:lnTo>
                        <a:pt x="314" y="291"/>
                      </a:lnTo>
                      <a:lnTo>
                        <a:pt x="305" y="291"/>
                      </a:lnTo>
                      <a:lnTo>
                        <a:pt x="296" y="291"/>
                      </a:lnTo>
                      <a:lnTo>
                        <a:pt x="292" y="296"/>
                      </a:lnTo>
                      <a:lnTo>
                        <a:pt x="282" y="305"/>
                      </a:lnTo>
                      <a:lnTo>
                        <a:pt x="278" y="305"/>
                      </a:lnTo>
                      <a:lnTo>
                        <a:pt x="260" y="300"/>
                      </a:lnTo>
                      <a:lnTo>
                        <a:pt x="251" y="286"/>
                      </a:lnTo>
                      <a:lnTo>
                        <a:pt x="241" y="273"/>
                      </a:lnTo>
                      <a:lnTo>
                        <a:pt x="228" y="264"/>
                      </a:lnTo>
                      <a:lnTo>
                        <a:pt x="210" y="264"/>
                      </a:lnTo>
                      <a:lnTo>
                        <a:pt x="191" y="264"/>
                      </a:lnTo>
                      <a:lnTo>
                        <a:pt x="173" y="268"/>
                      </a:lnTo>
                      <a:lnTo>
                        <a:pt x="150" y="264"/>
                      </a:lnTo>
                      <a:lnTo>
                        <a:pt x="146" y="264"/>
                      </a:lnTo>
                      <a:lnTo>
                        <a:pt x="141" y="255"/>
                      </a:lnTo>
                      <a:lnTo>
                        <a:pt x="137" y="250"/>
                      </a:lnTo>
                      <a:lnTo>
                        <a:pt x="132" y="250"/>
                      </a:lnTo>
                      <a:lnTo>
                        <a:pt x="118" y="250"/>
                      </a:lnTo>
                      <a:lnTo>
                        <a:pt x="109" y="255"/>
                      </a:lnTo>
                      <a:lnTo>
                        <a:pt x="96" y="264"/>
                      </a:lnTo>
                      <a:lnTo>
                        <a:pt x="82" y="264"/>
                      </a:lnTo>
                      <a:lnTo>
                        <a:pt x="68" y="259"/>
                      </a:lnTo>
                      <a:lnTo>
                        <a:pt x="50" y="255"/>
                      </a:lnTo>
                      <a:lnTo>
                        <a:pt x="36" y="246"/>
                      </a:lnTo>
                      <a:lnTo>
                        <a:pt x="23" y="236"/>
                      </a:lnTo>
                      <a:lnTo>
                        <a:pt x="27" y="227"/>
                      </a:lnTo>
                      <a:lnTo>
                        <a:pt x="27" y="218"/>
                      </a:lnTo>
                      <a:lnTo>
                        <a:pt x="32" y="214"/>
                      </a:lnTo>
                      <a:lnTo>
                        <a:pt x="32" y="205"/>
                      </a:lnTo>
                      <a:lnTo>
                        <a:pt x="27" y="191"/>
                      </a:lnTo>
                      <a:lnTo>
                        <a:pt x="23" y="182"/>
                      </a:lnTo>
                      <a:lnTo>
                        <a:pt x="14" y="173"/>
                      </a:lnTo>
                      <a:lnTo>
                        <a:pt x="9" y="155"/>
                      </a:lnTo>
                      <a:lnTo>
                        <a:pt x="9" y="141"/>
                      </a:lnTo>
                      <a:lnTo>
                        <a:pt x="18" y="132"/>
                      </a:lnTo>
                      <a:lnTo>
                        <a:pt x="23" y="123"/>
                      </a:lnTo>
                      <a:lnTo>
                        <a:pt x="23" y="109"/>
                      </a:lnTo>
                      <a:lnTo>
                        <a:pt x="18" y="91"/>
                      </a:lnTo>
                      <a:lnTo>
                        <a:pt x="14" y="77"/>
                      </a:lnTo>
                      <a:lnTo>
                        <a:pt x="5" y="68"/>
                      </a:lnTo>
                      <a:lnTo>
                        <a:pt x="0" y="50"/>
                      </a:lnTo>
                      <a:lnTo>
                        <a:pt x="5" y="32"/>
                      </a:lnTo>
                      <a:lnTo>
                        <a:pt x="14" y="18"/>
                      </a:lnTo>
                      <a:lnTo>
                        <a:pt x="23" y="9"/>
                      </a:lnTo>
                      <a:lnTo>
                        <a:pt x="36" y="0"/>
                      </a:lnTo>
                      <a:lnTo>
                        <a:pt x="55" y="0"/>
                      </a:lnTo>
                      <a:lnTo>
                        <a:pt x="68" y="5"/>
                      </a:lnTo>
                      <a:lnTo>
                        <a:pt x="82" y="9"/>
                      </a:lnTo>
                      <a:lnTo>
                        <a:pt x="100" y="9"/>
                      </a:lnTo>
                      <a:lnTo>
                        <a:pt x="132" y="9"/>
                      </a:lnTo>
                      <a:lnTo>
                        <a:pt x="164" y="9"/>
                      </a:lnTo>
                      <a:lnTo>
                        <a:pt x="196" y="18"/>
                      </a:lnTo>
                      <a:lnTo>
                        <a:pt x="223" y="32"/>
                      </a:lnTo>
                      <a:lnTo>
                        <a:pt x="237" y="41"/>
                      </a:lnTo>
                      <a:lnTo>
                        <a:pt x="251" y="59"/>
                      </a:lnTo>
                      <a:lnTo>
                        <a:pt x="264" y="73"/>
                      </a:lnTo>
                      <a:lnTo>
                        <a:pt x="287" y="77"/>
                      </a:lnTo>
                      <a:lnTo>
                        <a:pt x="314" y="68"/>
                      </a:lnTo>
                      <a:lnTo>
                        <a:pt x="337" y="50"/>
                      </a:lnTo>
                      <a:lnTo>
                        <a:pt x="355" y="32"/>
                      </a:lnTo>
                      <a:lnTo>
                        <a:pt x="383" y="23"/>
                      </a:lnTo>
                      <a:lnTo>
                        <a:pt x="392" y="23"/>
                      </a:lnTo>
                      <a:lnTo>
                        <a:pt x="396" y="27"/>
                      </a:lnTo>
                      <a:lnTo>
                        <a:pt x="405" y="32"/>
                      </a:lnTo>
                      <a:lnTo>
                        <a:pt x="415" y="32"/>
                      </a:lnTo>
                      <a:lnTo>
                        <a:pt x="419" y="32"/>
                      </a:lnTo>
                      <a:lnTo>
                        <a:pt x="424" y="32"/>
                      </a:lnTo>
                      <a:lnTo>
                        <a:pt x="424" y="32"/>
                      </a:lnTo>
                      <a:lnTo>
                        <a:pt x="428" y="32"/>
                      </a:lnTo>
                      <a:lnTo>
                        <a:pt x="428" y="32"/>
                      </a:lnTo>
                      <a:lnTo>
                        <a:pt x="433" y="18"/>
                      </a:lnTo>
                      <a:lnTo>
                        <a:pt x="433" y="18"/>
                      </a:lnTo>
                      <a:close/>
                    </a:path>
                  </a:pathLst>
                </a:custGeom>
                <a:grp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81" name="Freeform 243">
                  <a:extLst>
                    <a:ext uri="{FF2B5EF4-FFF2-40B4-BE49-F238E27FC236}">
                      <a16:creationId xmlns="" xmlns:a16="http://schemas.microsoft.com/office/drawing/2014/main" id="{FFC97D50-742F-431B-8A2A-901BC49796EC}"/>
                    </a:ext>
                  </a:extLst>
                </p:cNvPr>
                <p:cNvSpPr>
                  <a:spLocks noChangeAspect="1"/>
                </p:cNvSpPr>
                <p:nvPr/>
              </p:nvSpPr>
              <p:spPr bwMode="auto">
                <a:xfrm>
                  <a:off x="2852" y="559"/>
                  <a:ext cx="378" cy="546"/>
                </a:xfrm>
                <a:custGeom>
                  <a:avLst/>
                  <a:gdLst>
                    <a:gd name="T0" fmla="*/ 37 w 378"/>
                    <a:gd name="T1" fmla="*/ 27 h 546"/>
                    <a:gd name="T2" fmla="*/ 46 w 378"/>
                    <a:gd name="T3" fmla="*/ 41 h 546"/>
                    <a:gd name="T4" fmla="*/ 41 w 378"/>
                    <a:gd name="T5" fmla="*/ 64 h 546"/>
                    <a:gd name="T6" fmla="*/ 32 w 378"/>
                    <a:gd name="T7" fmla="*/ 105 h 546"/>
                    <a:gd name="T8" fmla="*/ 28 w 378"/>
                    <a:gd name="T9" fmla="*/ 136 h 546"/>
                    <a:gd name="T10" fmla="*/ 37 w 378"/>
                    <a:gd name="T11" fmla="*/ 155 h 546"/>
                    <a:gd name="T12" fmla="*/ 37 w 378"/>
                    <a:gd name="T13" fmla="*/ 168 h 546"/>
                    <a:gd name="T14" fmla="*/ 37 w 378"/>
                    <a:gd name="T15" fmla="*/ 168 h 546"/>
                    <a:gd name="T16" fmla="*/ 37 w 378"/>
                    <a:gd name="T17" fmla="*/ 173 h 546"/>
                    <a:gd name="T18" fmla="*/ 32 w 378"/>
                    <a:gd name="T19" fmla="*/ 182 h 546"/>
                    <a:gd name="T20" fmla="*/ 50 w 378"/>
                    <a:gd name="T21" fmla="*/ 227 h 546"/>
                    <a:gd name="T22" fmla="*/ 55 w 378"/>
                    <a:gd name="T23" fmla="*/ 286 h 546"/>
                    <a:gd name="T24" fmla="*/ 28 w 378"/>
                    <a:gd name="T25" fmla="*/ 323 h 546"/>
                    <a:gd name="T26" fmla="*/ 0 w 378"/>
                    <a:gd name="T27" fmla="*/ 346 h 546"/>
                    <a:gd name="T28" fmla="*/ 9 w 378"/>
                    <a:gd name="T29" fmla="*/ 364 h 546"/>
                    <a:gd name="T30" fmla="*/ 19 w 378"/>
                    <a:gd name="T31" fmla="*/ 382 h 546"/>
                    <a:gd name="T32" fmla="*/ 41 w 378"/>
                    <a:gd name="T33" fmla="*/ 396 h 546"/>
                    <a:gd name="T34" fmla="*/ 60 w 378"/>
                    <a:gd name="T35" fmla="*/ 405 h 546"/>
                    <a:gd name="T36" fmla="*/ 55 w 378"/>
                    <a:gd name="T37" fmla="*/ 418 h 546"/>
                    <a:gd name="T38" fmla="*/ 50 w 378"/>
                    <a:gd name="T39" fmla="*/ 432 h 546"/>
                    <a:gd name="T40" fmla="*/ 91 w 378"/>
                    <a:gd name="T41" fmla="*/ 509 h 546"/>
                    <a:gd name="T42" fmla="*/ 169 w 378"/>
                    <a:gd name="T43" fmla="*/ 546 h 546"/>
                    <a:gd name="T44" fmla="*/ 196 w 378"/>
                    <a:gd name="T45" fmla="*/ 523 h 546"/>
                    <a:gd name="T46" fmla="*/ 210 w 378"/>
                    <a:gd name="T47" fmla="*/ 486 h 546"/>
                    <a:gd name="T48" fmla="*/ 210 w 378"/>
                    <a:gd name="T49" fmla="*/ 459 h 546"/>
                    <a:gd name="T50" fmla="*/ 210 w 378"/>
                    <a:gd name="T51" fmla="*/ 441 h 546"/>
                    <a:gd name="T52" fmla="*/ 219 w 378"/>
                    <a:gd name="T53" fmla="*/ 414 h 546"/>
                    <a:gd name="T54" fmla="*/ 228 w 378"/>
                    <a:gd name="T55" fmla="*/ 391 h 546"/>
                    <a:gd name="T56" fmla="*/ 224 w 378"/>
                    <a:gd name="T57" fmla="*/ 373 h 546"/>
                    <a:gd name="T58" fmla="*/ 214 w 378"/>
                    <a:gd name="T59" fmla="*/ 355 h 546"/>
                    <a:gd name="T60" fmla="*/ 228 w 378"/>
                    <a:gd name="T61" fmla="*/ 332 h 546"/>
                    <a:gd name="T62" fmla="*/ 255 w 378"/>
                    <a:gd name="T63" fmla="*/ 323 h 546"/>
                    <a:gd name="T64" fmla="*/ 274 w 378"/>
                    <a:gd name="T65" fmla="*/ 309 h 546"/>
                    <a:gd name="T66" fmla="*/ 292 w 378"/>
                    <a:gd name="T67" fmla="*/ 296 h 546"/>
                    <a:gd name="T68" fmla="*/ 315 w 378"/>
                    <a:gd name="T69" fmla="*/ 291 h 546"/>
                    <a:gd name="T70" fmla="*/ 333 w 378"/>
                    <a:gd name="T71" fmla="*/ 291 h 546"/>
                    <a:gd name="T72" fmla="*/ 347 w 378"/>
                    <a:gd name="T73" fmla="*/ 268 h 546"/>
                    <a:gd name="T74" fmla="*/ 351 w 378"/>
                    <a:gd name="T75" fmla="*/ 246 h 546"/>
                    <a:gd name="T76" fmla="*/ 342 w 378"/>
                    <a:gd name="T77" fmla="*/ 218 h 546"/>
                    <a:gd name="T78" fmla="*/ 328 w 378"/>
                    <a:gd name="T79" fmla="*/ 191 h 546"/>
                    <a:gd name="T80" fmla="*/ 342 w 378"/>
                    <a:gd name="T81" fmla="*/ 173 h 546"/>
                    <a:gd name="T82" fmla="*/ 365 w 378"/>
                    <a:gd name="T83" fmla="*/ 168 h 546"/>
                    <a:gd name="T84" fmla="*/ 378 w 378"/>
                    <a:gd name="T85" fmla="*/ 136 h 546"/>
                    <a:gd name="T86" fmla="*/ 378 w 378"/>
                    <a:gd name="T87" fmla="*/ 100 h 546"/>
                    <a:gd name="T88" fmla="*/ 374 w 378"/>
                    <a:gd name="T89" fmla="*/ 77 h 546"/>
                    <a:gd name="T90" fmla="*/ 369 w 378"/>
                    <a:gd name="T91" fmla="*/ 59 h 546"/>
                    <a:gd name="T92" fmla="*/ 369 w 378"/>
                    <a:gd name="T93" fmla="*/ 46 h 546"/>
                    <a:gd name="T94" fmla="*/ 369 w 378"/>
                    <a:gd name="T95" fmla="*/ 46 h 546"/>
                    <a:gd name="T96" fmla="*/ 356 w 378"/>
                    <a:gd name="T97" fmla="*/ 36 h 546"/>
                    <a:gd name="T98" fmla="*/ 351 w 378"/>
                    <a:gd name="T99" fmla="*/ 27 h 546"/>
                    <a:gd name="T100" fmla="*/ 310 w 378"/>
                    <a:gd name="T101" fmla="*/ 18 h 546"/>
                    <a:gd name="T102" fmla="*/ 278 w 378"/>
                    <a:gd name="T103" fmla="*/ 9 h 546"/>
                    <a:gd name="T104" fmla="*/ 242 w 378"/>
                    <a:gd name="T105" fmla="*/ 5 h 546"/>
                    <a:gd name="T106" fmla="*/ 201 w 378"/>
                    <a:gd name="T107" fmla="*/ 0 h 546"/>
                    <a:gd name="T108" fmla="*/ 155 w 378"/>
                    <a:gd name="T109" fmla="*/ 5 h 546"/>
                    <a:gd name="T110" fmla="*/ 119 w 378"/>
                    <a:gd name="T111" fmla="*/ 14 h 546"/>
                    <a:gd name="T112" fmla="*/ 82 w 378"/>
                    <a:gd name="T113" fmla="*/ 23 h 546"/>
                    <a:gd name="T114" fmla="*/ 46 w 378"/>
                    <a:gd name="T115" fmla="*/ 27 h 546"/>
                    <a:gd name="T116" fmla="*/ 32 w 378"/>
                    <a:gd name="T117" fmla="*/ 23 h 546"/>
                    <a:gd name="T118" fmla="*/ 23 w 378"/>
                    <a:gd name="T119" fmla="*/ 14 h 546"/>
                    <a:gd name="T120" fmla="*/ 23 w 378"/>
                    <a:gd name="T121" fmla="*/ 18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8" h="546">
                      <a:moveTo>
                        <a:pt x="23" y="18"/>
                      </a:moveTo>
                      <a:lnTo>
                        <a:pt x="37" y="27"/>
                      </a:lnTo>
                      <a:lnTo>
                        <a:pt x="46" y="32"/>
                      </a:lnTo>
                      <a:lnTo>
                        <a:pt x="46" y="41"/>
                      </a:lnTo>
                      <a:lnTo>
                        <a:pt x="46" y="50"/>
                      </a:lnTo>
                      <a:lnTo>
                        <a:pt x="41" y="64"/>
                      </a:lnTo>
                      <a:lnTo>
                        <a:pt x="37" y="86"/>
                      </a:lnTo>
                      <a:lnTo>
                        <a:pt x="32" y="105"/>
                      </a:lnTo>
                      <a:lnTo>
                        <a:pt x="28" y="123"/>
                      </a:lnTo>
                      <a:lnTo>
                        <a:pt x="28" y="136"/>
                      </a:lnTo>
                      <a:lnTo>
                        <a:pt x="32" y="146"/>
                      </a:lnTo>
                      <a:lnTo>
                        <a:pt x="37" y="155"/>
                      </a:lnTo>
                      <a:lnTo>
                        <a:pt x="37" y="168"/>
                      </a:lnTo>
                      <a:lnTo>
                        <a:pt x="37" y="168"/>
                      </a:lnTo>
                      <a:lnTo>
                        <a:pt x="37" y="168"/>
                      </a:lnTo>
                      <a:lnTo>
                        <a:pt x="37" y="168"/>
                      </a:lnTo>
                      <a:lnTo>
                        <a:pt x="37" y="173"/>
                      </a:lnTo>
                      <a:lnTo>
                        <a:pt x="37" y="173"/>
                      </a:lnTo>
                      <a:lnTo>
                        <a:pt x="37" y="177"/>
                      </a:lnTo>
                      <a:lnTo>
                        <a:pt x="32" y="182"/>
                      </a:lnTo>
                      <a:lnTo>
                        <a:pt x="41" y="200"/>
                      </a:lnTo>
                      <a:lnTo>
                        <a:pt x="50" y="227"/>
                      </a:lnTo>
                      <a:lnTo>
                        <a:pt x="55" y="259"/>
                      </a:lnTo>
                      <a:lnTo>
                        <a:pt x="55" y="286"/>
                      </a:lnTo>
                      <a:lnTo>
                        <a:pt x="46" y="309"/>
                      </a:lnTo>
                      <a:lnTo>
                        <a:pt x="28" y="323"/>
                      </a:lnTo>
                      <a:lnTo>
                        <a:pt x="9" y="332"/>
                      </a:lnTo>
                      <a:lnTo>
                        <a:pt x="0" y="346"/>
                      </a:lnTo>
                      <a:lnTo>
                        <a:pt x="5" y="355"/>
                      </a:lnTo>
                      <a:lnTo>
                        <a:pt x="9" y="364"/>
                      </a:lnTo>
                      <a:lnTo>
                        <a:pt x="14" y="368"/>
                      </a:lnTo>
                      <a:lnTo>
                        <a:pt x="19" y="382"/>
                      </a:lnTo>
                      <a:lnTo>
                        <a:pt x="23" y="391"/>
                      </a:lnTo>
                      <a:lnTo>
                        <a:pt x="41" y="396"/>
                      </a:lnTo>
                      <a:lnTo>
                        <a:pt x="55" y="396"/>
                      </a:lnTo>
                      <a:lnTo>
                        <a:pt x="60" y="405"/>
                      </a:lnTo>
                      <a:lnTo>
                        <a:pt x="60" y="414"/>
                      </a:lnTo>
                      <a:lnTo>
                        <a:pt x="55" y="418"/>
                      </a:lnTo>
                      <a:lnTo>
                        <a:pt x="50" y="423"/>
                      </a:lnTo>
                      <a:lnTo>
                        <a:pt x="50" y="432"/>
                      </a:lnTo>
                      <a:lnTo>
                        <a:pt x="60" y="473"/>
                      </a:lnTo>
                      <a:lnTo>
                        <a:pt x="91" y="509"/>
                      </a:lnTo>
                      <a:lnTo>
                        <a:pt x="128" y="536"/>
                      </a:lnTo>
                      <a:lnTo>
                        <a:pt x="169" y="546"/>
                      </a:lnTo>
                      <a:lnTo>
                        <a:pt x="183" y="541"/>
                      </a:lnTo>
                      <a:lnTo>
                        <a:pt x="196" y="523"/>
                      </a:lnTo>
                      <a:lnTo>
                        <a:pt x="205" y="505"/>
                      </a:lnTo>
                      <a:lnTo>
                        <a:pt x="210" y="486"/>
                      </a:lnTo>
                      <a:lnTo>
                        <a:pt x="210" y="473"/>
                      </a:lnTo>
                      <a:lnTo>
                        <a:pt x="210" y="459"/>
                      </a:lnTo>
                      <a:lnTo>
                        <a:pt x="210" y="450"/>
                      </a:lnTo>
                      <a:lnTo>
                        <a:pt x="210" y="441"/>
                      </a:lnTo>
                      <a:lnTo>
                        <a:pt x="214" y="427"/>
                      </a:lnTo>
                      <a:lnTo>
                        <a:pt x="219" y="414"/>
                      </a:lnTo>
                      <a:lnTo>
                        <a:pt x="224" y="405"/>
                      </a:lnTo>
                      <a:lnTo>
                        <a:pt x="228" y="391"/>
                      </a:lnTo>
                      <a:lnTo>
                        <a:pt x="228" y="382"/>
                      </a:lnTo>
                      <a:lnTo>
                        <a:pt x="224" y="373"/>
                      </a:lnTo>
                      <a:lnTo>
                        <a:pt x="214" y="364"/>
                      </a:lnTo>
                      <a:lnTo>
                        <a:pt x="214" y="355"/>
                      </a:lnTo>
                      <a:lnTo>
                        <a:pt x="219" y="341"/>
                      </a:lnTo>
                      <a:lnTo>
                        <a:pt x="228" y="332"/>
                      </a:lnTo>
                      <a:lnTo>
                        <a:pt x="242" y="327"/>
                      </a:lnTo>
                      <a:lnTo>
                        <a:pt x="255" y="323"/>
                      </a:lnTo>
                      <a:lnTo>
                        <a:pt x="269" y="318"/>
                      </a:lnTo>
                      <a:lnTo>
                        <a:pt x="274" y="309"/>
                      </a:lnTo>
                      <a:lnTo>
                        <a:pt x="283" y="300"/>
                      </a:lnTo>
                      <a:lnTo>
                        <a:pt x="292" y="296"/>
                      </a:lnTo>
                      <a:lnTo>
                        <a:pt x="306" y="296"/>
                      </a:lnTo>
                      <a:lnTo>
                        <a:pt x="315" y="291"/>
                      </a:lnTo>
                      <a:lnTo>
                        <a:pt x="324" y="291"/>
                      </a:lnTo>
                      <a:lnTo>
                        <a:pt x="333" y="291"/>
                      </a:lnTo>
                      <a:lnTo>
                        <a:pt x="342" y="282"/>
                      </a:lnTo>
                      <a:lnTo>
                        <a:pt x="347" y="268"/>
                      </a:lnTo>
                      <a:lnTo>
                        <a:pt x="351" y="255"/>
                      </a:lnTo>
                      <a:lnTo>
                        <a:pt x="351" y="246"/>
                      </a:lnTo>
                      <a:lnTo>
                        <a:pt x="347" y="227"/>
                      </a:lnTo>
                      <a:lnTo>
                        <a:pt x="342" y="218"/>
                      </a:lnTo>
                      <a:lnTo>
                        <a:pt x="333" y="205"/>
                      </a:lnTo>
                      <a:lnTo>
                        <a:pt x="328" y="191"/>
                      </a:lnTo>
                      <a:lnTo>
                        <a:pt x="333" y="177"/>
                      </a:lnTo>
                      <a:lnTo>
                        <a:pt x="342" y="173"/>
                      </a:lnTo>
                      <a:lnTo>
                        <a:pt x="351" y="168"/>
                      </a:lnTo>
                      <a:lnTo>
                        <a:pt x="365" y="168"/>
                      </a:lnTo>
                      <a:lnTo>
                        <a:pt x="374" y="155"/>
                      </a:lnTo>
                      <a:lnTo>
                        <a:pt x="378" y="136"/>
                      </a:lnTo>
                      <a:lnTo>
                        <a:pt x="378" y="114"/>
                      </a:lnTo>
                      <a:lnTo>
                        <a:pt x="378" y="100"/>
                      </a:lnTo>
                      <a:lnTo>
                        <a:pt x="378" y="86"/>
                      </a:lnTo>
                      <a:lnTo>
                        <a:pt x="374" y="77"/>
                      </a:lnTo>
                      <a:lnTo>
                        <a:pt x="374" y="64"/>
                      </a:lnTo>
                      <a:lnTo>
                        <a:pt x="369" y="59"/>
                      </a:lnTo>
                      <a:lnTo>
                        <a:pt x="369" y="59"/>
                      </a:lnTo>
                      <a:lnTo>
                        <a:pt x="369" y="46"/>
                      </a:lnTo>
                      <a:lnTo>
                        <a:pt x="369" y="46"/>
                      </a:lnTo>
                      <a:lnTo>
                        <a:pt x="369" y="46"/>
                      </a:lnTo>
                      <a:lnTo>
                        <a:pt x="360" y="41"/>
                      </a:lnTo>
                      <a:lnTo>
                        <a:pt x="356" y="36"/>
                      </a:lnTo>
                      <a:lnTo>
                        <a:pt x="351" y="32"/>
                      </a:lnTo>
                      <a:lnTo>
                        <a:pt x="351" y="27"/>
                      </a:lnTo>
                      <a:lnTo>
                        <a:pt x="328" y="23"/>
                      </a:lnTo>
                      <a:lnTo>
                        <a:pt x="310" y="18"/>
                      </a:lnTo>
                      <a:lnTo>
                        <a:pt x="296" y="14"/>
                      </a:lnTo>
                      <a:lnTo>
                        <a:pt x="278" y="9"/>
                      </a:lnTo>
                      <a:lnTo>
                        <a:pt x="260" y="5"/>
                      </a:lnTo>
                      <a:lnTo>
                        <a:pt x="242" y="5"/>
                      </a:lnTo>
                      <a:lnTo>
                        <a:pt x="224" y="0"/>
                      </a:lnTo>
                      <a:lnTo>
                        <a:pt x="201" y="0"/>
                      </a:lnTo>
                      <a:lnTo>
                        <a:pt x="178" y="0"/>
                      </a:lnTo>
                      <a:lnTo>
                        <a:pt x="155" y="5"/>
                      </a:lnTo>
                      <a:lnTo>
                        <a:pt x="137" y="9"/>
                      </a:lnTo>
                      <a:lnTo>
                        <a:pt x="119" y="14"/>
                      </a:lnTo>
                      <a:lnTo>
                        <a:pt x="101" y="18"/>
                      </a:lnTo>
                      <a:lnTo>
                        <a:pt x="82" y="23"/>
                      </a:lnTo>
                      <a:lnTo>
                        <a:pt x="64" y="27"/>
                      </a:lnTo>
                      <a:lnTo>
                        <a:pt x="46" y="27"/>
                      </a:lnTo>
                      <a:lnTo>
                        <a:pt x="37" y="27"/>
                      </a:lnTo>
                      <a:lnTo>
                        <a:pt x="32" y="23"/>
                      </a:lnTo>
                      <a:lnTo>
                        <a:pt x="28" y="18"/>
                      </a:lnTo>
                      <a:lnTo>
                        <a:pt x="23" y="14"/>
                      </a:lnTo>
                      <a:lnTo>
                        <a:pt x="23" y="14"/>
                      </a:lnTo>
                      <a:lnTo>
                        <a:pt x="23" y="18"/>
                      </a:lnTo>
                      <a:lnTo>
                        <a:pt x="23" y="18"/>
                      </a:lnTo>
                      <a:close/>
                    </a:path>
                  </a:pathLst>
                </a:custGeom>
                <a:solidFill>
                  <a:schemeClr val="accent2"/>
                </a:solid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82" name="Freeform 244">
                  <a:extLst>
                    <a:ext uri="{FF2B5EF4-FFF2-40B4-BE49-F238E27FC236}">
                      <a16:creationId xmlns="" xmlns:a16="http://schemas.microsoft.com/office/drawing/2014/main" id="{A472D170-C4E6-497B-855B-EED514E8ABA4}"/>
                    </a:ext>
                  </a:extLst>
                </p:cNvPr>
                <p:cNvSpPr>
                  <a:spLocks noChangeAspect="1"/>
                </p:cNvSpPr>
                <p:nvPr/>
              </p:nvSpPr>
              <p:spPr bwMode="auto">
                <a:xfrm>
                  <a:off x="2370" y="427"/>
                  <a:ext cx="528" cy="359"/>
                </a:xfrm>
                <a:custGeom>
                  <a:avLst/>
                  <a:gdLst>
                    <a:gd name="T0" fmla="*/ 501 w 528"/>
                    <a:gd name="T1" fmla="*/ 150 h 359"/>
                    <a:gd name="T2" fmla="*/ 491 w 528"/>
                    <a:gd name="T3" fmla="*/ 155 h 359"/>
                    <a:gd name="T4" fmla="*/ 460 w 528"/>
                    <a:gd name="T5" fmla="*/ 150 h 359"/>
                    <a:gd name="T6" fmla="*/ 414 w 528"/>
                    <a:gd name="T7" fmla="*/ 137 h 359"/>
                    <a:gd name="T8" fmla="*/ 373 w 528"/>
                    <a:gd name="T9" fmla="*/ 109 h 359"/>
                    <a:gd name="T10" fmla="*/ 323 w 528"/>
                    <a:gd name="T11" fmla="*/ 96 h 359"/>
                    <a:gd name="T12" fmla="*/ 305 w 528"/>
                    <a:gd name="T13" fmla="*/ 78 h 359"/>
                    <a:gd name="T14" fmla="*/ 291 w 528"/>
                    <a:gd name="T15" fmla="*/ 78 h 359"/>
                    <a:gd name="T16" fmla="*/ 259 w 528"/>
                    <a:gd name="T17" fmla="*/ 73 h 359"/>
                    <a:gd name="T18" fmla="*/ 218 w 528"/>
                    <a:gd name="T19" fmla="*/ 55 h 359"/>
                    <a:gd name="T20" fmla="*/ 182 w 528"/>
                    <a:gd name="T21" fmla="*/ 23 h 359"/>
                    <a:gd name="T22" fmla="*/ 136 w 528"/>
                    <a:gd name="T23" fmla="*/ 5 h 359"/>
                    <a:gd name="T24" fmla="*/ 95 w 528"/>
                    <a:gd name="T25" fmla="*/ 0 h 359"/>
                    <a:gd name="T26" fmla="*/ 63 w 528"/>
                    <a:gd name="T27" fmla="*/ 5 h 359"/>
                    <a:gd name="T28" fmla="*/ 50 w 528"/>
                    <a:gd name="T29" fmla="*/ 0 h 359"/>
                    <a:gd name="T30" fmla="*/ 50 w 528"/>
                    <a:gd name="T31" fmla="*/ 5 h 359"/>
                    <a:gd name="T32" fmla="*/ 45 w 528"/>
                    <a:gd name="T33" fmla="*/ 14 h 359"/>
                    <a:gd name="T34" fmla="*/ 41 w 528"/>
                    <a:gd name="T35" fmla="*/ 28 h 359"/>
                    <a:gd name="T36" fmla="*/ 50 w 528"/>
                    <a:gd name="T37" fmla="*/ 41 h 359"/>
                    <a:gd name="T38" fmla="*/ 59 w 528"/>
                    <a:gd name="T39" fmla="*/ 55 h 359"/>
                    <a:gd name="T40" fmla="*/ 59 w 528"/>
                    <a:gd name="T41" fmla="*/ 82 h 359"/>
                    <a:gd name="T42" fmla="*/ 50 w 528"/>
                    <a:gd name="T43" fmla="*/ 82 h 359"/>
                    <a:gd name="T44" fmla="*/ 41 w 528"/>
                    <a:gd name="T45" fmla="*/ 73 h 359"/>
                    <a:gd name="T46" fmla="*/ 27 w 528"/>
                    <a:gd name="T47" fmla="*/ 78 h 359"/>
                    <a:gd name="T48" fmla="*/ 22 w 528"/>
                    <a:gd name="T49" fmla="*/ 96 h 359"/>
                    <a:gd name="T50" fmla="*/ 18 w 528"/>
                    <a:gd name="T51" fmla="*/ 109 h 359"/>
                    <a:gd name="T52" fmla="*/ 4 w 528"/>
                    <a:gd name="T53" fmla="*/ 123 h 359"/>
                    <a:gd name="T54" fmla="*/ 22 w 528"/>
                    <a:gd name="T55" fmla="*/ 141 h 359"/>
                    <a:gd name="T56" fmla="*/ 63 w 528"/>
                    <a:gd name="T57" fmla="*/ 182 h 359"/>
                    <a:gd name="T58" fmla="*/ 86 w 528"/>
                    <a:gd name="T59" fmla="*/ 214 h 359"/>
                    <a:gd name="T60" fmla="*/ 113 w 528"/>
                    <a:gd name="T61" fmla="*/ 250 h 359"/>
                    <a:gd name="T62" fmla="*/ 141 w 528"/>
                    <a:gd name="T63" fmla="*/ 282 h 359"/>
                    <a:gd name="T64" fmla="*/ 168 w 528"/>
                    <a:gd name="T65" fmla="*/ 291 h 359"/>
                    <a:gd name="T66" fmla="*/ 218 w 528"/>
                    <a:gd name="T67" fmla="*/ 291 h 359"/>
                    <a:gd name="T68" fmla="*/ 282 w 528"/>
                    <a:gd name="T69" fmla="*/ 300 h 359"/>
                    <a:gd name="T70" fmla="*/ 323 w 528"/>
                    <a:gd name="T71" fmla="*/ 323 h 359"/>
                    <a:gd name="T72" fmla="*/ 350 w 528"/>
                    <a:gd name="T73" fmla="*/ 355 h 359"/>
                    <a:gd name="T74" fmla="*/ 400 w 528"/>
                    <a:gd name="T75" fmla="*/ 350 h 359"/>
                    <a:gd name="T76" fmla="*/ 441 w 528"/>
                    <a:gd name="T77" fmla="*/ 314 h 359"/>
                    <a:gd name="T78" fmla="*/ 478 w 528"/>
                    <a:gd name="T79" fmla="*/ 305 h 359"/>
                    <a:gd name="T80" fmla="*/ 491 w 528"/>
                    <a:gd name="T81" fmla="*/ 314 h 359"/>
                    <a:gd name="T82" fmla="*/ 510 w 528"/>
                    <a:gd name="T83" fmla="*/ 314 h 359"/>
                    <a:gd name="T84" fmla="*/ 519 w 528"/>
                    <a:gd name="T85" fmla="*/ 309 h 359"/>
                    <a:gd name="T86" fmla="*/ 519 w 528"/>
                    <a:gd name="T87" fmla="*/ 287 h 359"/>
                    <a:gd name="T88" fmla="*/ 510 w 528"/>
                    <a:gd name="T89" fmla="*/ 268 h 359"/>
                    <a:gd name="T90" fmla="*/ 514 w 528"/>
                    <a:gd name="T91" fmla="*/ 237 h 359"/>
                    <a:gd name="T92" fmla="*/ 523 w 528"/>
                    <a:gd name="T93" fmla="*/ 196 h 359"/>
                    <a:gd name="T94" fmla="*/ 528 w 528"/>
                    <a:gd name="T95" fmla="*/ 173 h 359"/>
                    <a:gd name="T96" fmla="*/ 519 w 528"/>
                    <a:gd name="T97" fmla="*/ 159 h 359"/>
                    <a:gd name="T98" fmla="*/ 505 w 528"/>
                    <a:gd name="T99" fmla="*/ 150 h 359"/>
                    <a:gd name="T100" fmla="*/ 505 w 528"/>
                    <a:gd name="T101" fmla="*/ 146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8" h="359">
                      <a:moveTo>
                        <a:pt x="505" y="146"/>
                      </a:moveTo>
                      <a:lnTo>
                        <a:pt x="501" y="150"/>
                      </a:lnTo>
                      <a:lnTo>
                        <a:pt x="496" y="150"/>
                      </a:lnTo>
                      <a:lnTo>
                        <a:pt x="491" y="155"/>
                      </a:lnTo>
                      <a:lnTo>
                        <a:pt x="487" y="155"/>
                      </a:lnTo>
                      <a:lnTo>
                        <a:pt x="460" y="150"/>
                      </a:lnTo>
                      <a:lnTo>
                        <a:pt x="437" y="146"/>
                      </a:lnTo>
                      <a:lnTo>
                        <a:pt x="414" y="137"/>
                      </a:lnTo>
                      <a:lnTo>
                        <a:pt x="396" y="123"/>
                      </a:lnTo>
                      <a:lnTo>
                        <a:pt x="373" y="109"/>
                      </a:lnTo>
                      <a:lnTo>
                        <a:pt x="346" y="105"/>
                      </a:lnTo>
                      <a:lnTo>
                        <a:pt x="323" y="96"/>
                      </a:lnTo>
                      <a:lnTo>
                        <a:pt x="309" y="78"/>
                      </a:lnTo>
                      <a:lnTo>
                        <a:pt x="305" y="78"/>
                      </a:lnTo>
                      <a:lnTo>
                        <a:pt x="296" y="78"/>
                      </a:lnTo>
                      <a:lnTo>
                        <a:pt x="291" y="78"/>
                      </a:lnTo>
                      <a:lnTo>
                        <a:pt x="282" y="78"/>
                      </a:lnTo>
                      <a:lnTo>
                        <a:pt x="259" y="73"/>
                      </a:lnTo>
                      <a:lnTo>
                        <a:pt x="236" y="64"/>
                      </a:lnTo>
                      <a:lnTo>
                        <a:pt x="218" y="55"/>
                      </a:lnTo>
                      <a:lnTo>
                        <a:pt x="200" y="37"/>
                      </a:lnTo>
                      <a:lnTo>
                        <a:pt x="182" y="23"/>
                      </a:lnTo>
                      <a:lnTo>
                        <a:pt x="159" y="14"/>
                      </a:lnTo>
                      <a:lnTo>
                        <a:pt x="136" y="5"/>
                      </a:lnTo>
                      <a:lnTo>
                        <a:pt x="109" y="0"/>
                      </a:lnTo>
                      <a:lnTo>
                        <a:pt x="95" y="0"/>
                      </a:lnTo>
                      <a:lnTo>
                        <a:pt x="77" y="5"/>
                      </a:lnTo>
                      <a:lnTo>
                        <a:pt x="63" y="5"/>
                      </a:lnTo>
                      <a:lnTo>
                        <a:pt x="50" y="0"/>
                      </a:lnTo>
                      <a:lnTo>
                        <a:pt x="50" y="0"/>
                      </a:lnTo>
                      <a:lnTo>
                        <a:pt x="50" y="5"/>
                      </a:lnTo>
                      <a:lnTo>
                        <a:pt x="50" y="5"/>
                      </a:lnTo>
                      <a:lnTo>
                        <a:pt x="50" y="9"/>
                      </a:lnTo>
                      <a:lnTo>
                        <a:pt x="45" y="14"/>
                      </a:lnTo>
                      <a:lnTo>
                        <a:pt x="41" y="18"/>
                      </a:lnTo>
                      <a:lnTo>
                        <a:pt x="41" y="28"/>
                      </a:lnTo>
                      <a:lnTo>
                        <a:pt x="41" y="37"/>
                      </a:lnTo>
                      <a:lnTo>
                        <a:pt x="50" y="41"/>
                      </a:lnTo>
                      <a:lnTo>
                        <a:pt x="54" y="50"/>
                      </a:lnTo>
                      <a:lnTo>
                        <a:pt x="59" y="55"/>
                      </a:lnTo>
                      <a:lnTo>
                        <a:pt x="59" y="55"/>
                      </a:lnTo>
                      <a:lnTo>
                        <a:pt x="59" y="82"/>
                      </a:lnTo>
                      <a:lnTo>
                        <a:pt x="59" y="82"/>
                      </a:lnTo>
                      <a:lnTo>
                        <a:pt x="50" y="82"/>
                      </a:lnTo>
                      <a:lnTo>
                        <a:pt x="45" y="78"/>
                      </a:lnTo>
                      <a:lnTo>
                        <a:pt x="41" y="73"/>
                      </a:lnTo>
                      <a:lnTo>
                        <a:pt x="36" y="73"/>
                      </a:lnTo>
                      <a:lnTo>
                        <a:pt x="27" y="78"/>
                      </a:lnTo>
                      <a:lnTo>
                        <a:pt x="22" y="87"/>
                      </a:lnTo>
                      <a:lnTo>
                        <a:pt x="22" y="96"/>
                      </a:lnTo>
                      <a:lnTo>
                        <a:pt x="22" y="105"/>
                      </a:lnTo>
                      <a:lnTo>
                        <a:pt x="18" y="109"/>
                      </a:lnTo>
                      <a:lnTo>
                        <a:pt x="13" y="118"/>
                      </a:lnTo>
                      <a:lnTo>
                        <a:pt x="4" y="123"/>
                      </a:lnTo>
                      <a:lnTo>
                        <a:pt x="0" y="128"/>
                      </a:lnTo>
                      <a:lnTo>
                        <a:pt x="22" y="141"/>
                      </a:lnTo>
                      <a:lnTo>
                        <a:pt x="41" y="159"/>
                      </a:lnTo>
                      <a:lnTo>
                        <a:pt x="63" y="182"/>
                      </a:lnTo>
                      <a:lnTo>
                        <a:pt x="77" y="200"/>
                      </a:lnTo>
                      <a:lnTo>
                        <a:pt x="86" y="214"/>
                      </a:lnTo>
                      <a:lnTo>
                        <a:pt x="100" y="228"/>
                      </a:lnTo>
                      <a:lnTo>
                        <a:pt x="113" y="250"/>
                      </a:lnTo>
                      <a:lnTo>
                        <a:pt x="122" y="282"/>
                      </a:lnTo>
                      <a:lnTo>
                        <a:pt x="141" y="282"/>
                      </a:lnTo>
                      <a:lnTo>
                        <a:pt x="154" y="287"/>
                      </a:lnTo>
                      <a:lnTo>
                        <a:pt x="168" y="291"/>
                      </a:lnTo>
                      <a:lnTo>
                        <a:pt x="186" y="291"/>
                      </a:lnTo>
                      <a:lnTo>
                        <a:pt x="218" y="291"/>
                      </a:lnTo>
                      <a:lnTo>
                        <a:pt x="250" y="291"/>
                      </a:lnTo>
                      <a:lnTo>
                        <a:pt x="282" y="300"/>
                      </a:lnTo>
                      <a:lnTo>
                        <a:pt x="309" y="314"/>
                      </a:lnTo>
                      <a:lnTo>
                        <a:pt x="323" y="323"/>
                      </a:lnTo>
                      <a:lnTo>
                        <a:pt x="337" y="341"/>
                      </a:lnTo>
                      <a:lnTo>
                        <a:pt x="350" y="355"/>
                      </a:lnTo>
                      <a:lnTo>
                        <a:pt x="373" y="359"/>
                      </a:lnTo>
                      <a:lnTo>
                        <a:pt x="400" y="350"/>
                      </a:lnTo>
                      <a:lnTo>
                        <a:pt x="423" y="332"/>
                      </a:lnTo>
                      <a:lnTo>
                        <a:pt x="441" y="314"/>
                      </a:lnTo>
                      <a:lnTo>
                        <a:pt x="469" y="305"/>
                      </a:lnTo>
                      <a:lnTo>
                        <a:pt x="478" y="305"/>
                      </a:lnTo>
                      <a:lnTo>
                        <a:pt x="482" y="309"/>
                      </a:lnTo>
                      <a:lnTo>
                        <a:pt x="491" y="314"/>
                      </a:lnTo>
                      <a:lnTo>
                        <a:pt x="501" y="314"/>
                      </a:lnTo>
                      <a:lnTo>
                        <a:pt x="510" y="314"/>
                      </a:lnTo>
                      <a:lnTo>
                        <a:pt x="514" y="314"/>
                      </a:lnTo>
                      <a:lnTo>
                        <a:pt x="519" y="309"/>
                      </a:lnTo>
                      <a:lnTo>
                        <a:pt x="519" y="300"/>
                      </a:lnTo>
                      <a:lnTo>
                        <a:pt x="519" y="287"/>
                      </a:lnTo>
                      <a:lnTo>
                        <a:pt x="514" y="278"/>
                      </a:lnTo>
                      <a:lnTo>
                        <a:pt x="510" y="268"/>
                      </a:lnTo>
                      <a:lnTo>
                        <a:pt x="510" y="255"/>
                      </a:lnTo>
                      <a:lnTo>
                        <a:pt x="514" y="237"/>
                      </a:lnTo>
                      <a:lnTo>
                        <a:pt x="519" y="218"/>
                      </a:lnTo>
                      <a:lnTo>
                        <a:pt x="523" y="196"/>
                      </a:lnTo>
                      <a:lnTo>
                        <a:pt x="528" y="182"/>
                      </a:lnTo>
                      <a:lnTo>
                        <a:pt x="528" y="173"/>
                      </a:lnTo>
                      <a:lnTo>
                        <a:pt x="528" y="164"/>
                      </a:lnTo>
                      <a:lnTo>
                        <a:pt x="519" y="159"/>
                      </a:lnTo>
                      <a:lnTo>
                        <a:pt x="505" y="150"/>
                      </a:lnTo>
                      <a:lnTo>
                        <a:pt x="505" y="150"/>
                      </a:lnTo>
                      <a:lnTo>
                        <a:pt x="505" y="146"/>
                      </a:lnTo>
                      <a:lnTo>
                        <a:pt x="505" y="146"/>
                      </a:lnTo>
                      <a:close/>
                    </a:path>
                  </a:pathLst>
                </a:custGeom>
                <a:grp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grpSp>
          <p:grpSp>
            <p:nvGrpSpPr>
              <p:cNvPr id="74" name="Group 245">
                <a:extLst>
                  <a:ext uri="{FF2B5EF4-FFF2-40B4-BE49-F238E27FC236}">
                    <a16:creationId xmlns="" xmlns:a16="http://schemas.microsoft.com/office/drawing/2014/main" id="{277BAFFC-AE8B-4993-96D9-A28BE5E5CF8C}"/>
                  </a:ext>
                </a:extLst>
              </p:cNvPr>
              <p:cNvGrpSpPr>
                <a:grpSpLocks noChangeAspect="1"/>
              </p:cNvGrpSpPr>
              <p:nvPr/>
            </p:nvGrpSpPr>
            <p:grpSpPr bwMode="auto">
              <a:xfrm>
                <a:off x="3116" y="1094"/>
                <a:ext cx="377" cy="507"/>
                <a:chOff x="1973" y="555"/>
                <a:chExt cx="519" cy="645"/>
              </a:xfrm>
              <a:grpFill/>
            </p:grpSpPr>
            <p:sp>
              <p:nvSpPr>
                <p:cNvPr id="78" name="Freeform 246">
                  <a:extLst>
                    <a:ext uri="{FF2B5EF4-FFF2-40B4-BE49-F238E27FC236}">
                      <a16:creationId xmlns="" xmlns:a16="http://schemas.microsoft.com/office/drawing/2014/main" id="{82BC8C8D-64E5-46A0-8C32-E2A4DF935B31}"/>
                    </a:ext>
                  </a:extLst>
                </p:cNvPr>
                <p:cNvSpPr>
                  <a:spLocks noChangeAspect="1"/>
                </p:cNvSpPr>
                <p:nvPr/>
              </p:nvSpPr>
              <p:spPr bwMode="auto">
                <a:xfrm>
                  <a:off x="2037" y="827"/>
                  <a:ext cx="451" cy="373"/>
                </a:xfrm>
                <a:custGeom>
                  <a:avLst/>
                  <a:gdLst>
                    <a:gd name="T0" fmla="*/ 260 w 451"/>
                    <a:gd name="T1" fmla="*/ 73 h 373"/>
                    <a:gd name="T2" fmla="*/ 246 w 451"/>
                    <a:gd name="T3" fmla="*/ 73 h 373"/>
                    <a:gd name="T4" fmla="*/ 214 w 451"/>
                    <a:gd name="T5" fmla="*/ 87 h 373"/>
                    <a:gd name="T6" fmla="*/ 182 w 451"/>
                    <a:gd name="T7" fmla="*/ 82 h 373"/>
                    <a:gd name="T8" fmla="*/ 178 w 451"/>
                    <a:gd name="T9" fmla="*/ 64 h 373"/>
                    <a:gd name="T10" fmla="*/ 146 w 451"/>
                    <a:gd name="T11" fmla="*/ 41 h 373"/>
                    <a:gd name="T12" fmla="*/ 91 w 451"/>
                    <a:gd name="T13" fmla="*/ 9 h 373"/>
                    <a:gd name="T14" fmla="*/ 50 w 451"/>
                    <a:gd name="T15" fmla="*/ 0 h 373"/>
                    <a:gd name="T16" fmla="*/ 41 w 451"/>
                    <a:gd name="T17" fmla="*/ 0 h 373"/>
                    <a:gd name="T18" fmla="*/ 36 w 451"/>
                    <a:gd name="T19" fmla="*/ 0 h 373"/>
                    <a:gd name="T20" fmla="*/ 41 w 451"/>
                    <a:gd name="T21" fmla="*/ 5 h 373"/>
                    <a:gd name="T22" fmla="*/ 36 w 451"/>
                    <a:gd name="T23" fmla="*/ 9 h 373"/>
                    <a:gd name="T24" fmla="*/ 18 w 451"/>
                    <a:gd name="T25" fmla="*/ 23 h 373"/>
                    <a:gd name="T26" fmla="*/ 5 w 451"/>
                    <a:gd name="T27" fmla="*/ 46 h 373"/>
                    <a:gd name="T28" fmla="*/ 18 w 451"/>
                    <a:gd name="T29" fmla="*/ 64 h 373"/>
                    <a:gd name="T30" fmla="*/ 18 w 451"/>
                    <a:gd name="T31" fmla="*/ 87 h 373"/>
                    <a:gd name="T32" fmla="*/ 18 w 451"/>
                    <a:gd name="T33" fmla="*/ 100 h 373"/>
                    <a:gd name="T34" fmla="*/ 23 w 451"/>
                    <a:gd name="T35" fmla="*/ 132 h 373"/>
                    <a:gd name="T36" fmla="*/ 36 w 451"/>
                    <a:gd name="T37" fmla="*/ 178 h 373"/>
                    <a:gd name="T38" fmla="*/ 41 w 451"/>
                    <a:gd name="T39" fmla="*/ 214 h 373"/>
                    <a:gd name="T40" fmla="*/ 36 w 451"/>
                    <a:gd name="T41" fmla="*/ 237 h 373"/>
                    <a:gd name="T42" fmla="*/ 77 w 451"/>
                    <a:gd name="T43" fmla="*/ 264 h 373"/>
                    <a:gd name="T44" fmla="*/ 141 w 451"/>
                    <a:gd name="T45" fmla="*/ 332 h 373"/>
                    <a:gd name="T46" fmla="*/ 178 w 451"/>
                    <a:gd name="T47" fmla="*/ 355 h 373"/>
                    <a:gd name="T48" fmla="*/ 223 w 451"/>
                    <a:gd name="T49" fmla="*/ 341 h 373"/>
                    <a:gd name="T50" fmla="*/ 246 w 451"/>
                    <a:gd name="T51" fmla="*/ 332 h 373"/>
                    <a:gd name="T52" fmla="*/ 292 w 451"/>
                    <a:gd name="T53" fmla="*/ 332 h 373"/>
                    <a:gd name="T54" fmla="*/ 333 w 451"/>
                    <a:gd name="T55" fmla="*/ 296 h 373"/>
                    <a:gd name="T56" fmla="*/ 369 w 451"/>
                    <a:gd name="T57" fmla="*/ 259 h 373"/>
                    <a:gd name="T58" fmla="*/ 360 w 451"/>
                    <a:gd name="T59" fmla="*/ 246 h 373"/>
                    <a:gd name="T60" fmla="*/ 355 w 451"/>
                    <a:gd name="T61" fmla="*/ 218 h 373"/>
                    <a:gd name="T62" fmla="*/ 360 w 451"/>
                    <a:gd name="T63" fmla="*/ 191 h 373"/>
                    <a:gd name="T64" fmla="*/ 374 w 451"/>
                    <a:gd name="T65" fmla="*/ 178 h 373"/>
                    <a:gd name="T66" fmla="*/ 424 w 451"/>
                    <a:gd name="T67" fmla="*/ 141 h 373"/>
                    <a:gd name="T68" fmla="*/ 451 w 451"/>
                    <a:gd name="T69" fmla="*/ 87 h 373"/>
                    <a:gd name="T70" fmla="*/ 442 w 451"/>
                    <a:gd name="T71" fmla="*/ 64 h 373"/>
                    <a:gd name="T72" fmla="*/ 428 w 451"/>
                    <a:gd name="T73" fmla="*/ 37 h 373"/>
                    <a:gd name="T74" fmla="*/ 410 w 451"/>
                    <a:gd name="T75" fmla="*/ 41 h 373"/>
                    <a:gd name="T76" fmla="*/ 369 w 451"/>
                    <a:gd name="T77" fmla="*/ 50 h 373"/>
                    <a:gd name="T78" fmla="*/ 314 w 451"/>
                    <a:gd name="T79" fmla="*/ 59 h 373"/>
                    <a:gd name="T80" fmla="*/ 260 w 451"/>
                    <a:gd name="T81" fmla="*/ 73 h 373"/>
                    <a:gd name="T82" fmla="*/ 260 w 451"/>
                    <a:gd name="T83" fmla="*/ 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1" h="373">
                      <a:moveTo>
                        <a:pt x="260" y="73"/>
                      </a:moveTo>
                      <a:lnTo>
                        <a:pt x="260" y="73"/>
                      </a:lnTo>
                      <a:lnTo>
                        <a:pt x="260" y="73"/>
                      </a:lnTo>
                      <a:lnTo>
                        <a:pt x="246" y="73"/>
                      </a:lnTo>
                      <a:lnTo>
                        <a:pt x="228" y="78"/>
                      </a:lnTo>
                      <a:lnTo>
                        <a:pt x="214" y="87"/>
                      </a:lnTo>
                      <a:lnTo>
                        <a:pt x="196" y="87"/>
                      </a:lnTo>
                      <a:lnTo>
                        <a:pt x="182" y="82"/>
                      </a:lnTo>
                      <a:lnTo>
                        <a:pt x="178" y="78"/>
                      </a:lnTo>
                      <a:lnTo>
                        <a:pt x="178" y="64"/>
                      </a:lnTo>
                      <a:lnTo>
                        <a:pt x="178" y="50"/>
                      </a:lnTo>
                      <a:lnTo>
                        <a:pt x="146" y="41"/>
                      </a:lnTo>
                      <a:lnTo>
                        <a:pt x="118" y="23"/>
                      </a:lnTo>
                      <a:lnTo>
                        <a:pt x="91" y="9"/>
                      </a:lnTo>
                      <a:lnTo>
                        <a:pt x="59" y="0"/>
                      </a:lnTo>
                      <a:lnTo>
                        <a:pt x="50" y="0"/>
                      </a:lnTo>
                      <a:lnTo>
                        <a:pt x="46" y="0"/>
                      </a:lnTo>
                      <a:lnTo>
                        <a:pt x="41" y="0"/>
                      </a:lnTo>
                      <a:lnTo>
                        <a:pt x="36" y="0"/>
                      </a:lnTo>
                      <a:lnTo>
                        <a:pt x="36" y="0"/>
                      </a:lnTo>
                      <a:lnTo>
                        <a:pt x="36" y="9"/>
                      </a:lnTo>
                      <a:lnTo>
                        <a:pt x="41" y="5"/>
                      </a:lnTo>
                      <a:lnTo>
                        <a:pt x="41" y="5"/>
                      </a:lnTo>
                      <a:lnTo>
                        <a:pt x="36" y="9"/>
                      </a:lnTo>
                      <a:lnTo>
                        <a:pt x="27" y="18"/>
                      </a:lnTo>
                      <a:lnTo>
                        <a:pt x="18" y="23"/>
                      </a:lnTo>
                      <a:lnTo>
                        <a:pt x="0" y="32"/>
                      </a:lnTo>
                      <a:lnTo>
                        <a:pt x="5" y="46"/>
                      </a:lnTo>
                      <a:lnTo>
                        <a:pt x="14" y="55"/>
                      </a:lnTo>
                      <a:lnTo>
                        <a:pt x="18" y="64"/>
                      </a:lnTo>
                      <a:lnTo>
                        <a:pt x="18" y="78"/>
                      </a:lnTo>
                      <a:lnTo>
                        <a:pt x="18" y="87"/>
                      </a:lnTo>
                      <a:lnTo>
                        <a:pt x="18" y="91"/>
                      </a:lnTo>
                      <a:lnTo>
                        <a:pt x="18" y="100"/>
                      </a:lnTo>
                      <a:lnTo>
                        <a:pt x="18" y="109"/>
                      </a:lnTo>
                      <a:lnTo>
                        <a:pt x="23" y="132"/>
                      </a:lnTo>
                      <a:lnTo>
                        <a:pt x="32" y="150"/>
                      </a:lnTo>
                      <a:lnTo>
                        <a:pt x="36" y="178"/>
                      </a:lnTo>
                      <a:lnTo>
                        <a:pt x="41" y="205"/>
                      </a:lnTo>
                      <a:lnTo>
                        <a:pt x="41" y="214"/>
                      </a:lnTo>
                      <a:lnTo>
                        <a:pt x="36" y="223"/>
                      </a:lnTo>
                      <a:lnTo>
                        <a:pt x="36" y="237"/>
                      </a:lnTo>
                      <a:lnTo>
                        <a:pt x="32" y="246"/>
                      </a:lnTo>
                      <a:lnTo>
                        <a:pt x="77" y="264"/>
                      </a:lnTo>
                      <a:lnTo>
                        <a:pt x="114" y="291"/>
                      </a:lnTo>
                      <a:lnTo>
                        <a:pt x="141" y="332"/>
                      </a:lnTo>
                      <a:lnTo>
                        <a:pt x="164" y="373"/>
                      </a:lnTo>
                      <a:lnTo>
                        <a:pt x="178" y="355"/>
                      </a:lnTo>
                      <a:lnTo>
                        <a:pt x="196" y="346"/>
                      </a:lnTo>
                      <a:lnTo>
                        <a:pt x="223" y="341"/>
                      </a:lnTo>
                      <a:lnTo>
                        <a:pt x="246" y="332"/>
                      </a:lnTo>
                      <a:lnTo>
                        <a:pt x="246" y="332"/>
                      </a:lnTo>
                      <a:lnTo>
                        <a:pt x="292" y="332"/>
                      </a:lnTo>
                      <a:lnTo>
                        <a:pt x="292" y="332"/>
                      </a:lnTo>
                      <a:lnTo>
                        <a:pt x="314" y="314"/>
                      </a:lnTo>
                      <a:lnTo>
                        <a:pt x="333" y="296"/>
                      </a:lnTo>
                      <a:lnTo>
                        <a:pt x="346" y="278"/>
                      </a:lnTo>
                      <a:lnTo>
                        <a:pt x="369" y="259"/>
                      </a:lnTo>
                      <a:lnTo>
                        <a:pt x="364" y="250"/>
                      </a:lnTo>
                      <a:lnTo>
                        <a:pt x="360" y="246"/>
                      </a:lnTo>
                      <a:lnTo>
                        <a:pt x="355" y="232"/>
                      </a:lnTo>
                      <a:lnTo>
                        <a:pt x="355" y="218"/>
                      </a:lnTo>
                      <a:lnTo>
                        <a:pt x="355" y="205"/>
                      </a:lnTo>
                      <a:lnTo>
                        <a:pt x="360" y="191"/>
                      </a:lnTo>
                      <a:lnTo>
                        <a:pt x="364" y="182"/>
                      </a:lnTo>
                      <a:lnTo>
                        <a:pt x="374" y="178"/>
                      </a:lnTo>
                      <a:lnTo>
                        <a:pt x="401" y="168"/>
                      </a:lnTo>
                      <a:lnTo>
                        <a:pt x="424" y="141"/>
                      </a:lnTo>
                      <a:lnTo>
                        <a:pt x="442" y="114"/>
                      </a:lnTo>
                      <a:lnTo>
                        <a:pt x="451" y="87"/>
                      </a:lnTo>
                      <a:lnTo>
                        <a:pt x="446" y="73"/>
                      </a:lnTo>
                      <a:lnTo>
                        <a:pt x="442" y="64"/>
                      </a:lnTo>
                      <a:lnTo>
                        <a:pt x="433" y="55"/>
                      </a:lnTo>
                      <a:lnTo>
                        <a:pt x="428" y="37"/>
                      </a:lnTo>
                      <a:lnTo>
                        <a:pt x="424" y="37"/>
                      </a:lnTo>
                      <a:lnTo>
                        <a:pt x="410" y="41"/>
                      </a:lnTo>
                      <a:lnTo>
                        <a:pt x="392" y="46"/>
                      </a:lnTo>
                      <a:lnTo>
                        <a:pt x="369" y="50"/>
                      </a:lnTo>
                      <a:lnTo>
                        <a:pt x="342" y="55"/>
                      </a:lnTo>
                      <a:lnTo>
                        <a:pt x="314" y="59"/>
                      </a:lnTo>
                      <a:lnTo>
                        <a:pt x="287" y="68"/>
                      </a:lnTo>
                      <a:lnTo>
                        <a:pt x="260" y="73"/>
                      </a:lnTo>
                      <a:lnTo>
                        <a:pt x="260" y="73"/>
                      </a:lnTo>
                      <a:lnTo>
                        <a:pt x="260" y="73"/>
                      </a:lnTo>
                      <a:lnTo>
                        <a:pt x="260" y="73"/>
                      </a:lnTo>
                      <a:close/>
                    </a:path>
                  </a:pathLst>
                </a:custGeom>
                <a:grp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79" name="Freeform 247">
                  <a:extLst>
                    <a:ext uri="{FF2B5EF4-FFF2-40B4-BE49-F238E27FC236}">
                      <a16:creationId xmlns="" xmlns:a16="http://schemas.microsoft.com/office/drawing/2014/main" id="{6EADBD24-3230-4C38-A5AB-6FFC001ABF81}"/>
                    </a:ext>
                  </a:extLst>
                </p:cNvPr>
                <p:cNvSpPr>
                  <a:spLocks noChangeAspect="1"/>
                </p:cNvSpPr>
                <p:nvPr/>
              </p:nvSpPr>
              <p:spPr bwMode="auto">
                <a:xfrm>
                  <a:off x="1973" y="555"/>
                  <a:ext cx="519" cy="359"/>
                </a:xfrm>
                <a:custGeom>
                  <a:avLst/>
                  <a:gdLst>
                    <a:gd name="T0" fmla="*/ 324 w 519"/>
                    <a:gd name="T1" fmla="*/ 345 h 359"/>
                    <a:gd name="T2" fmla="*/ 324 w 519"/>
                    <a:gd name="T3" fmla="*/ 345 h 359"/>
                    <a:gd name="T4" fmla="*/ 378 w 519"/>
                    <a:gd name="T5" fmla="*/ 331 h 359"/>
                    <a:gd name="T6" fmla="*/ 433 w 519"/>
                    <a:gd name="T7" fmla="*/ 322 h 359"/>
                    <a:gd name="T8" fmla="*/ 474 w 519"/>
                    <a:gd name="T9" fmla="*/ 313 h 359"/>
                    <a:gd name="T10" fmla="*/ 492 w 519"/>
                    <a:gd name="T11" fmla="*/ 309 h 359"/>
                    <a:gd name="T12" fmla="*/ 492 w 519"/>
                    <a:gd name="T13" fmla="*/ 309 h 359"/>
                    <a:gd name="T14" fmla="*/ 492 w 519"/>
                    <a:gd name="T15" fmla="*/ 309 h 359"/>
                    <a:gd name="T16" fmla="*/ 501 w 519"/>
                    <a:gd name="T17" fmla="*/ 286 h 359"/>
                    <a:gd name="T18" fmla="*/ 506 w 519"/>
                    <a:gd name="T19" fmla="*/ 263 h 359"/>
                    <a:gd name="T20" fmla="*/ 497 w 519"/>
                    <a:gd name="T21" fmla="*/ 231 h 359"/>
                    <a:gd name="T22" fmla="*/ 483 w 519"/>
                    <a:gd name="T23" fmla="*/ 204 h 359"/>
                    <a:gd name="T24" fmla="*/ 497 w 519"/>
                    <a:gd name="T25" fmla="*/ 172 h 359"/>
                    <a:gd name="T26" fmla="*/ 519 w 519"/>
                    <a:gd name="T27" fmla="*/ 154 h 359"/>
                    <a:gd name="T28" fmla="*/ 497 w 519"/>
                    <a:gd name="T29" fmla="*/ 100 h 359"/>
                    <a:gd name="T30" fmla="*/ 474 w 519"/>
                    <a:gd name="T31" fmla="*/ 72 h 359"/>
                    <a:gd name="T32" fmla="*/ 438 w 519"/>
                    <a:gd name="T33" fmla="*/ 31 h 359"/>
                    <a:gd name="T34" fmla="*/ 397 w 519"/>
                    <a:gd name="T35" fmla="*/ 0 h 359"/>
                    <a:gd name="T36" fmla="*/ 378 w 519"/>
                    <a:gd name="T37" fmla="*/ 18 h 359"/>
                    <a:gd name="T38" fmla="*/ 360 w 519"/>
                    <a:gd name="T39" fmla="*/ 31 h 359"/>
                    <a:gd name="T40" fmla="*/ 319 w 519"/>
                    <a:gd name="T41" fmla="*/ 59 h 359"/>
                    <a:gd name="T42" fmla="*/ 278 w 519"/>
                    <a:gd name="T43" fmla="*/ 72 h 359"/>
                    <a:gd name="T44" fmla="*/ 246 w 519"/>
                    <a:gd name="T45" fmla="*/ 81 h 359"/>
                    <a:gd name="T46" fmla="*/ 214 w 519"/>
                    <a:gd name="T47" fmla="*/ 90 h 359"/>
                    <a:gd name="T48" fmla="*/ 164 w 519"/>
                    <a:gd name="T49" fmla="*/ 95 h 359"/>
                    <a:gd name="T50" fmla="*/ 123 w 519"/>
                    <a:gd name="T51" fmla="*/ 118 h 359"/>
                    <a:gd name="T52" fmla="*/ 55 w 519"/>
                    <a:gd name="T53" fmla="*/ 154 h 359"/>
                    <a:gd name="T54" fmla="*/ 41 w 519"/>
                    <a:gd name="T55" fmla="*/ 163 h 359"/>
                    <a:gd name="T56" fmla="*/ 14 w 519"/>
                    <a:gd name="T57" fmla="*/ 186 h 359"/>
                    <a:gd name="T58" fmla="*/ 9 w 519"/>
                    <a:gd name="T59" fmla="*/ 204 h 359"/>
                    <a:gd name="T60" fmla="*/ 9 w 519"/>
                    <a:gd name="T61" fmla="*/ 218 h 359"/>
                    <a:gd name="T62" fmla="*/ 9 w 519"/>
                    <a:gd name="T63" fmla="*/ 227 h 359"/>
                    <a:gd name="T64" fmla="*/ 0 w 519"/>
                    <a:gd name="T65" fmla="*/ 245 h 359"/>
                    <a:gd name="T66" fmla="*/ 0 w 519"/>
                    <a:gd name="T67" fmla="*/ 268 h 359"/>
                    <a:gd name="T68" fmla="*/ 5 w 519"/>
                    <a:gd name="T69" fmla="*/ 281 h 359"/>
                    <a:gd name="T70" fmla="*/ 23 w 519"/>
                    <a:gd name="T71" fmla="*/ 281 h 359"/>
                    <a:gd name="T72" fmla="*/ 37 w 519"/>
                    <a:gd name="T73" fmla="*/ 268 h 359"/>
                    <a:gd name="T74" fmla="*/ 50 w 519"/>
                    <a:gd name="T75" fmla="*/ 268 h 359"/>
                    <a:gd name="T76" fmla="*/ 64 w 519"/>
                    <a:gd name="T77" fmla="*/ 277 h 359"/>
                    <a:gd name="T78" fmla="*/ 82 w 519"/>
                    <a:gd name="T79" fmla="*/ 277 h 359"/>
                    <a:gd name="T80" fmla="*/ 96 w 519"/>
                    <a:gd name="T81" fmla="*/ 281 h 359"/>
                    <a:gd name="T82" fmla="*/ 105 w 519"/>
                    <a:gd name="T83" fmla="*/ 277 h 359"/>
                    <a:gd name="T84" fmla="*/ 100 w 519"/>
                    <a:gd name="T85" fmla="*/ 272 h 359"/>
                    <a:gd name="T86" fmla="*/ 105 w 519"/>
                    <a:gd name="T87" fmla="*/ 272 h 359"/>
                    <a:gd name="T88" fmla="*/ 114 w 519"/>
                    <a:gd name="T89" fmla="*/ 272 h 359"/>
                    <a:gd name="T90" fmla="*/ 155 w 519"/>
                    <a:gd name="T91" fmla="*/ 281 h 359"/>
                    <a:gd name="T92" fmla="*/ 210 w 519"/>
                    <a:gd name="T93" fmla="*/ 313 h 359"/>
                    <a:gd name="T94" fmla="*/ 242 w 519"/>
                    <a:gd name="T95" fmla="*/ 336 h 359"/>
                    <a:gd name="T96" fmla="*/ 246 w 519"/>
                    <a:gd name="T97" fmla="*/ 354 h 359"/>
                    <a:gd name="T98" fmla="*/ 278 w 519"/>
                    <a:gd name="T99" fmla="*/ 359 h 359"/>
                    <a:gd name="T100" fmla="*/ 310 w 519"/>
                    <a:gd name="T101" fmla="*/ 345 h 359"/>
                    <a:gd name="T102" fmla="*/ 324 w 519"/>
                    <a:gd name="T103" fmla="*/ 345 h 359"/>
                    <a:gd name="T104" fmla="*/ 324 w 519"/>
                    <a:gd name="T105" fmla="*/ 345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9" h="359">
                      <a:moveTo>
                        <a:pt x="324" y="345"/>
                      </a:moveTo>
                      <a:lnTo>
                        <a:pt x="324" y="345"/>
                      </a:lnTo>
                      <a:lnTo>
                        <a:pt x="324" y="345"/>
                      </a:lnTo>
                      <a:lnTo>
                        <a:pt x="324" y="345"/>
                      </a:lnTo>
                      <a:lnTo>
                        <a:pt x="351" y="340"/>
                      </a:lnTo>
                      <a:lnTo>
                        <a:pt x="378" y="331"/>
                      </a:lnTo>
                      <a:lnTo>
                        <a:pt x="406" y="327"/>
                      </a:lnTo>
                      <a:lnTo>
                        <a:pt x="433" y="322"/>
                      </a:lnTo>
                      <a:lnTo>
                        <a:pt x="456" y="318"/>
                      </a:lnTo>
                      <a:lnTo>
                        <a:pt x="474" y="313"/>
                      </a:lnTo>
                      <a:lnTo>
                        <a:pt x="488" y="309"/>
                      </a:lnTo>
                      <a:lnTo>
                        <a:pt x="492" y="309"/>
                      </a:lnTo>
                      <a:lnTo>
                        <a:pt x="492" y="309"/>
                      </a:lnTo>
                      <a:lnTo>
                        <a:pt x="492" y="309"/>
                      </a:lnTo>
                      <a:lnTo>
                        <a:pt x="492" y="309"/>
                      </a:lnTo>
                      <a:lnTo>
                        <a:pt x="492" y="309"/>
                      </a:lnTo>
                      <a:lnTo>
                        <a:pt x="492" y="295"/>
                      </a:lnTo>
                      <a:lnTo>
                        <a:pt x="501" y="286"/>
                      </a:lnTo>
                      <a:lnTo>
                        <a:pt x="506" y="277"/>
                      </a:lnTo>
                      <a:lnTo>
                        <a:pt x="506" y="263"/>
                      </a:lnTo>
                      <a:lnTo>
                        <a:pt x="501" y="245"/>
                      </a:lnTo>
                      <a:lnTo>
                        <a:pt x="497" y="231"/>
                      </a:lnTo>
                      <a:lnTo>
                        <a:pt x="488" y="222"/>
                      </a:lnTo>
                      <a:lnTo>
                        <a:pt x="483" y="204"/>
                      </a:lnTo>
                      <a:lnTo>
                        <a:pt x="488" y="186"/>
                      </a:lnTo>
                      <a:lnTo>
                        <a:pt x="497" y="172"/>
                      </a:lnTo>
                      <a:lnTo>
                        <a:pt x="506" y="163"/>
                      </a:lnTo>
                      <a:lnTo>
                        <a:pt x="519" y="154"/>
                      </a:lnTo>
                      <a:lnTo>
                        <a:pt x="510" y="122"/>
                      </a:lnTo>
                      <a:lnTo>
                        <a:pt x="497" y="100"/>
                      </a:lnTo>
                      <a:lnTo>
                        <a:pt x="483" y="86"/>
                      </a:lnTo>
                      <a:lnTo>
                        <a:pt x="474" y="72"/>
                      </a:lnTo>
                      <a:lnTo>
                        <a:pt x="460" y="54"/>
                      </a:lnTo>
                      <a:lnTo>
                        <a:pt x="438" y="31"/>
                      </a:lnTo>
                      <a:lnTo>
                        <a:pt x="419" y="13"/>
                      </a:lnTo>
                      <a:lnTo>
                        <a:pt x="397" y="0"/>
                      </a:lnTo>
                      <a:lnTo>
                        <a:pt x="387" y="9"/>
                      </a:lnTo>
                      <a:lnTo>
                        <a:pt x="378" y="18"/>
                      </a:lnTo>
                      <a:lnTo>
                        <a:pt x="369" y="22"/>
                      </a:lnTo>
                      <a:lnTo>
                        <a:pt x="360" y="31"/>
                      </a:lnTo>
                      <a:lnTo>
                        <a:pt x="337" y="45"/>
                      </a:lnTo>
                      <a:lnTo>
                        <a:pt x="319" y="59"/>
                      </a:lnTo>
                      <a:lnTo>
                        <a:pt x="296" y="68"/>
                      </a:lnTo>
                      <a:lnTo>
                        <a:pt x="278" y="72"/>
                      </a:lnTo>
                      <a:lnTo>
                        <a:pt x="260" y="77"/>
                      </a:lnTo>
                      <a:lnTo>
                        <a:pt x="246" y="81"/>
                      </a:lnTo>
                      <a:lnTo>
                        <a:pt x="228" y="86"/>
                      </a:lnTo>
                      <a:lnTo>
                        <a:pt x="214" y="90"/>
                      </a:lnTo>
                      <a:lnTo>
                        <a:pt x="178" y="95"/>
                      </a:lnTo>
                      <a:lnTo>
                        <a:pt x="164" y="95"/>
                      </a:lnTo>
                      <a:lnTo>
                        <a:pt x="151" y="100"/>
                      </a:lnTo>
                      <a:lnTo>
                        <a:pt x="123" y="118"/>
                      </a:lnTo>
                      <a:lnTo>
                        <a:pt x="123" y="118"/>
                      </a:lnTo>
                      <a:lnTo>
                        <a:pt x="55" y="154"/>
                      </a:lnTo>
                      <a:lnTo>
                        <a:pt x="55" y="154"/>
                      </a:lnTo>
                      <a:lnTo>
                        <a:pt x="41" y="163"/>
                      </a:lnTo>
                      <a:lnTo>
                        <a:pt x="28" y="172"/>
                      </a:lnTo>
                      <a:lnTo>
                        <a:pt x="14" y="186"/>
                      </a:lnTo>
                      <a:lnTo>
                        <a:pt x="9" y="200"/>
                      </a:lnTo>
                      <a:lnTo>
                        <a:pt x="9" y="204"/>
                      </a:lnTo>
                      <a:lnTo>
                        <a:pt x="9" y="213"/>
                      </a:lnTo>
                      <a:lnTo>
                        <a:pt x="9" y="218"/>
                      </a:lnTo>
                      <a:lnTo>
                        <a:pt x="9" y="218"/>
                      </a:lnTo>
                      <a:lnTo>
                        <a:pt x="9" y="227"/>
                      </a:lnTo>
                      <a:lnTo>
                        <a:pt x="5" y="231"/>
                      </a:lnTo>
                      <a:lnTo>
                        <a:pt x="0" y="245"/>
                      </a:lnTo>
                      <a:lnTo>
                        <a:pt x="0" y="259"/>
                      </a:lnTo>
                      <a:lnTo>
                        <a:pt x="0" y="268"/>
                      </a:lnTo>
                      <a:lnTo>
                        <a:pt x="0" y="277"/>
                      </a:lnTo>
                      <a:lnTo>
                        <a:pt x="5" y="281"/>
                      </a:lnTo>
                      <a:lnTo>
                        <a:pt x="14" y="281"/>
                      </a:lnTo>
                      <a:lnTo>
                        <a:pt x="23" y="281"/>
                      </a:lnTo>
                      <a:lnTo>
                        <a:pt x="28" y="272"/>
                      </a:lnTo>
                      <a:lnTo>
                        <a:pt x="37" y="268"/>
                      </a:lnTo>
                      <a:lnTo>
                        <a:pt x="41" y="268"/>
                      </a:lnTo>
                      <a:lnTo>
                        <a:pt x="50" y="268"/>
                      </a:lnTo>
                      <a:lnTo>
                        <a:pt x="55" y="272"/>
                      </a:lnTo>
                      <a:lnTo>
                        <a:pt x="64" y="277"/>
                      </a:lnTo>
                      <a:lnTo>
                        <a:pt x="73" y="277"/>
                      </a:lnTo>
                      <a:lnTo>
                        <a:pt x="82" y="277"/>
                      </a:lnTo>
                      <a:lnTo>
                        <a:pt x="91" y="281"/>
                      </a:lnTo>
                      <a:lnTo>
                        <a:pt x="96" y="281"/>
                      </a:lnTo>
                      <a:lnTo>
                        <a:pt x="105" y="277"/>
                      </a:lnTo>
                      <a:lnTo>
                        <a:pt x="105" y="277"/>
                      </a:lnTo>
                      <a:lnTo>
                        <a:pt x="100" y="281"/>
                      </a:lnTo>
                      <a:lnTo>
                        <a:pt x="100" y="272"/>
                      </a:lnTo>
                      <a:lnTo>
                        <a:pt x="100" y="272"/>
                      </a:lnTo>
                      <a:lnTo>
                        <a:pt x="105" y="272"/>
                      </a:lnTo>
                      <a:lnTo>
                        <a:pt x="110" y="272"/>
                      </a:lnTo>
                      <a:lnTo>
                        <a:pt x="114" y="272"/>
                      </a:lnTo>
                      <a:lnTo>
                        <a:pt x="123" y="272"/>
                      </a:lnTo>
                      <a:lnTo>
                        <a:pt x="155" y="281"/>
                      </a:lnTo>
                      <a:lnTo>
                        <a:pt x="182" y="295"/>
                      </a:lnTo>
                      <a:lnTo>
                        <a:pt x="210" y="313"/>
                      </a:lnTo>
                      <a:lnTo>
                        <a:pt x="242" y="322"/>
                      </a:lnTo>
                      <a:lnTo>
                        <a:pt x="242" y="336"/>
                      </a:lnTo>
                      <a:lnTo>
                        <a:pt x="242" y="350"/>
                      </a:lnTo>
                      <a:lnTo>
                        <a:pt x="246" y="354"/>
                      </a:lnTo>
                      <a:lnTo>
                        <a:pt x="260" y="359"/>
                      </a:lnTo>
                      <a:lnTo>
                        <a:pt x="278" y="359"/>
                      </a:lnTo>
                      <a:lnTo>
                        <a:pt x="292" y="350"/>
                      </a:lnTo>
                      <a:lnTo>
                        <a:pt x="310" y="345"/>
                      </a:lnTo>
                      <a:lnTo>
                        <a:pt x="324" y="345"/>
                      </a:lnTo>
                      <a:lnTo>
                        <a:pt x="324" y="345"/>
                      </a:lnTo>
                      <a:lnTo>
                        <a:pt x="324" y="345"/>
                      </a:lnTo>
                      <a:lnTo>
                        <a:pt x="324" y="345"/>
                      </a:lnTo>
                      <a:close/>
                    </a:path>
                  </a:pathLst>
                </a:custGeom>
                <a:solidFill>
                  <a:schemeClr val="accent2"/>
                </a:solid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grpSp>
          <p:grpSp>
            <p:nvGrpSpPr>
              <p:cNvPr id="75" name="Group 248">
                <a:extLst>
                  <a:ext uri="{FF2B5EF4-FFF2-40B4-BE49-F238E27FC236}">
                    <a16:creationId xmlns="" xmlns:a16="http://schemas.microsoft.com/office/drawing/2014/main" id="{FE8521C6-1081-4C99-A8DC-ED6B43E01C75}"/>
                  </a:ext>
                </a:extLst>
              </p:cNvPr>
              <p:cNvGrpSpPr>
                <a:grpSpLocks noChangeAspect="1"/>
              </p:cNvGrpSpPr>
              <p:nvPr/>
            </p:nvGrpSpPr>
            <p:grpSpPr bwMode="auto">
              <a:xfrm>
                <a:off x="3435" y="725"/>
                <a:ext cx="584" cy="393"/>
                <a:chOff x="2411" y="86"/>
                <a:chExt cx="806" cy="500"/>
              </a:xfrm>
              <a:grpFill/>
            </p:grpSpPr>
            <p:sp>
              <p:nvSpPr>
                <p:cNvPr id="76" name="Freeform 249">
                  <a:extLst>
                    <a:ext uri="{FF2B5EF4-FFF2-40B4-BE49-F238E27FC236}">
                      <a16:creationId xmlns="" xmlns:a16="http://schemas.microsoft.com/office/drawing/2014/main" id="{396CC74A-033F-4D2C-A7F5-BD6717FBBE9F}"/>
                    </a:ext>
                  </a:extLst>
                </p:cNvPr>
                <p:cNvSpPr>
                  <a:spLocks noChangeAspect="1"/>
                </p:cNvSpPr>
                <p:nvPr/>
              </p:nvSpPr>
              <p:spPr bwMode="auto">
                <a:xfrm>
                  <a:off x="2593" y="86"/>
                  <a:ext cx="624" cy="500"/>
                </a:xfrm>
                <a:custGeom>
                  <a:avLst/>
                  <a:gdLst>
                    <a:gd name="T0" fmla="*/ 4 w 624"/>
                    <a:gd name="T1" fmla="*/ 78 h 500"/>
                    <a:gd name="T2" fmla="*/ 22 w 624"/>
                    <a:gd name="T3" fmla="*/ 123 h 500"/>
                    <a:gd name="T4" fmla="*/ 73 w 624"/>
                    <a:gd name="T5" fmla="*/ 155 h 500"/>
                    <a:gd name="T6" fmla="*/ 77 w 624"/>
                    <a:gd name="T7" fmla="*/ 173 h 500"/>
                    <a:gd name="T8" fmla="*/ 104 w 624"/>
                    <a:gd name="T9" fmla="*/ 205 h 500"/>
                    <a:gd name="T10" fmla="*/ 159 w 624"/>
                    <a:gd name="T11" fmla="*/ 219 h 500"/>
                    <a:gd name="T12" fmla="*/ 191 w 624"/>
                    <a:gd name="T13" fmla="*/ 209 h 500"/>
                    <a:gd name="T14" fmla="*/ 209 w 624"/>
                    <a:gd name="T15" fmla="*/ 232 h 500"/>
                    <a:gd name="T16" fmla="*/ 223 w 624"/>
                    <a:gd name="T17" fmla="*/ 259 h 500"/>
                    <a:gd name="T18" fmla="*/ 250 w 624"/>
                    <a:gd name="T19" fmla="*/ 273 h 500"/>
                    <a:gd name="T20" fmla="*/ 273 w 624"/>
                    <a:gd name="T21" fmla="*/ 323 h 500"/>
                    <a:gd name="T22" fmla="*/ 300 w 624"/>
                    <a:gd name="T23" fmla="*/ 382 h 500"/>
                    <a:gd name="T24" fmla="*/ 300 w 624"/>
                    <a:gd name="T25" fmla="*/ 432 h 500"/>
                    <a:gd name="T26" fmla="*/ 296 w 624"/>
                    <a:gd name="T27" fmla="*/ 469 h 500"/>
                    <a:gd name="T28" fmla="*/ 282 w 624"/>
                    <a:gd name="T29" fmla="*/ 487 h 500"/>
                    <a:gd name="T30" fmla="*/ 296 w 624"/>
                    <a:gd name="T31" fmla="*/ 500 h 500"/>
                    <a:gd name="T32" fmla="*/ 341 w 624"/>
                    <a:gd name="T33" fmla="*/ 496 h 500"/>
                    <a:gd name="T34" fmla="*/ 396 w 624"/>
                    <a:gd name="T35" fmla="*/ 482 h 500"/>
                    <a:gd name="T36" fmla="*/ 460 w 624"/>
                    <a:gd name="T37" fmla="*/ 473 h 500"/>
                    <a:gd name="T38" fmla="*/ 519 w 624"/>
                    <a:gd name="T39" fmla="*/ 478 h 500"/>
                    <a:gd name="T40" fmla="*/ 569 w 624"/>
                    <a:gd name="T41" fmla="*/ 491 h 500"/>
                    <a:gd name="T42" fmla="*/ 610 w 624"/>
                    <a:gd name="T43" fmla="*/ 487 h 500"/>
                    <a:gd name="T44" fmla="*/ 624 w 624"/>
                    <a:gd name="T45" fmla="*/ 459 h 500"/>
                    <a:gd name="T46" fmla="*/ 610 w 624"/>
                    <a:gd name="T47" fmla="*/ 428 h 500"/>
                    <a:gd name="T48" fmla="*/ 615 w 624"/>
                    <a:gd name="T49" fmla="*/ 405 h 500"/>
                    <a:gd name="T50" fmla="*/ 619 w 624"/>
                    <a:gd name="T51" fmla="*/ 387 h 500"/>
                    <a:gd name="T52" fmla="*/ 606 w 624"/>
                    <a:gd name="T53" fmla="*/ 369 h 500"/>
                    <a:gd name="T54" fmla="*/ 569 w 624"/>
                    <a:gd name="T55" fmla="*/ 341 h 500"/>
                    <a:gd name="T56" fmla="*/ 533 w 624"/>
                    <a:gd name="T57" fmla="*/ 346 h 500"/>
                    <a:gd name="T58" fmla="*/ 487 w 624"/>
                    <a:gd name="T59" fmla="*/ 355 h 500"/>
                    <a:gd name="T60" fmla="*/ 464 w 624"/>
                    <a:gd name="T61" fmla="*/ 364 h 500"/>
                    <a:gd name="T62" fmla="*/ 464 w 624"/>
                    <a:gd name="T63" fmla="*/ 319 h 500"/>
                    <a:gd name="T64" fmla="*/ 410 w 624"/>
                    <a:gd name="T65" fmla="*/ 282 h 500"/>
                    <a:gd name="T66" fmla="*/ 328 w 624"/>
                    <a:gd name="T67" fmla="*/ 241 h 500"/>
                    <a:gd name="T68" fmla="*/ 282 w 624"/>
                    <a:gd name="T69" fmla="*/ 150 h 500"/>
                    <a:gd name="T70" fmla="*/ 237 w 624"/>
                    <a:gd name="T71" fmla="*/ 178 h 500"/>
                    <a:gd name="T72" fmla="*/ 205 w 624"/>
                    <a:gd name="T73" fmla="*/ 178 h 500"/>
                    <a:gd name="T74" fmla="*/ 186 w 624"/>
                    <a:gd name="T75" fmla="*/ 159 h 500"/>
                    <a:gd name="T76" fmla="*/ 145 w 624"/>
                    <a:gd name="T77" fmla="*/ 123 h 500"/>
                    <a:gd name="T78" fmla="*/ 150 w 624"/>
                    <a:gd name="T79" fmla="*/ 87 h 500"/>
                    <a:gd name="T80" fmla="*/ 127 w 624"/>
                    <a:gd name="T81" fmla="*/ 41 h 500"/>
                    <a:gd name="T82" fmla="*/ 104 w 624"/>
                    <a:gd name="T83" fmla="*/ 5 h 500"/>
                    <a:gd name="T84" fmla="*/ 54 w 624"/>
                    <a:gd name="T85" fmla="*/ 28 h 500"/>
                    <a:gd name="T86" fmla="*/ 27 w 624"/>
                    <a:gd name="T87" fmla="*/ 23 h 500"/>
                    <a:gd name="T88" fmla="*/ 0 w 624"/>
                    <a:gd name="T89" fmla="*/ 37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4" h="500">
                      <a:moveTo>
                        <a:pt x="0" y="37"/>
                      </a:moveTo>
                      <a:lnTo>
                        <a:pt x="0" y="55"/>
                      </a:lnTo>
                      <a:lnTo>
                        <a:pt x="4" y="78"/>
                      </a:lnTo>
                      <a:lnTo>
                        <a:pt x="9" y="96"/>
                      </a:lnTo>
                      <a:lnTo>
                        <a:pt x="13" y="109"/>
                      </a:lnTo>
                      <a:lnTo>
                        <a:pt x="22" y="123"/>
                      </a:lnTo>
                      <a:lnTo>
                        <a:pt x="41" y="132"/>
                      </a:lnTo>
                      <a:lnTo>
                        <a:pt x="59" y="141"/>
                      </a:lnTo>
                      <a:lnTo>
                        <a:pt x="73" y="155"/>
                      </a:lnTo>
                      <a:lnTo>
                        <a:pt x="77" y="159"/>
                      </a:lnTo>
                      <a:lnTo>
                        <a:pt x="77" y="169"/>
                      </a:lnTo>
                      <a:lnTo>
                        <a:pt x="77" y="173"/>
                      </a:lnTo>
                      <a:lnTo>
                        <a:pt x="77" y="182"/>
                      </a:lnTo>
                      <a:lnTo>
                        <a:pt x="91" y="196"/>
                      </a:lnTo>
                      <a:lnTo>
                        <a:pt x="104" y="205"/>
                      </a:lnTo>
                      <a:lnTo>
                        <a:pt x="127" y="214"/>
                      </a:lnTo>
                      <a:lnTo>
                        <a:pt x="145" y="219"/>
                      </a:lnTo>
                      <a:lnTo>
                        <a:pt x="159" y="219"/>
                      </a:lnTo>
                      <a:lnTo>
                        <a:pt x="168" y="214"/>
                      </a:lnTo>
                      <a:lnTo>
                        <a:pt x="177" y="209"/>
                      </a:lnTo>
                      <a:lnTo>
                        <a:pt x="191" y="209"/>
                      </a:lnTo>
                      <a:lnTo>
                        <a:pt x="200" y="214"/>
                      </a:lnTo>
                      <a:lnTo>
                        <a:pt x="209" y="219"/>
                      </a:lnTo>
                      <a:lnTo>
                        <a:pt x="209" y="232"/>
                      </a:lnTo>
                      <a:lnTo>
                        <a:pt x="214" y="246"/>
                      </a:lnTo>
                      <a:lnTo>
                        <a:pt x="214" y="250"/>
                      </a:lnTo>
                      <a:lnTo>
                        <a:pt x="223" y="259"/>
                      </a:lnTo>
                      <a:lnTo>
                        <a:pt x="227" y="264"/>
                      </a:lnTo>
                      <a:lnTo>
                        <a:pt x="232" y="264"/>
                      </a:lnTo>
                      <a:lnTo>
                        <a:pt x="250" y="273"/>
                      </a:lnTo>
                      <a:lnTo>
                        <a:pt x="264" y="287"/>
                      </a:lnTo>
                      <a:lnTo>
                        <a:pt x="268" y="300"/>
                      </a:lnTo>
                      <a:lnTo>
                        <a:pt x="273" y="323"/>
                      </a:lnTo>
                      <a:lnTo>
                        <a:pt x="278" y="346"/>
                      </a:lnTo>
                      <a:lnTo>
                        <a:pt x="291" y="364"/>
                      </a:lnTo>
                      <a:lnTo>
                        <a:pt x="300" y="382"/>
                      </a:lnTo>
                      <a:lnTo>
                        <a:pt x="305" y="405"/>
                      </a:lnTo>
                      <a:lnTo>
                        <a:pt x="305" y="423"/>
                      </a:lnTo>
                      <a:lnTo>
                        <a:pt x="300" y="432"/>
                      </a:lnTo>
                      <a:lnTo>
                        <a:pt x="296" y="446"/>
                      </a:lnTo>
                      <a:lnTo>
                        <a:pt x="296" y="459"/>
                      </a:lnTo>
                      <a:lnTo>
                        <a:pt x="296" y="469"/>
                      </a:lnTo>
                      <a:lnTo>
                        <a:pt x="291" y="478"/>
                      </a:lnTo>
                      <a:lnTo>
                        <a:pt x="287" y="482"/>
                      </a:lnTo>
                      <a:lnTo>
                        <a:pt x="282" y="487"/>
                      </a:lnTo>
                      <a:lnTo>
                        <a:pt x="287" y="491"/>
                      </a:lnTo>
                      <a:lnTo>
                        <a:pt x="291" y="496"/>
                      </a:lnTo>
                      <a:lnTo>
                        <a:pt x="296" y="500"/>
                      </a:lnTo>
                      <a:lnTo>
                        <a:pt x="305" y="500"/>
                      </a:lnTo>
                      <a:lnTo>
                        <a:pt x="323" y="500"/>
                      </a:lnTo>
                      <a:lnTo>
                        <a:pt x="341" y="496"/>
                      </a:lnTo>
                      <a:lnTo>
                        <a:pt x="360" y="491"/>
                      </a:lnTo>
                      <a:lnTo>
                        <a:pt x="378" y="487"/>
                      </a:lnTo>
                      <a:lnTo>
                        <a:pt x="396" y="482"/>
                      </a:lnTo>
                      <a:lnTo>
                        <a:pt x="414" y="478"/>
                      </a:lnTo>
                      <a:lnTo>
                        <a:pt x="437" y="473"/>
                      </a:lnTo>
                      <a:lnTo>
                        <a:pt x="460" y="473"/>
                      </a:lnTo>
                      <a:lnTo>
                        <a:pt x="483" y="473"/>
                      </a:lnTo>
                      <a:lnTo>
                        <a:pt x="501" y="478"/>
                      </a:lnTo>
                      <a:lnTo>
                        <a:pt x="519" y="478"/>
                      </a:lnTo>
                      <a:lnTo>
                        <a:pt x="537" y="482"/>
                      </a:lnTo>
                      <a:lnTo>
                        <a:pt x="555" y="487"/>
                      </a:lnTo>
                      <a:lnTo>
                        <a:pt x="569" y="491"/>
                      </a:lnTo>
                      <a:lnTo>
                        <a:pt x="587" y="496"/>
                      </a:lnTo>
                      <a:lnTo>
                        <a:pt x="610" y="500"/>
                      </a:lnTo>
                      <a:lnTo>
                        <a:pt x="610" y="487"/>
                      </a:lnTo>
                      <a:lnTo>
                        <a:pt x="619" y="478"/>
                      </a:lnTo>
                      <a:lnTo>
                        <a:pt x="624" y="473"/>
                      </a:lnTo>
                      <a:lnTo>
                        <a:pt x="624" y="459"/>
                      </a:lnTo>
                      <a:lnTo>
                        <a:pt x="619" y="446"/>
                      </a:lnTo>
                      <a:lnTo>
                        <a:pt x="615" y="437"/>
                      </a:lnTo>
                      <a:lnTo>
                        <a:pt x="610" y="428"/>
                      </a:lnTo>
                      <a:lnTo>
                        <a:pt x="606" y="419"/>
                      </a:lnTo>
                      <a:lnTo>
                        <a:pt x="606" y="409"/>
                      </a:lnTo>
                      <a:lnTo>
                        <a:pt x="615" y="405"/>
                      </a:lnTo>
                      <a:lnTo>
                        <a:pt x="619" y="396"/>
                      </a:lnTo>
                      <a:lnTo>
                        <a:pt x="619" y="391"/>
                      </a:lnTo>
                      <a:lnTo>
                        <a:pt x="619" y="387"/>
                      </a:lnTo>
                      <a:lnTo>
                        <a:pt x="615" y="378"/>
                      </a:lnTo>
                      <a:lnTo>
                        <a:pt x="610" y="373"/>
                      </a:lnTo>
                      <a:lnTo>
                        <a:pt x="606" y="369"/>
                      </a:lnTo>
                      <a:lnTo>
                        <a:pt x="592" y="364"/>
                      </a:lnTo>
                      <a:lnTo>
                        <a:pt x="583" y="350"/>
                      </a:lnTo>
                      <a:lnTo>
                        <a:pt x="569" y="341"/>
                      </a:lnTo>
                      <a:lnTo>
                        <a:pt x="551" y="341"/>
                      </a:lnTo>
                      <a:lnTo>
                        <a:pt x="542" y="341"/>
                      </a:lnTo>
                      <a:lnTo>
                        <a:pt x="533" y="346"/>
                      </a:lnTo>
                      <a:lnTo>
                        <a:pt x="514" y="346"/>
                      </a:lnTo>
                      <a:lnTo>
                        <a:pt x="501" y="350"/>
                      </a:lnTo>
                      <a:lnTo>
                        <a:pt x="487" y="355"/>
                      </a:lnTo>
                      <a:lnTo>
                        <a:pt x="478" y="364"/>
                      </a:lnTo>
                      <a:lnTo>
                        <a:pt x="473" y="369"/>
                      </a:lnTo>
                      <a:lnTo>
                        <a:pt x="464" y="364"/>
                      </a:lnTo>
                      <a:lnTo>
                        <a:pt x="460" y="355"/>
                      </a:lnTo>
                      <a:lnTo>
                        <a:pt x="460" y="337"/>
                      </a:lnTo>
                      <a:lnTo>
                        <a:pt x="464" y="319"/>
                      </a:lnTo>
                      <a:lnTo>
                        <a:pt x="464" y="309"/>
                      </a:lnTo>
                      <a:lnTo>
                        <a:pt x="442" y="291"/>
                      </a:lnTo>
                      <a:lnTo>
                        <a:pt x="410" y="282"/>
                      </a:lnTo>
                      <a:lnTo>
                        <a:pt x="373" y="278"/>
                      </a:lnTo>
                      <a:lnTo>
                        <a:pt x="341" y="264"/>
                      </a:lnTo>
                      <a:lnTo>
                        <a:pt x="328" y="241"/>
                      </a:lnTo>
                      <a:lnTo>
                        <a:pt x="319" y="205"/>
                      </a:lnTo>
                      <a:lnTo>
                        <a:pt x="309" y="169"/>
                      </a:lnTo>
                      <a:lnTo>
                        <a:pt x="282" y="150"/>
                      </a:lnTo>
                      <a:lnTo>
                        <a:pt x="264" y="155"/>
                      </a:lnTo>
                      <a:lnTo>
                        <a:pt x="250" y="164"/>
                      </a:lnTo>
                      <a:lnTo>
                        <a:pt x="237" y="178"/>
                      </a:lnTo>
                      <a:lnTo>
                        <a:pt x="218" y="182"/>
                      </a:lnTo>
                      <a:lnTo>
                        <a:pt x="214" y="182"/>
                      </a:lnTo>
                      <a:lnTo>
                        <a:pt x="205" y="178"/>
                      </a:lnTo>
                      <a:lnTo>
                        <a:pt x="200" y="173"/>
                      </a:lnTo>
                      <a:lnTo>
                        <a:pt x="196" y="169"/>
                      </a:lnTo>
                      <a:lnTo>
                        <a:pt x="186" y="159"/>
                      </a:lnTo>
                      <a:lnTo>
                        <a:pt x="168" y="150"/>
                      </a:lnTo>
                      <a:lnTo>
                        <a:pt x="155" y="137"/>
                      </a:lnTo>
                      <a:lnTo>
                        <a:pt x="145" y="123"/>
                      </a:lnTo>
                      <a:lnTo>
                        <a:pt x="145" y="109"/>
                      </a:lnTo>
                      <a:lnTo>
                        <a:pt x="150" y="96"/>
                      </a:lnTo>
                      <a:lnTo>
                        <a:pt x="150" y="87"/>
                      </a:lnTo>
                      <a:lnTo>
                        <a:pt x="145" y="73"/>
                      </a:lnTo>
                      <a:lnTo>
                        <a:pt x="136" y="55"/>
                      </a:lnTo>
                      <a:lnTo>
                        <a:pt x="127" y="41"/>
                      </a:lnTo>
                      <a:lnTo>
                        <a:pt x="123" y="23"/>
                      </a:lnTo>
                      <a:lnTo>
                        <a:pt x="118" y="0"/>
                      </a:lnTo>
                      <a:lnTo>
                        <a:pt x="104" y="5"/>
                      </a:lnTo>
                      <a:lnTo>
                        <a:pt x="86" y="14"/>
                      </a:lnTo>
                      <a:lnTo>
                        <a:pt x="68" y="23"/>
                      </a:lnTo>
                      <a:lnTo>
                        <a:pt x="54" y="28"/>
                      </a:lnTo>
                      <a:lnTo>
                        <a:pt x="45" y="28"/>
                      </a:lnTo>
                      <a:lnTo>
                        <a:pt x="41" y="28"/>
                      </a:lnTo>
                      <a:lnTo>
                        <a:pt x="27" y="23"/>
                      </a:lnTo>
                      <a:lnTo>
                        <a:pt x="0" y="32"/>
                      </a:lnTo>
                      <a:lnTo>
                        <a:pt x="0" y="32"/>
                      </a:lnTo>
                      <a:lnTo>
                        <a:pt x="0" y="37"/>
                      </a:lnTo>
                      <a:lnTo>
                        <a:pt x="0" y="37"/>
                      </a:lnTo>
                      <a:close/>
                    </a:path>
                  </a:pathLst>
                </a:custGeom>
                <a:grp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77" name="Freeform 250">
                  <a:extLst>
                    <a:ext uri="{FF2B5EF4-FFF2-40B4-BE49-F238E27FC236}">
                      <a16:creationId xmlns="" xmlns:a16="http://schemas.microsoft.com/office/drawing/2014/main" id="{1F8D9380-1EAD-405B-BF76-A3C97BB01A68}"/>
                    </a:ext>
                  </a:extLst>
                </p:cNvPr>
                <p:cNvSpPr>
                  <a:spLocks noChangeAspect="1"/>
                </p:cNvSpPr>
                <p:nvPr/>
              </p:nvSpPr>
              <p:spPr bwMode="auto">
                <a:xfrm>
                  <a:off x="2411" y="118"/>
                  <a:ext cx="487" cy="464"/>
                </a:xfrm>
                <a:custGeom>
                  <a:avLst/>
                  <a:gdLst>
                    <a:gd name="T0" fmla="*/ 9 w 487"/>
                    <a:gd name="T1" fmla="*/ 309 h 464"/>
                    <a:gd name="T2" fmla="*/ 22 w 487"/>
                    <a:gd name="T3" fmla="*/ 314 h 464"/>
                    <a:gd name="T4" fmla="*/ 54 w 487"/>
                    <a:gd name="T5" fmla="*/ 309 h 464"/>
                    <a:gd name="T6" fmla="*/ 95 w 487"/>
                    <a:gd name="T7" fmla="*/ 314 h 464"/>
                    <a:gd name="T8" fmla="*/ 141 w 487"/>
                    <a:gd name="T9" fmla="*/ 332 h 464"/>
                    <a:gd name="T10" fmla="*/ 177 w 487"/>
                    <a:gd name="T11" fmla="*/ 364 h 464"/>
                    <a:gd name="T12" fmla="*/ 218 w 487"/>
                    <a:gd name="T13" fmla="*/ 382 h 464"/>
                    <a:gd name="T14" fmla="*/ 250 w 487"/>
                    <a:gd name="T15" fmla="*/ 387 h 464"/>
                    <a:gd name="T16" fmla="*/ 264 w 487"/>
                    <a:gd name="T17" fmla="*/ 387 h 464"/>
                    <a:gd name="T18" fmla="*/ 282 w 487"/>
                    <a:gd name="T19" fmla="*/ 405 h 464"/>
                    <a:gd name="T20" fmla="*/ 332 w 487"/>
                    <a:gd name="T21" fmla="*/ 418 h 464"/>
                    <a:gd name="T22" fmla="*/ 373 w 487"/>
                    <a:gd name="T23" fmla="*/ 446 h 464"/>
                    <a:gd name="T24" fmla="*/ 419 w 487"/>
                    <a:gd name="T25" fmla="*/ 459 h 464"/>
                    <a:gd name="T26" fmla="*/ 460 w 487"/>
                    <a:gd name="T27" fmla="*/ 459 h 464"/>
                    <a:gd name="T28" fmla="*/ 473 w 487"/>
                    <a:gd name="T29" fmla="*/ 441 h 464"/>
                    <a:gd name="T30" fmla="*/ 478 w 487"/>
                    <a:gd name="T31" fmla="*/ 414 h 464"/>
                    <a:gd name="T32" fmla="*/ 487 w 487"/>
                    <a:gd name="T33" fmla="*/ 391 h 464"/>
                    <a:gd name="T34" fmla="*/ 482 w 487"/>
                    <a:gd name="T35" fmla="*/ 350 h 464"/>
                    <a:gd name="T36" fmla="*/ 460 w 487"/>
                    <a:gd name="T37" fmla="*/ 314 h 464"/>
                    <a:gd name="T38" fmla="*/ 450 w 487"/>
                    <a:gd name="T39" fmla="*/ 268 h 464"/>
                    <a:gd name="T40" fmla="*/ 432 w 487"/>
                    <a:gd name="T41" fmla="*/ 241 h 464"/>
                    <a:gd name="T42" fmla="*/ 409 w 487"/>
                    <a:gd name="T43" fmla="*/ 232 h 464"/>
                    <a:gd name="T44" fmla="*/ 396 w 487"/>
                    <a:gd name="T45" fmla="*/ 218 h 464"/>
                    <a:gd name="T46" fmla="*/ 391 w 487"/>
                    <a:gd name="T47" fmla="*/ 200 h 464"/>
                    <a:gd name="T48" fmla="*/ 382 w 487"/>
                    <a:gd name="T49" fmla="*/ 182 h 464"/>
                    <a:gd name="T50" fmla="*/ 359 w 487"/>
                    <a:gd name="T51" fmla="*/ 177 h 464"/>
                    <a:gd name="T52" fmla="*/ 341 w 487"/>
                    <a:gd name="T53" fmla="*/ 187 h 464"/>
                    <a:gd name="T54" fmla="*/ 309 w 487"/>
                    <a:gd name="T55" fmla="*/ 182 h 464"/>
                    <a:gd name="T56" fmla="*/ 273 w 487"/>
                    <a:gd name="T57" fmla="*/ 164 h 464"/>
                    <a:gd name="T58" fmla="*/ 259 w 487"/>
                    <a:gd name="T59" fmla="*/ 141 h 464"/>
                    <a:gd name="T60" fmla="*/ 259 w 487"/>
                    <a:gd name="T61" fmla="*/ 127 h 464"/>
                    <a:gd name="T62" fmla="*/ 241 w 487"/>
                    <a:gd name="T63" fmla="*/ 109 h 464"/>
                    <a:gd name="T64" fmla="*/ 204 w 487"/>
                    <a:gd name="T65" fmla="*/ 91 h 464"/>
                    <a:gd name="T66" fmla="*/ 191 w 487"/>
                    <a:gd name="T67" fmla="*/ 59 h 464"/>
                    <a:gd name="T68" fmla="*/ 182 w 487"/>
                    <a:gd name="T69" fmla="*/ 23 h 464"/>
                    <a:gd name="T70" fmla="*/ 150 w 487"/>
                    <a:gd name="T71" fmla="*/ 14 h 464"/>
                    <a:gd name="T72" fmla="*/ 86 w 487"/>
                    <a:gd name="T73" fmla="*/ 27 h 464"/>
                    <a:gd name="T74" fmla="*/ 41 w 487"/>
                    <a:gd name="T75" fmla="*/ 50 h 464"/>
                    <a:gd name="T76" fmla="*/ 13 w 487"/>
                    <a:gd name="T77" fmla="*/ 77 h 464"/>
                    <a:gd name="T78" fmla="*/ 9 w 487"/>
                    <a:gd name="T79" fmla="*/ 100 h 464"/>
                    <a:gd name="T80" fmla="*/ 18 w 487"/>
                    <a:gd name="T81" fmla="*/ 114 h 464"/>
                    <a:gd name="T82" fmla="*/ 18 w 487"/>
                    <a:gd name="T83" fmla="*/ 132 h 464"/>
                    <a:gd name="T84" fmla="*/ 4 w 487"/>
                    <a:gd name="T85" fmla="*/ 150 h 464"/>
                    <a:gd name="T86" fmla="*/ 4 w 487"/>
                    <a:gd name="T87" fmla="*/ 177 h 464"/>
                    <a:gd name="T88" fmla="*/ 13 w 487"/>
                    <a:gd name="T89" fmla="*/ 209 h 464"/>
                    <a:gd name="T90" fmla="*/ 13 w 487"/>
                    <a:gd name="T91" fmla="*/ 241 h 464"/>
                    <a:gd name="T92" fmla="*/ 0 w 487"/>
                    <a:gd name="T93" fmla="*/ 277 h 464"/>
                    <a:gd name="T94" fmla="*/ 0 w 487"/>
                    <a:gd name="T95" fmla="*/ 305 h 464"/>
                    <a:gd name="T96" fmla="*/ 13 w 487"/>
                    <a:gd name="T97" fmla="*/ 309 h 464"/>
                    <a:gd name="T98" fmla="*/ 13 w 487"/>
                    <a:gd name="T99" fmla="*/ 314 h 464"/>
                    <a:gd name="T100" fmla="*/ 9 w 487"/>
                    <a:gd name="T101" fmla="*/ 31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7" h="464">
                      <a:moveTo>
                        <a:pt x="9" y="314"/>
                      </a:moveTo>
                      <a:lnTo>
                        <a:pt x="9" y="309"/>
                      </a:lnTo>
                      <a:lnTo>
                        <a:pt x="9" y="309"/>
                      </a:lnTo>
                      <a:lnTo>
                        <a:pt x="22" y="314"/>
                      </a:lnTo>
                      <a:lnTo>
                        <a:pt x="36" y="314"/>
                      </a:lnTo>
                      <a:lnTo>
                        <a:pt x="54" y="309"/>
                      </a:lnTo>
                      <a:lnTo>
                        <a:pt x="68" y="309"/>
                      </a:lnTo>
                      <a:lnTo>
                        <a:pt x="95" y="314"/>
                      </a:lnTo>
                      <a:lnTo>
                        <a:pt x="118" y="323"/>
                      </a:lnTo>
                      <a:lnTo>
                        <a:pt x="141" y="332"/>
                      </a:lnTo>
                      <a:lnTo>
                        <a:pt x="159" y="346"/>
                      </a:lnTo>
                      <a:lnTo>
                        <a:pt x="177" y="364"/>
                      </a:lnTo>
                      <a:lnTo>
                        <a:pt x="195" y="373"/>
                      </a:lnTo>
                      <a:lnTo>
                        <a:pt x="218" y="382"/>
                      </a:lnTo>
                      <a:lnTo>
                        <a:pt x="241" y="387"/>
                      </a:lnTo>
                      <a:lnTo>
                        <a:pt x="250" y="387"/>
                      </a:lnTo>
                      <a:lnTo>
                        <a:pt x="255" y="387"/>
                      </a:lnTo>
                      <a:lnTo>
                        <a:pt x="264" y="387"/>
                      </a:lnTo>
                      <a:lnTo>
                        <a:pt x="268" y="387"/>
                      </a:lnTo>
                      <a:lnTo>
                        <a:pt x="282" y="405"/>
                      </a:lnTo>
                      <a:lnTo>
                        <a:pt x="305" y="414"/>
                      </a:lnTo>
                      <a:lnTo>
                        <a:pt x="332" y="418"/>
                      </a:lnTo>
                      <a:lnTo>
                        <a:pt x="355" y="432"/>
                      </a:lnTo>
                      <a:lnTo>
                        <a:pt x="373" y="446"/>
                      </a:lnTo>
                      <a:lnTo>
                        <a:pt x="396" y="455"/>
                      </a:lnTo>
                      <a:lnTo>
                        <a:pt x="419" y="459"/>
                      </a:lnTo>
                      <a:lnTo>
                        <a:pt x="446" y="464"/>
                      </a:lnTo>
                      <a:lnTo>
                        <a:pt x="460" y="459"/>
                      </a:lnTo>
                      <a:lnTo>
                        <a:pt x="469" y="455"/>
                      </a:lnTo>
                      <a:lnTo>
                        <a:pt x="473" y="441"/>
                      </a:lnTo>
                      <a:lnTo>
                        <a:pt x="478" y="427"/>
                      </a:lnTo>
                      <a:lnTo>
                        <a:pt x="478" y="414"/>
                      </a:lnTo>
                      <a:lnTo>
                        <a:pt x="482" y="400"/>
                      </a:lnTo>
                      <a:lnTo>
                        <a:pt x="487" y="391"/>
                      </a:lnTo>
                      <a:lnTo>
                        <a:pt x="487" y="373"/>
                      </a:lnTo>
                      <a:lnTo>
                        <a:pt x="482" y="350"/>
                      </a:lnTo>
                      <a:lnTo>
                        <a:pt x="473" y="332"/>
                      </a:lnTo>
                      <a:lnTo>
                        <a:pt x="460" y="314"/>
                      </a:lnTo>
                      <a:lnTo>
                        <a:pt x="455" y="291"/>
                      </a:lnTo>
                      <a:lnTo>
                        <a:pt x="450" y="268"/>
                      </a:lnTo>
                      <a:lnTo>
                        <a:pt x="446" y="255"/>
                      </a:lnTo>
                      <a:lnTo>
                        <a:pt x="432" y="241"/>
                      </a:lnTo>
                      <a:lnTo>
                        <a:pt x="414" y="232"/>
                      </a:lnTo>
                      <a:lnTo>
                        <a:pt x="409" y="232"/>
                      </a:lnTo>
                      <a:lnTo>
                        <a:pt x="405" y="227"/>
                      </a:lnTo>
                      <a:lnTo>
                        <a:pt x="396" y="218"/>
                      </a:lnTo>
                      <a:lnTo>
                        <a:pt x="396" y="214"/>
                      </a:lnTo>
                      <a:lnTo>
                        <a:pt x="391" y="200"/>
                      </a:lnTo>
                      <a:lnTo>
                        <a:pt x="391" y="187"/>
                      </a:lnTo>
                      <a:lnTo>
                        <a:pt x="382" y="182"/>
                      </a:lnTo>
                      <a:lnTo>
                        <a:pt x="373" y="177"/>
                      </a:lnTo>
                      <a:lnTo>
                        <a:pt x="359" y="177"/>
                      </a:lnTo>
                      <a:lnTo>
                        <a:pt x="350" y="182"/>
                      </a:lnTo>
                      <a:lnTo>
                        <a:pt x="341" y="187"/>
                      </a:lnTo>
                      <a:lnTo>
                        <a:pt x="327" y="187"/>
                      </a:lnTo>
                      <a:lnTo>
                        <a:pt x="309" y="182"/>
                      </a:lnTo>
                      <a:lnTo>
                        <a:pt x="286" y="173"/>
                      </a:lnTo>
                      <a:lnTo>
                        <a:pt x="273" y="164"/>
                      </a:lnTo>
                      <a:lnTo>
                        <a:pt x="259" y="150"/>
                      </a:lnTo>
                      <a:lnTo>
                        <a:pt x="259" y="141"/>
                      </a:lnTo>
                      <a:lnTo>
                        <a:pt x="259" y="137"/>
                      </a:lnTo>
                      <a:lnTo>
                        <a:pt x="259" y="127"/>
                      </a:lnTo>
                      <a:lnTo>
                        <a:pt x="255" y="123"/>
                      </a:lnTo>
                      <a:lnTo>
                        <a:pt x="241" y="109"/>
                      </a:lnTo>
                      <a:lnTo>
                        <a:pt x="223" y="100"/>
                      </a:lnTo>
                      <a:lnTo>
                        <a:pt x="204" y="91"/>
                      </a:lnTo>
                      <a:lnTo>
                        <a:pt x="195" y="77"/>
                      </a:lnTo>
                      <a:lnTo>
                        <a:pt x="191" y="59"/>
                      </a:lnTo>
                      <a:lnTo>
                        <a:pt x="186" y="41"/>
                      </a:lnTo>
                      <a:lnTo>
                        <a:pt x="182" y="23"/>
                      </a:lnTo>
                      <a:lnTo>
                        <a:pt x="182" y="0"/>
                      </a:lnTo>
                      <a:lnTo>
                        <a:pt x="150" y="14"/>
                      </a:lnTo>
                      <a:lnTo>
                        <a:pt x="118" y="18"/>
                      </a:lnTo>
                      <a:lnTo>
                        <a:pt x="86" y="27"/>
                      </a:lnTo>
                      <a:lnTo>
                        <a:pt x="54" y="41"/>
                      </a:lnTo>
                      <a:lnTo>
                        <a:pt x="41" y="50"/>
                      </a:lnTo>
                      <a:lnTo>
                        <a:pt x="27" y="64"/>
                      </a:lnTo>
                      <a:lnTo>
                        <a:pt x="13" y="77"/>
                      </a:lnTo>
                      <a:lnTo>
                        <a:pt x="9" y="91"/>
                      </a:lnTo>
                      <a:lnTo>
                        <a:pt x="9" y="100"/>
                      </a:lnTo>
                      <a:lnTo>
                        <a:pt x="13" y="105"/>
                      </a:lnTo>
                      <a:lnTo>
                        <a:pt x="18" y="114"/>
                      </a:lnTo>
                      <a:lnTo>
                        <a:pt x="18" y="123"/>
                      </a:lnTo>
                      <a:lnTo>
                        <a:pt x="18" y="132"/>
                      </a:lnTo>
                      <a:lnTo>
                        <a:pt x="13" y="141"/>
                      </a:lnTo>
                      <a:lnTo>
                        <a:pt x="4" y="150"/>
                      </a:lnTo>
                      <a:lnTo>
                        <a:pt x="4" y="159"/>
                      </a:lnTo>
                      <a:lnTo>
                        <a:pt x="4" y="177"/>
                      </a:lnTo>
                      <a:lnTo>
                        <a:pt x="9" y="191"/>
                      </a:lnTo>
                      <a:lnTo>
                        <a:pt x="13" y="209"/>
                      </a:lnTo>
                      <a:lnTo>
                        <a:pt x="13" y="227"/>
                      </a:lnTo>
                      <a:lnTo>
                        <a:pt x="13" y="241"/>
                      </a:lnTo>
                      <a:lnTo>
                        <a:pt x="9" y="259"/>
                      </a:lnTo>
                      <a:lnTo>
                        <a:pt x="0" y="277"/>
                      </a:lnTo>
                      <a:lnTo>
                        <a:pt x="0" y="296"/>
                      </a:lnTo>
                      <a:lnTo>
                        <a:pt x="0" y="305"/>
                      </a:lnTo>
                      <a:lnTo>
                        <a:pt x="9" y="305"/>
                      </a:lnTo>
                      <a:lnTo>
                        <a:pt x="13" y="309"/>
                      </a:lnTo>
                      <a:lnTo>
                        <a:pt x="13" y="314"/>
                      </a:lnTo>
                      <a:lnTo>
                        <a:pt x="13" y="314"/>
                      </a:lnTo>
                      <a:lnTo>
                        <a:pt x="9" y="314"/>
                      </a:lnTo>
                      <a:lnTo>
                        <a:pt x="9" y="314"/>
                      </a:lnTo>
                      <a:close/>
                    </a:path>
                  </a:pathLst>
                </a:custGeom>
                <a:solidFill>
                  <a:schemeClr val="accent2"/>
                </a:solid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grpSp>
        </p:grpSp>
        <p:grpSp>
          <p:nvGrpSpPr>
            <p:cNvPr id="9" name="Group 251">
              <a:extLst>
                <a:ext uri="{FF2B5EF4-FFF2-40B4-BE49-F238E27FC236}">
                  <a16:creationId xmlns="" xmlns:a16="http://schemas.microsoft.com/office/drawing/2014/main" id="{38E1564F-13F1-47A7-BB1E-9F1ADD12CA40}"/>
                </a:ext>
              </a:extLst>
            </p:cNvPr>
            <p:cNvGrpSpPr>
              <a:grpSpLocks noChangeAspect="1"/>
            </p:cNvGrpSpPr>
            <p:nvPr/>
          </p:nvGrpSpPr>
          <p:grpSpPr bwMode="auto">
            <a:xfrm>
              <a:off x="2937302" y="2242460"/>
              <a:ext cx="730025" cy="613428"/>
              <a:chOff x="2392" y="945"/>
              <a:chExt cx="652" cy="505"/>
            </a:xfrm>
            <a:solidFill>
              <a:schemeClr val="bg1">
                <a:lumMod val="20000"/>
                <a:lumOff val="80000"/>
              </a:schemeClr>
            </a:solidFill>
          </p:grpSpPr>
          <p:sp>
            <p:nvSpPr>
              <p:cNvPr id="68" name="Freeform 252">
                <a:extLst>
                  <a:ext uri="{FF2B5EF4-FFF2-40B4-BE49-F238E27FC236}">
                    <a16:creationId xmlns="" xmlns:a16="http://schemas.microsoft.com/office/drawing/2014/main" id="{6E40CE00-ED17-45FD-8653-B51BB079AC67}"/>
                  </a:ext>
                </a:extLst>
              </p:cNvPr>
              <p:cNvSpPr>
                <a:spLocks noChangeAspect="1"/>
              </p:cNvSpPr>
              <p:nvPr/>
            </p:nvSpPr>
            <p:spPr bwMode="auto">
              <a:xfrm>
                <a:off x="2415" y="945"/>
                <a:ext cx="319" cy="141"/>
              </a:xfrm>
              <a:custGeom>
                <a:avLst/>
                <a:gdLst>
                  <a:gd name="T0" fmla="*/ 77 w 319"/>
                  <a:gd name="T1" fmla="*/ 10 h 141"/>
                  <a:gd name="T2" fmla="*/ 109 w 319"/>
                  <a:gd name="T3" fmla="*/ 23 h 141"/>
                  <a:gd name="T4" fmla="*/ 137 w 319"/>
                  <a:gd name="T5" fmla="*/ 28 h 141"/>
                  <a:gd name="T6" fmla="*/ 159 w 319"/>
                  <a:gd name="T7" fmla="*/ 14 h 141"/>
                  <a:gd name="T8" fmla="*/ 178 w 319"/>
                  <a:gd name="T9" fmla="*/ 14 h 141"/>
                  <a:gd name="T10" fmla="*/ 187 w 319"/>
                  <a:gd name="T11" fmla="*/ 28 h 141"/>
                  <a:gd name="T12" fmla="*/ 214 w 319"/>
                  <a:gd name="T13" fmla="*/ 32 h 141"/>
                  <a:gd name="T14" fmla="*/ 251 w 319"/>
                  <a:gd name="T15" fmla="*/ 28 h 141"/>
                  <a:gd name="T16" fmla="*/ 282 w 319"/>
                  <a:gd name="T17" fmla="*/ 37 h 141"/>
                  <a:gd name="T18" fmla="*/ 301 w 319"/>
                  <a:gd name="T19" fmla="*/ 64 h 141"/>
                  <a:gd name="T20" fmla="*/ 319 w 319"/>
                  <a:gd name="T21" fmla="*/ 69 h 141"/>
                  <a:gd name="T22" fmla="*/ 314 w 319"/>
                  <a:gd name="T23" fmla="*/ 73 h 141"/>
                  <a:gd name="T24" fmla="*/ 314 w 319"/>
                  <a:gd name="T25" fmla="*/ 91 h 141"/>
                  <a:gd name="T26" fmla="*/ 301 w 319"/>
                  <a:gd name="T27" fmla="*/ 119 h 141"/>
                  <a:gd name="T28" fmla="*/ 292 w 319"/>
                  <a:gd name="T29" fmla="*/ 123 h 141"/>
                  <a:gd name="T30" fmla="*/ 282 w 319"/>
                  <a:gd name="T31" fmla="*/ 123 h 141"/>
                  <a:gd name="T32" fmla="*/ 273 w 319"/>
                  <a:gd name="T33" fmla="*/ 123 h 141"/>
                  <a:gd name="T34" fmla="*/ 255 w 319"/>
                  <a:gd name="T35" fmla="*/ 123 h 141"/>
                  <a:gd name="T36" fmla="*/ 228 w 319"/>
                  <a:gd name="T37" fmla="*/ 128 h 141"/>
                  <a:gd name="T38" fmla="*/ 200 w 319"/>
                  <a:gd name="T39" fmla="*/ 141 h 141"/>
                  <a:gd name="T40" fmla="*/ 205 w 319"/>
                  <a:gd name="T41" fmla="*/ 141 h 141"/>
                  <a:gd name="T42" fmla="*/ 205 w 319"/>
                  <a:gd name="T43" fmla="*/ 141 h 141"/>
                  <a:gd name="T44" fmla="*/ 205 w 319"/>
                  <a:gd name="T45" fmla="*/ 141 h 141"/>
                  <a:gd name="T46" fmla="*/ 200 w 319"/>
                  <a:gd name="T47" fmla="*/ 141 h 141"/>
                  <a:gd name="T48" fmla="*/ 187 w 319"/>
                  <a:gd name="T49" fmla="*/ 137 h 141"/>
                  <a:gd name="T50" fmla="*/ 187 w 319"/>
                  <a:gd name="T51" fmla="*/ 128 h 141"/>
                  <a:gd name="T52" fmla="*/ 187 w 319"/>
                  <a:gd name="T53" fmla="*/ 119 h 141"/>
                  <a:gd name="T54" fmla="*/ 173 w 319"/>
                  <a:gd name="T55" fmla="*/ 110 h 141"/>
                  <a:gd name="T56" fmla="*/ 150 w 319"/>
                  <a:gd name="T57" fmla="*/ 114 h 141"/>
                  <a:gd name="T58" fmla="*/ 123 w 319"/>
                  <a:gd name="T59" fmla="*/ 110 h 141"/>
                  <a:gd name="T60" fmla="*/ 96 w 319"/>
                  <a:gd name="T61" fmla="*/ 96 h 141"/>
                  <a:gd name="T62" fmla="*/ 55 w 319"/>
                  <a:gd name="T63" fmla="*/ 100 h 141"/>
                  <a:gd name="T64" fmla="*/ 41 w 319"/>
                  <a:gd name="T65" fmla="*/ 96 h 141"/>
                  <a:gd name="T66" fmla="*/ 32 w 319"/>
                  <a:gd name="T67" fmla="*/ 87 h 141"/>
                  <a:gd name="T68" fmla="*/ 46 w 319"/>
                  <a:gd name="T69" fmla="*/ 73 h 141"/>
                  <a:gd name="T70" fmla="*/ 27 w 319"/>
                  <a:gd name="T71" fmla="*/ 60 h 141"/>
                  <a:gd name="T72" fmla="*/ 5 w 319"/>
                  <a:gd name="T73" fmla="*/ 60 h 141"/>
                  <a:gd name="T74" fmla="*/ 32 w 319"/>
                  <a:gd name="T75" fmla="*/ 37 h 141"/>
                  <a:gd name="T76" fmla="*/ 59 w 319"/>
                  <a:gd name="T77" fmla="*/ 5 h 141"/>
                  <a:gd name="T78" fmla="*/ 64 w 319"/>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19" h="141">
                    <a:moveTo>
                      <a:pt x="64" y="0"/>
                    </a:moveTo>
                    <a:lnTo>
                      <a:pt x="77" y="10"/>
                    </a:lnTo>
                    <a:lnTo>
                      <a:pt x="91" y="19"/>
                    </a:lnTo>
                    <a:lnTo>
                      <a:pt x="109" y="23"/>
                    </a:lnTo>
                    <a:lnTo>
                      <a:pt x="123" y="28"/>
                    </a:lnTo>
                    <a:lnTo>
                      <a:pt x="137" y="28"/>
                    </a:lnTo>
                    <a:lnTo>
                      <a:pt x="150" y="19"/>
                    </a:lnTo>
                    <a:lnTo>
                      <a:pt x="159" y="14"/>
                    </a:lnTo>
                    <a:lnTo>
                      <a:pt x="173" y="14"/>
                    </a:lnTo>
                    <a:lnTo>
                      <a:pt x="178" y="14"/>
                    </a:lnTo>
                    <a:lnTo>
                      <a:pt x="182" y="19"/>
                    </a:lnTo>
                    <a:lnTo>
                      <a:pt x="187" y="28"/>
                    </a:lnTo>
                    <a:lnTo>
                      <a:pt x="191" y="28"/>
                    </a:lnTo>
                    <a:lnTo>
                      <a:pt x="214" y="32"/>
                    </a:lnTo>
                    <a:lnTo>
                      <a:pt x="232" y="28"/>
                    </a:lnTo>
                    <a:lnTo>
                      <a:pt x="251" y="28"/>
                    </a:lnTo>
                    <a:lnTo>
                      <a:pt x="269" y="28"/>
                    </a:lnTo>
                    <a:lnTo>
                      <a:pt x="282" y="37"/>
                    </a:lnTo>
                    <a:lnTo>
                      <a:pt x="292" y="50"/>
                    </a:lnTo>
                    <a:lnTo>
                      <a:pt x="301" y="64"/>
                    </a:lnTo>
                    <a:lnTo>
                      <a:pt x="319" y="69"/>
                    </a:lnTo>
                    <a:lnTo>
                      <a:pt x="319" y="69"/>
                    </a:lnTo>
                    <a:lnTo>
                      <a:pt x="319" y="73"/>
                    </a:lnTo>
                    <a:lnTo>
                      <a:pt x="314" y="73"/>
                    </a:lnTo>
                    <a:lnTo>
                      <a:pt x="314" y="78"/>
                    </a:lnTo>
                    <a:lnTo>
                      <a:pt x="314" y="91"/>
                    </a:lnTo>
                    <a:lnTo>
                      <a:pt x="305" y="105"/>
                    </a:lnTo>
                    <a:lnTo>
                      <a:pt x="301" y="119"/>
                    </a:lnTo>
                    <a:lnTo>
                      <a:pt x="296" y="128"/>
                    </a:lnTo>
                    <a:lnTo>
                      <a:pt x="292" y="123"/>
                    </a:lnTo>
                    <a:lnTo>
                      <a:pt x="287" y="123"/>
                    </a:lnTo>
                    <a:lnTo>
                      <a:pt x="282" y="123"/>
                    </a:lnTo>
                    <a:lnTo>
                      <a:pt x="273" y="123"/>
                    </a:lnTo>
                    <a:lnTo>
                      <a:pt x="273" y="123"/>
                    </a:lnTo>
                    <a:lnTo>
                      <a:pt x="255" y="123"/>
                    </a:lnTo>
                    <a:lnTo>
                      <a:pt x="255" y="123"/>
                    </a:lnTo>
                    <a:lnTo>
                      <a:pt x="241" y="123"/>
                    </a:lnTo>
                    <a:lnTo>
                      <a:pt x="228" y="128"/>
                    </a:lnTo>
                    <a:lnTo>
                      <a:pt x="214" y="137"/>
                    </a:lnTo>
                    <a:lnTo>
                      <a:pt x="200" y="141"/>
                    </a:lnTo>
                    <a:lnTo>
                      <a:pt x="205" y="141"/>
                    </a:lnTo>
                    <a:lnTo>
                      <a:pt x="205" y="141"/>
                    </a:lnTo>
                    <a:lnTo>
                      <a:pt x="205" y="141"/>
                    </a:lnTo>
                    <a:lnTo>
                      <a:pt x="205" y="141"/>
                    </a:lnTo>
                    <a:lnTo>
                      <a:pt x="205" y="141"/>
                    </a:lnTo>
                    <a:lnTo>
                      <a:pt x="205" y="141"/>
                    </a:lnTo>
                    <a:lnTo>
                      <a:pt x="205" y="141"/>
                    </a:lnTo>
                    <a:lnTo>
                      <a:pt x="200" y="141"/>
                    </a:lnTo>
                    <a:lnTo>
                      <a:pt x="191" y="141"/>
                    </a:lnTo>
                    <a:lnTo>
                      <a:pt x="187" y="137"/>
                    </a:lnTo>
                    <a:lnTo>
                      <a:pt x="187" y="132"/>
                    </a:lnTo>
                    <a:lnTo>
                      <a:pt x="187" y="128"/>
                    </a:lnTo>
                    <a:lnTo>
                      <a:pt x="187" y="123"/>
                    </a:lnTo>
                    <a:lnTo>
                      <a:pt x="187" y="119"/>
                    </a:lnTo>
                    <a:lnTo>
                      <a:pt x="187" y="114"/>
                    </a:lnTo>
                    <a:lnTo>
                      <a:pt x="173" y="110"/>
                    </a:lnTo>
                    <a:lnTo>
                      <a:pt x="164" y="110"/>
                    </a:lnTo>
                    <a:lnTo>
                      <a:pt x="150" y="114"/>
                    </a:lnTo>
                    <a:lnTo>
                      <a:pt x="137" y="114"/>
                    </a:lnTo>
                    <a:lnTo>
                      <a:pt x="123" y="110"/>
                    </a:lnTo>
                    <a:lnTo>
                      <a:pt x="114" y="100"/>
                    </a:lnTo>
                    <a:lnTo>
                      <a:pt x="96" y="96"/>
                    </a:lnTo>
                    <a:lnTo>
                      <a:pt x="64" y="100"/>
                    </a:lnTo>
                    <a:lnTo>
                      <a:pt x="55" y="100"/>
                    </a:lnTo>
                    <a:lnTo>
                      <a:pt x="46" y="100"/>
                    </a:lnTo>
                    <a:lnTo>
                      <a:pt x="41" y="96"/>
                    </a:lnTo>
                    <a:lnTo>
                      <a:pt x="27" y="91"/>
                    </a:lnTo>
                    <a:lnTo>
                      <a:pt x="32" y="87"/>
                    </a:lnTo>
                    <a:lnTo>
                      <a:pt x="41" y="78"/>
                    </a:lnTo>
                    <a:lnTo>
                      <a:pt x="46" y="73"/>
                    </a:lnTo>
                    <a:lnTo>
                      <a:pt x="41" y="64"/>
                    </a:lnTo>
                    <a:lnTo>
                      <a:pt x="27" y="60"/>
                    </a:lnTo>
                    <a:lnTo>
                      <a:pt x="14" y="60"/>
                    </a:lnTo>
                    <a:lnTo>
                      <a:pt x="5" y="60"/>
                    </a:lnTo>
                    <a:lnTo>
                      <a:pt x="0" y="60"/>
                    </a:lnTo>
                    <a:lnTo>
                      <a:pt x="32" y="37"/>
                    </a:lnTo>
                    <a:lnTo>
                      <a:pt x="50" y="19"/>
                    </a:lnTo>
                    <a:lnTo>
                      <a:pt x="59" y="5"/>
                    </a:lnTo>
                    <a:lnTo>
                      <a:pt x="64" y="0"/>
                    </a:lnTo>
                    <a:lnTo>
                      <a:pt x="64" y="0"/>
                    </a:lnTo>
                    <a:lnTo>
                      <a:pt x="64" y="0"/>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lIns="90000" rIns="18000" anchor="ctr"/>
              <a:lstStyle/>
              <a:p>
                <a:pPr defTabSz="913204" fontAlgn="auto">
                  <a:spcBef>
                    <a:spcPts val="0"/>
                  </a:spcBef>
                  <a:spcAft>
                    <a:spcPts val="0"/>
                  </a:spcAft>
                  <a:defRPr/>
                </a:pPr>
                <a:endParaRPr lang="en-US">
                  <a:solidFill>
                    <a:srgbClr val="000000"/>
                  </a:solidFill>
                  <a:latin typeface="+mn-lt"/>
                  <a:cs typeface="+mn-cs"/>
                </a:endParaRPr>
              </a:p>
            </p:txBody>
          </p:sp>
          <p:sp>
            <p:nvSpPr>
              <p:cNvPr id="69" name="Freeform 253">
                <a:extLst>
                  <a:ext uri="{FF2B5EF4-FFF2-40B4-BE49-F238E27FC236}">
                    <a16:creationId xmlns="" xmlns:a16="http://schemas.microsoft.com/office/drawing/2014/main" id="{ACD25E8C-A7C9-435C-BCF2-13BD3E986A76}"/>
                  </a:ext>
                </a:extLst>
              </p:cNvPr>
              <p:cNvSpPr>
                <a:spLocks noChangeAspect="1"/>
              </p:cNvSpPr>
              <p:nvPr/>
            </p:nvSpPr>
            <p:spPr bwMode="auto">
              <a:xfrm>
                <a:off x="2602" y="1068"/>
                <a:ext cx="150" cy="132"/>
              </a:xfrm>
              <a:custGeom>
                <a:avLst/>
                <a:gdLst>
                  <a:gd name="T0" fmla="*/ 68 w 150"/>
                  <a:gd name="T1" fmla="*/ 0 h 132"/>
                  <a:gd name="T2" fmla="*/ 54 w 150"/>
                  <a:gd name="T3" fmla="*/ 0 h 132"/>
                  <a:gd name="T4" fmla="*/ 41 w 150"/>
                  <a:gd name="T5" fmla="*/ 5 h 132"/>
                  <a:gd name="T6" fmla="*/ 27 w 150"/>
                  <a:gd name="T7" fmla="*/ 14 h 132"/>
                  <a:gd name="T8" fmla="*/ 18 w 150"/>
                  <a:gd name="T9" fmla="*/ 18 h 132"/>
                  <a:gd name="T10" fmla="*/ 9 w 150"/>
                  <a:gd name="T11" fmla="*/ 23 h 132"/>
                  <a:gd name="T12" fmla="*/ 4 w 150"/>
                  <a:gd name="T13" fmla="*/ 32 h 132"/>
                  <a:gd name="T14" fmla="*/ 0 w 150"/>
                  <a:gd name="T15" fmla="*/ 41 h 132"/>
                  <a:gd name="T16" fmla="*/ 0 w 150"/>
                  <a:gd name="T17" fmla="*/ 50 h 132"/>
                  <a:gd name="T18" fmla="*/ 9 w 150"/>
                  <a:gd name="T19" fmla="*/ 91 h 132"/>
                  <a:gd name="T20" fmla="*/ 36 w 150"/>
                  <a:gd name="T21" fmla="*/ 118 h 132"/>
                  <a:gd name="T22" fmla="*/ 73 w 150"/>
                  <a:gd name="T23" fmla="*/ 132 h 132"/>
                  <a:gd name="T24" fmla="*/ 109 w 150"/>
                  <a:gd name="T25" fmla="*/ 132 h 132"/>
                  <a:gd name="T26" fmla="*/ 136 w 150"/>
                  <a:gd name="T27" fmla="*/ 114 h 132"/>
                  <a:gd name="T28" fmla="*/ 150 w 150"/>
                  <a:gd name="T29" fmla="*/ 91 h 132"/>
                  <a:gd name="T30" fmla="*/ 146 w 150"/>
                  <a:gd name="T31" fmla="*/ 68 h 132"/>
                  <a:gd name="T32" fmla="*/ 136 w 150"/>
                  <a:gd name="T33" fmla="*/ 50 h 132"/>
                  <a:gd name="T34" fmla="*/ 127 w 150"/>
                  <a:gd name="T35" fmla="*/ 32 h 132"/>
                  <a:gd name="T36" fmla="*/ 118 w 150"/>
                  <a:gd name="T37" fmla="*/ 18 h 132"/>
                  <a:gd name="T38" fmla="*/ 100 w 150"/>
                  <a:gd name="T39" fmla="*/ 5 h 132"/>
                  <a:gd name="T40" fmla="*/ 68 w 150"/>
                  <a:gd name="T41" fmla="*/ 0 h 132"/>
                  <a:gd name="T42" fmla="*/ 68 w 150"/>
                  <a:gd name="T43" fmla="*/ 0 h 132"/>
                  <a:gd name="T44" fmla="*/ 68 w 150"/>
                  <a:gd name="T45" fmla="*/ 0 h 132"/>
                  <a:gd name="T46" fmla="*/ 68 w 150"/>
                  <a:gd name="T47"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132">
                    <a:moveTo>
                      <a:pt x="68" y="0"/>
                    </a:moveTo>
                    <a:lnTo>
                      <a:pt x="54" y="0"/>
                    </a:lnTo>
                    <a:lnTo>
                      <a:pt x="41" y="5"/>
                    </a:lnTo>
                    <a:lnTo>
                      <a:pt x="27" y="14"/>
                    </a:lnTo>
                    <a:lnTo>
                      <a:pt x="18" y="18"/>
                    </a:lnTo>
                    <a:lnTo>
                      <a:pt x="9" y="23"/>
                    </a:lnTo>
                    <a:lnTo>
                      <a:pt x="4" y="32"/>
                    </a:lnTo>
                    <a:lnTo>
                      <a:pt x="0" y="41"/>
                    </a:lnTo>
                    <a:lnTo>
                      <a:pt x="0" y="50"/>
                    </a:lnTo>
                    <a:lnTo>
                      <a:pt x="9" y="91"/>
                    </a:lnTo>
                    <a:lnTo>
                      <a:pt x="36" y="118"/>
                    </a:lnTo>
                    <a:lnTo>
                      <a:pt x="73" y="132"/>
                    </a:lnTo>
                    <a:lnTo>
                      <a:pt x="109" y="132"/>
                    </a:lnTo>
                    <a:lnTo>
                      <a:pt x="136" y="114"/>
                    </a:lnTo>
                    <a:lnTo>
                      <a:pt x="150" y="91"/>
                    </a:lnTo>
                    <a:lnTo>
                      <a:pt x="146" y="68"/>
                    </a:lnTo>
                    <a:lnTo>
                      <a:pt x="136" y="50"/>
                    </a:lnTo>
                    <a:lnTo>
                      <a:pt x="127" y="32"/>
                    </a:lnTo>
                    <a:lnTo>
                      <a:pt x="118" y="18"/>
                    </a:lnTo>
                    <a:lnTo>
                      <a:pt x="100" y="5"/>
                    </a:lnTo>
                    <a:lnTo>
                      <a:pt x="68" y="0"/>
                    </a:lnTo>
                    <a:lnTo>
                      <a:pt x="68" y="0"/>
                    </a:lnTo>
                    <a:lnTo>
                      <a:pt x="68" y="0"/>
                    </a:lnTo>
                    <a:lnTo>
                      <a:pt x="68" y="0"/>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lIns="90000" rIns="18000" anchor="ctr"/>
              <a:lstStyle/>
              <a:p>
                <a:pPr defTabSz="913204" fontAlgn="auto">
                  <a:spcBef>
                    <a:spcPts val="0"/>
                  </a:spcBef>
                  <a:spcAft>
                    <a:spcPts val="0"/>
                  </a:spcAft>
                  <a:defRPr/>
                </a:pPr>
                <a:endParaRPr lang="en-US">
                  <a:solidFill>
                    <a:srgbClr val="000000"/>
                  </a:solidFill>
                  <a:latin typeface="+mn-lt"/>
                  <a:cs typeface="+mn-cs"/>
                </a:endParaRPr>
              </a:p>
            </p:txBody>
          </p:sp>
          <p:sp>
            <p:nvSpPr>
              <p:cNvPr id="70" name="Freeform 254">
                <a:extLst>
                  <a:ext uri="{FF2B5EF4-FFF2-40B4-BE49-F238E27FC236}">
                    <a16:creationId xmlns="" xmlns:a16="http://schemas.microsoft.com/office/drawing/2014/main" id="{7B1838CF-3E62-4352-82F6-31B6A4A42AD1}"/>
                  </a:ext>
                </a:extLst>
              </p:cNvPr>
              <p:cNvSpPr>
                <a:spLocks noChangeAspect="1"/>
              </p:cNvSpPr>
              <p:nvPr/>
            </p:nvSpPr>
            <p:spPr bwMode="auto">
              <a:xfrm>
                <a:off x="2693" y="991"/>
                <a:ext cx="351" cy="459"/>
              </a:xfrm>
              <a:custGeom>
                <a:avLst/>
                <a:gdLst>
                  <a:gd name="T0" fmla="*/ 269 w 351"/>
                  <a:gd name="T1" fmla="*/ 341 h 459"/>
                  <a:gd name="T2" fmla="*/ 241 w 351"/>
                  <a:gd name="T3" fmla="*/ 345 h 459"/>
                  <a:gd name="T4" fmla="*/ 209 w 351"/>
                  <a:gd name="T5" fmla="*/ 359 h 459"/>
                  <a:gd name="T6" fmla="*/ 191 w 351"/>
                  <a:gd name="T7" fmla="*/ 395 h 459"/>
                  <a:gd name="T8" fmla="*/ 178 w 351"/>
                  <a:gd name="T9" fmla="*/ 418 h 459"/>
                  <a:gd name="T10" fmla="*/ 159 w 351"/>
                  <a:gd name="T11" fmla="*/ 441 h 459"/>
                  <a:gd name="T12" fmla="*/ 150 w 351"/>
                  <a:gd name="T13" fmla="*/ 450 h 459"/>
                  <a:gd name="T14" fmla="*/ 137 w 351"/>
                  <a:gd name="T15" fmla="*/ 450 h 459"/>
                  <a:gd name="T16" fmla="*/ 114 w 351"/>
                  <a:gd name="T17" fmla="*/ 450 h 459"/>
                  <a:gd name="T18" fmla="*/ 73 w 351"/>
                  <a:gd name="T19" fmla="*/ 459 h 459"/>
                  <a:gd name="T20" fmla="*/ 27 w 351"/>
                  <a:gd name="T21" fmla="*/ 454 h 459"/>
                  <a:gd name="T22" fmla="*/ 14 w 351"/>
                  <a:gd name="T23" fmla="*/ 414 h 459"/>
                  <a:gd name="T24" fmla="*/ 9 w 351"/>
                  <a:gd name="T25" fmla="*/ 391 h 459"/>
                  <a:gd name="T26" fmla="*/ 4 w 351"/>
                  <a:gd name="T27" fmla="*/ 386 h 459"/>
                  <a:gd name="T28" fmla="*/ 0 w 351"/>
                  <a:gd name="T29" fmla="*/ 386 h 459"/>
                  <a:gd name="T30" fmla="*/ 0 w 351"/>
                  <a:gd name="T31" fmla="*/ 386 h 459"/>
                  <a:gd name="T32" fmla="*/ 18 w 351"/>
                  <a:gd name="T33" fmla="*/ 364 h 459"/>
                  <a:gd name="T34" fmla="*/ 27 w 351"/>
                  <a:gd name="T35" fmla="*/ 332 h 459"/>
                  <a:gd name="T36" fmla="*/ 23 w 351"/>
                  <a:gd name="T37" fmla="*/ 304 h 459"/>
                  <a:gd name="T38" fmla="*/ 18 w 351"/>
                  <a:gd name="T39" fmla="*/ 277 h 459"/>
                  <a:gd name="T40" fmla="*/ 18 w 351"/>
                  <a:gd name="T41" fmla="*/ 254 h 459"/>
                  <a:gd name="T42" fmla="*/ 14 w 351"/>
                  <a:gd name="T43" fmla="*/ 236 h 459"/>
                  <a:gd name="T44" fmla="*/ 18 w 351"/>
                  <a:gd name="T45" fmla="*/ 223 h 459"/>
                  <a:gd name="T46" fmla="*/ 18 w 351"/>
                  <a:gd name="T47" fmla="*/ 209 h 459"/>
                  <a:gd name="T48" fmla="*/ 59 w 351"/>
                  <a:gd name="T49" fmla="*/ 168 h 459"/>
                  <a:gd name="T50" fmla="*/ 45 w 351"/>
                  <a:gd name="T51" fmla="*/ 127 h 459"/>
                  <a:gd name="T52" fmla="*/ 32 w 351"/>
                  <a:gd name="T53" fmla="*/ 104 h 459"/>
                  <a:gd name="T54" fmla="*/ 14 w 351"/>
                  <a:gd name="T55" fmla="*/ 82 h 459"/>
                  <a:gd name="T56" fmla="*/ 27 w 351"/>
                  <a:gd name="T57" fmla="*/ 59 h 459"/>
                  <a:gd name="T58" fmla="*/ 36 w 351"/>
                  <a:gd name="T59" fmla="*/ 32 h 459"/>
                  <a:gd name="T60" fmla="*/ 41 w 351"/>
                  <a:gd name="T61" fmla="*/ 27 h 459"/>
                  <a:gd name="T62" fmla="*/ 41 w 351"/>
                  <a:gd name="T63" fmla="*/ 23 h 459"/>
                  <a:gd name="T64" fmla="*/ 55 w 351"/>
                  <a:gd name="T65" fmla="*/ 14 h 459"/>
                  <a:gd name="T66" fmla="*/ 68 w 351"/>
                  <a:gd name="T67" fmla="*/ 9 h 459"/>
                  <a:gd name="T68" fmla="*/ 82 w 351"/>
                  <a:gd name="T69" fmla="*/ 14 h 459"/>
                  <a:gd name="T70" fmla="*/ 96 w 351"/>
                  <a:gd name="T71" fmla="*/ 23 h 459"/>
                  <a:gd name="T72" fmla="*/ 123 w 351"/>
                  <a:gd name="T73" fmla="*/ 14 h 459"/>
                  <a:gd name="T74" fmla="*/ 159 w 351"/>
                  <a:gd name="T75" fmla="*/ 23 h 459"/>
                  <a:gd name="T76" fmla="*/ 187 w 351"/>
                  <a:gd name="T77" fmla="*/ 14 h 459"/>
                  <a:gd name="T78" fmla="*/ 209 w 351"/>
                  <a:gd name="T79" fmla="*/ 0 h 459"/>
                  <a:gd name="T80" fmla="*/ 250 w 351"/>
                  <a:gd name="T81" fmla="*/ 77 h 459"/>
                  <a:gd name="T82" fmla="*/ 328 w 351"/>
                  <a:gd name="T83" fmla="*/ 114 h 459"/>
                  <a:gd name="T84" fmla="*/ 319 w 351"/>
                  <a:gd name="T85" fmla="*/ 141 h 459"/>
                  <a:gd name="T86" fmla="*/ 310 w 351"/>
                  <a:gd name="T87" fmla="*/ 168 h 459"/>
                  <a:gd name="T88" fmla="*/ 314 w 351"/>
                  <a:gd name="T89" fmla="*/ 186 h 459"/>
                  <a:gd name="T90" fmla="*/ 328 w 351"/>
                  <a:gd name="T91" fmla="*/ 191 h 459"/>
                  <a:gd name="T92" fmla="*/ 328 w 351"/>
                  <a:gd name="T93" fmla="*/ 209 h 459"/>
                  <a:gd name="T94" fmla="*/ 342 w 351"/>
                  <a:gd name="T95" fmla="*/ 218 h 459"/>
                  <a:gd name="T96" fmla="*/ 346 w 351"/>
                  <a:gd name="T97" fmla="*/ 223 h 459"/>
                  <a:gd name="T98" fmla="*/ 351 w 351"/>
                  <a:gd name="T99" fmla="*/ 232 h 459"/>
                  <a:gd name="T100" fmla="*/ 305 w 351"/>
                  <a:gd name="T101" fmla="*/ 277 h 459"/>
                  <a:gd name="T102" fmla="*/ 273 w 351"/>
                  <a:gd name="T103" fmla="*/ 323 h 459"/>
                  <a:gd name="T104" fmla="*/ 278 w 351"/>
                  <a:gd name="T105" fmla="*/ 327 h 459"/>
                  <a:gd name="T106" fmla="*/ 282 w 351"/>
                  <a:gd name="T107" fmla="*/ 336 h 459"/>
                  <a:gd name="T108" fmla="*/ 282 w 351"/>
                  <a:gd name="T109" fmla="*/ 332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 h="459">
                    <a:moveTo>
                      <a:pt x="282" y="332"/>
                    </a:moveTo>
                    <a:lnTo>
                      <a:pt x="269" y="341"/>
                    </a:lnTo>
                    <a:lnTo>
                      <a:pt x="255" y="345"/>
                    </a:lnTo>
                    <a:lnTo>
                      <a:pt x="241" y="345"/>
                    </a:lnTo>
                    <a:lnTo>
                      <a:pt x="223" y="350"/>
                    </a:lnTo>
                    <a:lnTo>
                      <a:pt x="209" y="359"/>
                    </a:lnTo>
                    <a:lnTo>
                      <a:pt x="196" y="377"/>
                    </a:lnTo>
                    <a:lnTo>
                      <a:pt x="191" y="395"/>
                    </a:lnTo>
                    <a:lnTo>
                      <a:pt x="182" y="409"/>
                    </a:lnTo>
                    <a:lnTo>
                      <a:pt x="178" y="418"/>
                    </a:lnTo>
                    <a:lnTo>
                      <a:pt x="168" y="427"/>
                    </a:lnTo>
                    <a:lnTo>
                      <a:pt x="159" y="441"/>
                    </a:lnTo>
                    <a:lnTo>
                      <a:pt x="155" y="450"/>
                    </a:lnTo>
                    <a:lnTo>
                      <a:pt x="150" y="450"/>
                    </a:lnTo>
                    <a:lnTo>
                      <a:pt x="141" y="450"/>
                    </a:lnTo>
                    <a:lnTo>
                      <a:pt x="137" y="450"/>
                    </a:lnTo>
                    <a:lnTo>
                      <a:pt x="132" y="450"/>
                    </a:lnTo>
                    <a:lnTo>
                      <a:pt x="114" y="450"/>
                    </a:lnTo>
                    <a:lnTo>
                      <a:pt x="96" y="454"/>
                    </a:lnTo>
                    <a:lnTo>
                      <a:pt x="73" y="459"/>
                    </a:lnTo>
                    <a:lnTo>
                      <a:pt x="50" y="459"/>
                    </a:lnTo>
                    <a:lnTo>
                      <a:pt x="27" y="454"/>
                    </a:lnTo>
                    <a:lnTo>
                      <a:pt x="18" y="436"/>
                    </a:lnTo>
                    <a:lnTo>
                      <a:pt x="14" y="414"/>
                    </a:lnTo>
                    <a:lnTo>
                      <a:pt x="9" y="395"/>
                    </a:lnTo>
                    <a:lnTo>
                      <a:pt x="9" y="391"/>
                    </a:lnTo>
                    <a:lnTo>
                      <a:pt x="4" y="391"/>
                    </a:lnTo>
                    <a:lnTo>
                      <a:pt x="4" y="386"/>
                    </a:lnTo>
                    <a:lnTo>
                      <a:pt x="0" y="386"/>
                    </a:lnTo>
                    <a:lnTo>
                      <a:pt x="0" y="386"/>
                    </a:lnTo>
                    <a:lnTo>
                      <a:pt x="0" y="386"/>
                    </a:lnTo>
                    <a:lnTo>
                      <a:pt x="0" y="386"/>
                    </a:lnTo>
                    <a:lnTo>
                      <a:pt x="9" y="377"/>
                    </a:lnTo>
                    <a:lnTo>
                      <a:pt x="18" y="364"/>
                    </a:lnTo>
                    <a:lnTo>
                      <a:pt x="23" y="350"/>
                    </a:lnTo>
                    <a:lnTo>
                      <a:pt x="27" y="332"/>
                    </a:lnTo>
                    <a:lnTo>
                      <a:pt x="27" y="318"/>
                    </a:lnTo>
                    <a:lnTo>
                      <a:pt x="23" y="304"/>
                    </a:lnTo>
                    <a:lnTo>
                      <a:pt x="18" y="291"/>
                    </a:lnTo>
                    <a:lnTo>
                      <a:pt x="18" y="277"/>
                    </a:lnTo>
                    <a:lnTo>
                      <a:pt x="18" y="264"/>
                    </a:lnTo>
                    <a:lnTo>
                      <a:pt x="18" y="254"/>
                    </a:lnTo>
                    <a:lnTo>
                      <a:pt x="14" y="245"/>
                    </a:lnTo>
                    <a:lnTo>
                      <a:pt x="14" y="236"/>
                    </a:lnTo>
                    <a:lnTo>
                      <a:pt x="14" y="232"/>
                    </a:lnTo>
                    <a:lnTo>
                      <a:pt x="18" y="223"/>
                    </a:lnTo>
                    <a:lnTo>
                      <a:pt x="18" y="218"/>
                    </a:lnTo>
                    <a:lnTo>
                      <a:pt x="18" y="209"/>
                    </a:lnTo>
                    <a:lnTo>
                      <a:pt x="45" y="191"/>
                    </a:lnTo>
                    <a:lnTo>
                      <a:pt x="59" y="168"/>
                    </a:lnTo>
                    <a:lnTo>
                      <a:pt x="55" y="145"/>
                    </a:lnTo>
                    <a:lnTo>
                      <a:pt x="45" y="127"/>
                    </a:lnTo>
                    <a:lnTo>
                      <a:pt x="41" y="118"/>
                    </a:lnTo>
                    <a:lnTo>
                      <a:pt x="32" y="104"/>
                    </a:lnTo>
                    <a:lnTo>
                      <a:pt x="27" y="91"/>
                    </a:lnTo>
                    <a:lnTo>
                      <a:pt x="14" y="82"/>
                    </a:lnTo>
                    <a:lnTo>
                      <a:pt x="23" y="73"/>
                    </a:lnTo>
                    <a:lnTo>
                      <a:pt x="27" y="59"/>
                    </a:lnTo>
                    <a:lnTo>
                      <a:pt x="36" y="45"/>
                    </a:lnTo>
                    <a:lnTo>
                      <a:pt x="36" y="32"/>
                    </a:lnTo>
                    <a:lnTo>
                      <a:pt x="36" y="27"/>
                    </a:lnTo>
                    <a:lnTo>
                      <a:pt x="41" y="27"/>
                    </a:lnTo>
                    <a:lnTo>
                      <a:pt x="41" y="23"/>
                    </a:lnTo>
                    <a:lnTo>
                      <a:pt x="41" y="23"/>
                    </a:lnTo>
                    <a:lnTo>
                      <a:pt x="45" y="23"/>
                    </a:lnTo>
                    <a:lnTo>
                      <a:pt x="55" y="14"/>
                    </a:lnTo>
                    <a:lnTo>
                      <a:pt x="59" y="9"/>
                    </a:lnTo>
                    <a:lnTo>
                      <a:pt x="68" y="9"/>
                    </a:lnTo>
                    <a:lnTo>
                      <a:pt x="77" y="9"/>
                    </a:lnTo>
                    <a:lnTo>
                      <a:pt x="82" y="14"/>
                    </a:lnTo>
                    <a:lnTo>
                      <a:pt x="86" y="23"/>
                    </a:lnTo>
                    <a:lnTo>
                      <a:pt x="96" y="23"/>
                    </a:lnTo>
                    <a:lnTo>
                      <a:pt x="109" y="18"/>
                    </a:lnTo>
                    <a:lnTo>
                      <a:pt x="123" y="14"/>
                    </a:lnTo>
                    <a:lnTo>
                      <a:pt x="141" y="14"/>
                    </a:lnTo>
                    <a:lnTo>
                      <a:pt x="159" y="23"/>
                    </a:lnTo>
                    <a:lnTo>
                      <a:pt x="173" y="23"/>
                    </a:lnTo>
                    <a:lnTo>
                      <a:pt x="187" y="14"/>
                    </a:lnTo>
                    <a:lnTo>
                      <a:pt x="200" y="4"/>
                    </a:lnTo>
                    <a:lnTo>
                      <a:pt x="209" y="0"/>
                    </a:lnTo>
                    <a:lnTo>
                      <a:pt x="219" y="41"/>
                    </a:lnTo>
                    <a:lnTo>
                      <a:pt x="250" y="77"/>
                    </a:lnTo>
                    <a:lnTo>
                      <a:pt x="287" y="104"/>
                    </a:lnTo>
                    <a:lnTo>
                      <a:pt x="328" y="114"/>
                    </a:lnTo>
                    <a:lnTo>
                      <a:pt x="323" y="132"/>
                    </a:lnTo>
                    <a:lnTo>
                      <a:pt x="319" y="141"/>
                    </a:lnTo>
                    <a:lnTo>
                      <a:pt x="310" y="150"/>
                    </a:lnTo>
                    <a:lnTo>
                      <a:pt x="310" y="168"/>
                    </a:lnTo>
                    <a:lnTo>
                      <a:pt x="310" y="177"/>
                    </a:lnTo>
                    <a:lnTo>
                      <a:pt x="314" y="186"/>
                    </a:lnTo>
                    <a:lnTo>
                      <a:pt x="323" y="186"/>
                    </a:lnTo>
                    <a:lnTo>
                      <a:pt x="328" y="191"/>
                    </a:lnTo>
                    <a:lnTo>
                      <a:pt x="323" y="200"/>
                    </a:lnTo>
                    <a:lnTo>
                      <a:pt x="328" y="209"/>
                    </a:lnTo>
                    <a:lnTo>
                      <a:pt x="337" y="214"/>
                    </a:lnTo>
                    <a:lnTo>
                      <a:pt x="342" y="218"/>
                    </a:lnTo>
                    <a:lnTo>
                      <a:pt x="346" y="223"/>
                    </a:lnTo>
                    <a:lnTo>
                      <a:pt x="346" y="223"/>
                    </a:lnTo>
                    <a:lnTo>
                      <a:pt x="346" y="227"/>
                    </a:lnTo>
                    <a:lnTo>
                      <a:pt x="351" y="232"/>
                    </a:lnTo>
                    <a:lnTo>
                      <a:pt x="332" y="254"/>
                    </a:lnTo>
                    <a:lnTo>
                      <a:pt x="305" y="277"/>
                    </a:lnTo>
                    <a:lnTo>
                      <a:pt x="282" y="295"/>
                    </a:lnTo>
                    <a:lnTo>
                      <a:pt x="273" y="323"/>
                    </a:lnTo>
                    <a:lnTo>
                      <a:pt x="273" y="327"/>
                    </a:lnTo>
                    <a:lnTo>
                      <a:pt x="278" y="327"/>
                    </a:lnTo>
                    <a:lnTo>
                      <a:pt x="278" y="332"/>
                    </a:lnTo>
                    <a:lnTo>
                      <a:pt x="282" y="336"/>
                    </a:lnTo>
                    <a:lnTo>
                      <a:pt x="282" y="336"/>
                    </a:lnTo>
                    <a:lnTo>
                      <a:pt x="282" y="332"/>
                    </a:lnTo>
                    <a:lnTo>
                      <a:pt x="282" y="332"/>
                    </a:lnTo>
                    <a:close/>
                  </a:path>
                </a:pathLst>
              </a:custGeom>
              <a:solidFill>
                <a:schemeClr val="accent2"/>
              </a:solid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lIns="90000" rIns="18000" anchor="ctr"/>
              <a:lstStyle/>
              <a:p>
                <a:pPr defTabSz="913204" fontAlgn="auto">
                  <a:spcBef>
                    <a:spcPts val="0"/>
                  </a:spcBef>
                  <a:spcAft>
                    <a:spcPts val="0"/>
                  </a:spcAft>
                  <a:defRPr/>
                </a:pPr>
                <a:endParaRPr lang="en-US">
                  <a:solidFill>
                    <a:srgbClr val="000000"/>
                  </a:solidFill>
                  <a:latin typeface="+mn-lt"/>
                  <a:cs typeface="+mn-cs"/>
                </a:endParaRPr>
              </a:p>
            </p:txBody>
          </p:sp>
          <p:sp>
            <p:nvSpPr>
              <p:cNvPr id="71" name="Freeform 255">
                <a:extLst>
                  <a:ext uri="{FF2B5EF4-FFF2-40B4-BE49-F238E27FC236}">
                    <a16:creationId xmlns="" xmlns:a16="http://schemas.microsoft.com/office/drawing/2014/main" id="{CBF19E33-EEE7-4B85-8089-9E5E27ADF529}"/>
                  </a:ext>
                </a:extLst>
              </p:cNvPr>
              <p:cNvSpPr>
                <a:spLocks noChangeAspect="1"/>
              </p:cNvSpPr>
              <p:nvPr/>
            </p:nvSpPr>
            <p:spPr bwMode="auto">
              <a:xfrm>
                <a:off x="2529" y="1186"/>
                <a:ext cx="191" cy="200"/>
              </a:xfrm>
              <a:custGeom>
                <a:avLst/>
                <a:gdLst>
                  <a:gd name="T0" fmla="*/ 32 w 191"/>
                  <a:gd name="T1" fmla="*/ 200 h 200"/>
                  <a:gd name="T2" fmla="*/ 45 w 191"/>
                  <a:gd name="T3" fmla="*/ 191 h 200"/>
                  <a:gd name="T4" fmla="*/ 64 w 191"/>
                  <a:gd name="T5" fmla="*/ 182 h 200"/>
                  <a:gd name="T6" fmla="*/ 82 w 191"/>
                  <a:gd name="T7" fmla="*/ 178 h 200"/>
                  <a:gd name="T8" fmla="*/ 105 w 191"/>
                  <a:gd name="T9" fmla="*/ 178 h 200"/>
                  <a:gd name="T10" fmla="*/ 123 w 191"/>
                  <a:gd name="T11" fmla="*/ 178 h 200"/>
                  <a:gd name="T12" fmla="*/ 137 w 191"/>
                  <a:gd name="T13" fmla="*/ 178 h 200"/>
                  <a:gd name="T14" fmla="*/ 150 w 191"/>
                  <a:gd name="T15" fmla="*/ 182 h 200"/>
                  <a:gd name="T16" fmla="*/ 164 w 191"/>
                  <a:gd name="T17" fmla="*/ 191 h 200"/>
                  <a:gd name="T18" fmla="*/ 164 w 191"/>
                  <a:gd name="T19" fmla="*/ 191 h 200"/>
                  <a:gd name="T20" fmla="*/ 164 w 191"/>
                  <a:gd name="T21" fmla="*/ 191 h 200"/>
                  <a:gd name="T22" fmla="*/ 164 w 191"/>
                  <a:gd name="T23" fmla="*/ 191 h 200"/>
                  <a:gd name="T24" fmla="*/ 173 w 191"/>
                  <a:gd name="T25" fmla="*/ 182 h 200"/>
                  <a:gd name="T26" fmla="*/ 182 w 191"/>
                  <a:gd name="T27" fmla="*/ 169 h 200"/>
                  <a:gd name="T28" fmla="*/ 187 w 191"/>
                  <a:gd name="T29" fmla="*/ 155 h 200"/>
                  <a:gd name="T30" fmla="*/ 191 w 191"/>
                  <a:gd name="T31" fmla="*/ 137 h 200"/>
                  <a:gd name="T32" fmla="*/ 191 w 191"/>
                  <a:gd name="T33" fmla="*/ 123 h 200"/>
                  <a:gd name="T34" fmla="*/ 187 w 191"/>
                  <a:gd name="T35" fmla="*/ 109 h 200"/>
                  <a:gd name="T36" fmla="*/ 182 w 191"/>
                  <a:gd name="T37" fmla="*/ 96 h 200"/>
                  <a:gd name="T38" fmla="*/ 182 w 191"/>
                  <a:gd name="T39" fmla="*/ 82 h 200"/>
                  <a:gd name="T40" fmla="*/ 182 w 191"/>
                  <a:gd name="T41" fmla="*/ 69 h 200"/>
                  <a:gd name="T42" fmla="*/ 182 w 191"/>
                  <a:gd name="T43" fmla="*/ 59 h 200"/>
                  <a:gd name="T44" fmla="*/ 178 w 191"/>
                  <a:gd name="T45" fmla="*/ 50 h 200"/>
                  <a:gd name="T46" fmla="*/ 178 w 191"/>
                  <a:gd name="T47" fmla="*/ 41 h 200"/>
                  <a:gd name="T48" fmla="*/ 178 w 191"/>
                  <a:gd name="T49" fmla="*/ 37 h 200"/>
                  <a:gd name="T50" fmla="*/ 182 w 191"/>
                  <a:gd name="T51" fmla="*/ 28 h 200"/>
                  <a:gd name="T52" fmla="*/ 182 w 191"/>
                  <a:gd name="T53" fmla="*/ 23 h 200"/>
                  <a:gd name="T54" fmla="*/ 182 w 191"/>
                  <a:gd name="T55" fmla="*/ 14 h 200"/>
                  <a:gd name="T56" fmla="*/ 164 w 191"/>
                  <a:gd name="T57" fmla="*/ 14 h 200"/>
                  <a:gd name="T58" fmla="*/ 146 w 191"/>
                  <a:gd name="T59" fmla="*/ 14 h 200"/>
                  <a:gd name="T60" fmla="*/ 127 w 191"/>
                  <a:gd name="T61" fmla="*/ 9 h 200"/>
                  <a:gd name="T62" fmla="*/ 109 w 191"/>
                  <a:gd name="T63" fmla="*/ 0 h 200"/>
                  <a:gd name="T64" fmla="*/ 100 w 191"/>
                  <a:gd name="T65" fmla="*/ 9 h 200"/>
                  <a:gd name="T66" fmla="*/ 96 w 191"/>
                  <a:gd name="T67" fmla="*/ 23 h 200"/>
                  <a:gd name="T68" fmla="*/ 91 w 191"/>
                  <a:gd name="T69" fmla="*/ 37 h 200"/>
                  <a:gd name="T70" fmla="*/ 86 w 191"/>
                  <a:gd name="T71" fmla="*/ 50 h 200"/>
                  <a:gd name="T72" fmla="*/ 77 w 191"/>
                  <a:gd name="T73" fmla="*/ 64 h 200"/>
                  <a:gd name="T74" fmla="*/ 68 w 191"/>
                  <a:gd name="T75" fmla="*/ 73 h 200"/>
                  <a:gd name="T76" fmla="*/ 55 w 191"/>
                  <a:gd name="T77" fmla="*/ 82 h 200"/>
                  <a:gd name="T78" fmla="*/ 45 w 191"/>
                  <a:gd name="T79" fmla="*/ 96 h 200"/>
                  <a:gd name="T80" fmla="*/ 36 w 191"/>
                  <a:gd name="T81" fmla="*/ 114 h 200"/>
                  <a:gd name="T82" fmla="*/ 27 w 191"/>
                  <a:gd name="T83" fmla="*/ 128 h 200"/>
                  <a:gd name="T84" fmla="*/ 14 w 191"/>
                  <a:gd name="T85" fmla="*/ 141 h 200"/>
                  <a:gd name="T86" fmla="*/ 0 w 191"/>
                  <a:gd name="T87" fmla="*/ 150 h 200"/>
                  <a:gd name="T88" fmla="*/ 9 w 191"/>
                  <a:gd name="T89" fmla="*/ 164 h 200"/>
                  <a:gd name="T90" fmla="*/ 14 w 191"/>
                  <a:gd name="T91" fmla="*/ 178 h 200"/>
                  <a:gd name="T92" fmla="*/ 23 w 191"/>
                  <a:gd name="T93" fmla="*/ 191 h 200"/>
                  <a:gd name="T94" fmla="*/ 36 w 191"/>
                  <a:gd name="T95" fmla="*/ 200 h 200"/>
                  <a:gd name="T96" fmla="*/ 36 w 191"/>
                  <a:gd name="T97" fmla="*/ 200 h 200"/>
                  <a:gd name="T98" fmla="*/ 32 w 191"/>
                  <a:gd name="T99" fmla="*/ 200 h 200"/>
                  <a:gd name="T100" fmla="*/ 32 w 191"/>
                  <a:gd name="T10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1" h="200">
                    <a:moveTo>
                      <a:pt x="32" y="200"/>
                    </a:moveTo>
                    <a:lnTo>
                      <a:pt x="45" y="191"/>
                    </a:lnTo>
                    <a:lnTo>
                      <a:pt x="64" y="182"/>
                    </a:lnTo>
                    <a:lnTo>
                      <a:pt x="82" y="178"/>
                    </a:lnTo>
                    <a:lnTo>
                      <a:pt x="105" y="178"/>
                    </a:lnTo>
                    <a:lnTo>
                      <a:pt x="123" y="178"/>
                    </a:lnTo>
                    <a:lnTo>
                      <a:pt x="137" y="178"/>
                    </a:lnTo>
                    <a:lnTo>
                      <a:pt x="150" y="182"/>
                    </a:lnTo>
                    <a:lnTo>
                      <a:pt x="164" y="191"/>
                    </a:lnTo>
                    <a:lnTo>
                      <a:pt x="164" y="191"/>
                    </a:lnTo>
                    <a:lnTo>
                      <a:pt x="164" y="191"/>
                    </a:lnTo>
                    <a:lnTo>
                      <a:pt x="164" y="191"/>
                    </a:lnTo>
                    <a:lnTo>
                      <a:pt x="173" y="182"/>
                    </a:lnTo>
                    <a:lnTo>
                      <a:pt x="182" y="169"/>
                    </a:lnTo>
                    <a:lnTo>
                      <a:pt x="187" y="155"/>
                    </a:lnTo>
                    <a:lnTo>
                      <a:pt x="191" y="137"/>
                    </a:lnTo>
                    <a:lnTo>
                      <a:pt x="191" y="123"/>
                    </a:lnTo>
                    <a:lnTo>
                      <a:pt x="187" y="109"/>
                    </a:lnTo>
                    <a:lnTo>
                      <a:pt x="182" y="96"/>
                    </a:lnTo>
                    <a:lnTo>
                      <a:pt x="182" y="82"/>
                    </a:lnTo>
                    <a:lnTo>
                      <a:pt x="182" y="69"/>
                    </a:lnTo>
                    <a:lnTo>
                      <a:pt x="182" y="59"/>
                    </a:lnTo>
                    <a:lnTo>
                      <a:pt x="178" y="50"/>
                    </a:lnTo>
                    <a:lnTo>
                      <a:pt x="178" y="41"/>
                    </a:lnTo>
                    <a:lnTo>
                      <a:pt x="178" y="37"/>
                    </a:lnTo>
                    <a:lnTo>
                      <a:pt x="182" y="28"/>
                    </a:lnTo>
                    <a:lnTo>
                      <a:pt x="182" y="23"/>
                    </a:lnTo>
                    <a:lnTo>
                      <a:pt x="182" y="14"/>
                    </a:lnTo>
                    <a:lnTo>
                      <a:pt x="164" y="14"/>
                    </a:lnTo>
                    <a:lnTo>
                      <a:pt x="146" y="14"/>
                    </a:lnTo>
                    <a:lnTo>
                      <a:pt x="127" y="9"/>
                    </a:lnTo>
                    <a:lnTo>
                      <a:pt x="109" y="0"/>
                    </a:lnTo>
                    <a:lnTo>
                      <a:pt x="100" y="9"/>
                    </a:lnTo>
                    <a:lnTo>
                      <a:pt x="96" y="23"/>
                    </a:lnTo>
                    <a:lnTo>
                      <a:pt x="91" y="37"/>
                    </a:lnTo>
                    <a:lnTo>
                      <a:pt x="86" y="50"/>
                    </a:lnTo>
                    <a:lnTo>
                      <a:pt x="77" y="64"/>
                    </a:lnTo>
                    <a:lnTo>
                      <a:pt x="68" y="73"/>
                    </a:lnTo>
                    <a:lnTo>
                      <a:pt x="55" y="82"/>
                    </a:lnTo>
                    <a:lnTo>
                      <a:pt x="45" y="96"/>
                    </a:lnTo>
                    <a:lnTo>
                      <a:pt x="36" y="114"/>
                    </a:lnTo>
                    <a:lnTo>
                      <a:pt x="27" y="128"/>
                    </a:lnTo>
                    <a:lnTo>
                      <a:pt x="14" y="141"/>
                    </a:lnTo>
                    <a:lnTo>
                      <a:pt x="0" y="150"/>
                    </a:lnTo>
                    <a:lnTo>
                      <a:pt x="9" y="164"/>
                    </a:lnTo>
                    <a:lnTo>
                      <a:pt x="14" y="178"/>
                    </a:lnTo>
                    <a:lnTo>
                      <a:pt x="23" y="191"/>
                    </a:lnTo>
                    <a:lnTo>
                      <a:pt x="36" y="200"/>
                    </a:lnTo>
                    <a:lnTo>
                      <a:pt x="36" y="200"/>
                    </a:lnTo>
                    <a:lnTo>
                      <a:pt x="32" y="200"/>
                    </a:lnTo>
                    <a:lnTo>
                      <a:pt x="32" y="200"/>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lIns="90000" rIns="18000" anchor="ctr"/>
              <a:lstStyle/>
              <a:p>
                <a:pPr defTabSz="913204" fontAlgn="auto">
                  <a:spcBef>
                    <a:spcPts val="0"/>
                  </a:spcBef>
                  <a:spcAft>
                    <a:spcPts val="0"/>
                  </a:spcAft>
                  <a:defRPr/>
                </a:pPr>
                <a:endParaRPr lang="en-US">
                  <a:solidFill>
                    <a:srgbClr val="000000"/>
                  </a:solidFill>
                  <a:latin typeface="+mn-lt"/>
                  <a:cs typeface="+mn-cs"/>
                </a:endParaRPr>
              </a:p>
            </p:txBody>
          </p:sp>
          <p:sp>
            <p:nvSpPr>
              <p:cNvPr id="72" name="Freeform 256">
                <a:extLst>
                  <a:ext uri="{FF2B5EF4-FFF2-40B4-BE49-F238E27FC236}">
                    <a16:creationId xmlns="" xmlns:a16="http://schemas.microsoft.com/office/drawing/2014/main" id="{D9B21EF7-93F2-4F92-B434-1D345E5D881C}"/>
                  </a:ext>
                </a:extLst>
              </p:cNvPr>
              <p:cNvSpPr>
                <a:spLocks noChangeAspect="1"/>
              </p:cNvSpPr>
              <p:nvPr/>
            </p:nvSpPr>
            <p:spPr bwMode="auto">
              <a:xfrm>
                <a:off x="2392" y="1005"/>
                <a:ext cx="246" cy="331"/>
              </a:xfrm>
              <a:custGeom>
                <a:avLst/>
                <a:gdLst>
                  <a:gd name="T0" fmla="*/ 223 w 246"/>
                  <a:gd name="T1" fmla="*/ 81 h 331"/>
                  <a:gd name="T2" fmla="*/ 210 w 246"/>
                  <a:gd name="T3" fmla="*/ 77 h 331"/>
                  <a:gd name="T4" fmla="*/ 210 w 246"/>
                  <a:gd name="T5" fmla="*/ 68 h 331"/>
                  <a:gd name="T6" fmla="*/ 210 w 246"/>
                  <a:gd name="T7" fmla="*/ 59 h 331"/>
                  <a:gd name="T8" fmla="*/ 196 w 246"/>
                  <a:gd name="T9" fmla="*/ 50 h 331"/>
                  <a:gd name="T10" fmla="*/ 173 w 246"/>
                  <a:gd name="T11" fmla="*/ 54 h 331"/>
                  <a:gd name="T12" fmla="*/ 146 w 246"/>
                  <a:gd name="T13" fmla="*/ 50 h 331"/>
                  <a:gd name="T14" fmla="*/ 119 w 246"/>
                  <a:gd name="T15" fmla="*/ 36 h 331"/>
                  <a:gd name="T16" fmla="*/ 78 w 246"/>
                  <a:gd name="T17" fmla="*/ 40 h 331"/>
                  <a:gd name="T18" fmla="*/ 64 w 246"/>
                  <a:gd name="T19" fmla="*/ 36 h 331"/>
                  <a:gd name="T20" fmla="*/ 55 w 246"/>
                  <a:gd name="T21" fmla="*/ 27 h 331"/>
                  <a:gd name="T22" fmla="*/ 69 w 246"/>
                  <a:gd name="T23" fmla="*/ 13 h 331"/>
                  <a:gd name="T24" fmla="*/ 55 w 246"/>
                  <a:gd name="T25" fmla="*/ 0 h 331"/>
                  <a:gd name="T26" fmla="*/ 32 w 246"/>
                  <a:gd name="T27" fmla="*/ 0 h 331"/>
                  <a:gd name="T28" fmla="*/ 9 w 246"/>
                  <a:gd name="T29" fmla="*/ 4 h 331"/>
                  <a:gd name="T30" fmla="*/ 0 w 246"/>
                  <a:gd name="T31" fmla="*/ 27 h 331"/>
                  <a:gd name="T32" fmla="*/ 5 w 246"/>
                  <a:gd name="T33" fmla="*/ 63 h 331"/>
                  <a:gd name="T34" fmla="*/ 23 w 246"/>
                  <a:gd name="T35" fmla="*/ 86 h 331"/>
                  <a:gd name="T36" fmla="*/ 41 w 246"/>
                  <a:gd name="T37" fmla="*/ 131 h 331"/>
                  <a:gd name="T38" fmla="*/ 55 w 246"/>
                  <a:gd name="T39" fmla="*/ 200 h 331"/>
                  <a:gd name="T40" fmla="*/ 78 w 246"/>
                  <a:gd name="T41" fmla="*/ 254 h 331"/>
                  <a:gd name="T42" fmla="*/ 119 w 246"/>
                  <a:gd name="T43" fmla="*/ 309 h 331"/>
                  <a:gd name="T44" fmla="*/ 151 w 246"/>
                  <a:gd name="T45" fmla="*/ 322 h 331"/>
                  <a:gd name="T46" fmla="*/ 173 w 246"/>
                  <a:gd name="T47" fmla="*/ 295 h 331"/>
                  <a:gd name="T48" fmla="*/ 192 w 246"/>
                  <a:gd name="T49" fmla="*/ 263 h 331"/>
                  <a:gd name="T50" fmla="*/ 214 w 246"/>
                  <a:gd name="T51" fmla="*/ 245 h 331"/>
                  <a:gd name="T52" fmla="*/ 228 w 246"/>
                  <a:gd name="T53" fmla="*/ 218 h 331"/>
                  <a:gd name="T54" fmla="*/ 237 w 246"/>
                  <a:gd name="T55" fmla="*/ 190 h 331"/>
                  <a:gd name="T56" fmla="*/ 233 w 246"/>
                  <a:gd name="T57" fmla="*/ 168 h 331"/>
                  <a:gd name="T58" fmla="*/ 214 w 246"/>
                  <a:gd name="T59" fmla="*/ 136 h 331"/>
                  <a:gd name="T60" fmla="*/ 210 w 246"/>
                  <a:gd name="T61" fmla="*/ 104 h 331"/>
                  <a:gd name="T62" fmla="*/ 219 w 246"/>
                  <a:gd name="T63" fmla="*/ 86 h 331"/>
                  <a:gd name="T64" fmla="*/ 228 w 246"/>
                  <a:gd name="T65" fmla="*/ 81 h 331"/>
                  <a:gd name="T66" fmla="*/ 228 w 246"/>
                  <a:gd name="T67" fmla="*/ 81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331">
                    <a:moveTo>
                      <a:pt x="228" y="81"/>
                    </a:moveTo>
                    <a:lnTo>
                      <a:pt x="223" y="81"/>
                    </a:lnTo>
                    <a:lnTo>
                      <a:pt x="214" y="81"/>
                    </a:lnTo>
                    <a:lnTo>
                      <a:pt x="210" y="77"/>
                    </a:lnTo>
                    <a:lnTo>
                      <a:pt x="210" y="72"/>
                    </a:lnTo>
                    <a:lnTo>
                      <a:pt x="210" y="68"/>
                    </a:lnTo>
                    <a:lnTo>
                      <a:pt x="210" y="63"/>
                    </a:lnTo>
                    <a:lnTo>
                      <a:pt x="210" y="59"/>
                    </a:lnTo>
                    <a:lnTo>
                      <a:pt x="210" y="54"/>
                    </a:lnTo>
                    <a:lnTo>
                      <a:pt x="196" y="50"/>
                    </a:lnTo>
                    <a:lnTo>
                      <a:pt x="187" y="50"/>
                    </a:lnTo>
                    <a:lnTo>
                      <a:pt x="173" y="54"/>
                    </a:lnTo>
                    <a:lnTo>
                      <a:pt x="160" y="54"/>
                    </a:lnTo>
                    <a:lnTo>
                      <a:pt x="146" y="50"/>
                    </a:lnTo>
                    <a:lnTo>
                      <a:pt x="137" y="40"/>
                    </a:lnTo>
                    <a:lnTo>
                      <a:pt x="119" y="36"/>
                    </a:lnTo>
                    <a:lnTo>
                      <a:pt x="87" y="40"/>
                    </a:lnTo>
                    <a:lnTo>
                      <a:pt x="78" y="40"/>
                    </a:lnTo>
                    <a:lnTo>
                      <a:pt x="69" y="40"/>
                    </a:lnTo>
                    <a:lnTo>
                      <a:pt x="64" y="36"/>
                    </a:lnTo>
                    <a:lnTo>
                      <a:pt x="50" y="31"/>
                    </a:lnTo>
                    <a:lnTo>
                      <a:pt x="55" y="27"/>
                    </a:lnTo>
                    <a:lnTo>
                      <a:pt x="64" y="18"/>
                    </a:lnTo>
                    <a:lnTo>
                      <a:pt x="69" y="13"/>
                    </a:lnTo>
                    <a:lnTo>
                      <a:pt x="64" y="4"/>
                    </a:lnTo>
                    <a:lnTo>
                      <a:pt x="55" y="0"/>
                    </a:lnTo>
                    <a:lnTo>
                      <a:pt x="41" y="0"/>
                    </a:lnTo>
                    <a:lnTo>
                      <a:pt x="32" y="0"/>
                    </a:lnTo>
                    <a:lnTo>
                      <a:pt x="19" y="0"/>
                    </a:lnTo>
                    <a:lnTo>
                      <a:pt x="9" y="4"/>
                    </a:lnTo>
                    <a:lnTo>
                      <a:pt x="5" y="13"/>
                    </a:lnTo>
                    <a:lnTo>
                      <a:pt x="0" y="27"/>
                    </a:lnTo>
                    <a:lnTo>
                      <a:pt x="0" y="40"/>
                    </a:lnTo>
                    <a:lnTo>
                      <a:pt x="5" y="63"/>
                    </a:lnTo>
                    <a:lnTo>
                      <a:pt x="9" y="77"/>
                    </a:lnTo>
                    <a:lnTo>
                      <a:pt x="23" y="86"/>
                    </a:lnTo>
                    <a:lnTo>
                      <a:pt x="32" y="100"/>
                    </a:lnTo>
                    <a:lnTo>
                      <a:pt x="41" y="131"/>
                    </a:lnTo>
                    <a:lnTo>
                      <a:pt x="50" y="163"/>
                    </a:lnTo>
                    <a:lnTo>
                      <a:pt x="55" y="200"/>
                    </a:lnTo>
                    <a:lnTo>
                      <a:pt x="64" y="227"/>
                    </a:lnTo>
                    <a:lnTo>
                      <a:pt x="78" y="254"/>
                    </a:lnTo>
                    <a:lnTo>
                      <a:pt x="100" y="281"/>
                    </a:lnTo>
                    <a:lnTo>
                      <a:pt x="119" y="309"/>
                    </a:lnTo>
                    <a:lnTo>
                      <a:pt x="137" y="331"/>
                    </a:lnTo>
                    <a:lnTo>
                      <a:pt x="151" y="322"/>
                    </a:lnTo>
                    <a:lnTo>
                      <a:pt x="164" y="309"/>
                    </a:lnTo>
                    <a:lnTo>
                      <a:pt x="173" y="295"/>
                    </a:lnTo>
                    <a:lnTo>
                      <a:pt x="182" y="277"/>
                    </a:lnTo>
                    <a:lnTo>
                      <a:pt x="192" y="263"/>
                    </a:lnTo>
                    <a:lnTo>
                      <a:pt x="205" y="254"/>
                    </a:lnTo>
                    <a:lnTo>
                      <a:pt x="214" y="245"/>
                    </a:lnTo>
                    <a:lnTo>
                      <a:pt x="223" y="231"/>
                    </a:lnTo>
                    <a:lnTo>
                      <a:pt x="228" y="218"/>
                    </a:lnTo>
                    <a:lnTo>
                      <a:pt x="233" y="204"/>
                    </a:lnTo>
                    <a:lnTo>
                      <a:pt x="237" y="190"/>
                    </a:lnTo>
                    <a:lnTo>
                      <a:pt x="246" y="181"/>
                    </a:lnTo>
                    <a:lnTo>
                      <a:pt x="233" y="168"/>
                    </a:lnTo>
                    <a:lnTo>
                      <a:pt x="219" y="154"/>
                    </a:lnTo>
                    <a:lnTo>
                      <a:pt x="214" y="136"/>
                    </a:lnTo>
                    <a:lnTo>
                      <a:pt x="210" y="113"/>
                    </a:lnTo>
                    <a:lnTo>
                      <a:pt x="210" y="104"/>
                    </a:lnTo>
                    <a:lnTo>
                      <a:pt x="214" y="95"/>
                    </a:lnTo>
                    <a:lnTo>
                      <a:pt x="219" y="86"/>
                    </a:lnTo>
                    <a:lnTo>
                      <a:pt x="228" y="81"/>
                    </a:lnTo>
                    <a:lnTo>
                      <a:pt x="228" y="81"/>
                    </a:lnTo>
                    <a:lnTo>
                      <a:pt x="228" y="81"/>
                    </a:lnTo>
                    <a:lnTo>
                      <a:pt x="228" y="81"/>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lIns="90000" rIns="18000" anchor="ctr"/>
              <a:lstStyle/>
              <a:p>
                <a:pPr defTabSz="913204" fontAlgn="auto">
                  <a:spcBef>
                    <a:spcPts val="0"/>
                  </a:spcBef>
                  <a:spcAft>
                    <a:spcPts val="0"/>
                  </a:spcAft>
                  <a:defRPr/>
                </a:pPr>
                <a:endParaRPr lang="en-US">
                  <a:solidFill>
                    <a:srgbClr val="000000"/>
                  </a:solidFill>
                  <a:latin typeface="+mn-lt"/>
                  <a:cs typeface="+mn-cs"/>
                </a:endParaRPr>
              </a:p>
            </p:txBody>
          </p:sp>
        </p:grpSp>
        <p:grpSp>
          <p:nvGrpSpPr>
            <p:cNvPr id="10" name="Group 257">
              <a:extLst>
                <a:ext uri="{FF2B5EF4-FFF2-40B4-BE49-F238E27FC236}">
                  <a16:creationId xmlns="" xmlns:a16="http://schemas.microsoft.com/office/drawing/2014/main" id="{C2F8E119-31D8-4EFA-B675-04BB19DC3781}"/>
                </a:ext>
              </a:extLst>
            </p:cNvPr>
            <p:cNvGrpSpPr>
              <a:grpSpLocks noChangeAspect="1"/>
            </p:cNvGrpSpPr>
            <p:nvPr/>
          </p:nvGrpSpPr>
          <p:grpSpPr bwMode="auto">
            <a:xfrm>
              <a:off x="1948101" y="2415256"/>
              <a:ext cx="1576676" cy="2218889"/>
              <a:chOff x="2780" y="1511"/>
              <a:chExt cx="1021" cy="1436"/>
            </a:xfrm>
            <a:solidFill>
              <a:schemeClr val="bg1">
                <a:lumMod val="20000"/>
                <a:lumOff val="80000"/>
              </a:schemeClr>
            </a:solidFill>
          </p:grpSpPr>
          <p:grpSp>
            <p:nvGrpSpPr>
              <p:cNvPr id="52" name="Group 258">
                <a:extLst>
                  <a:ext uri="{FF2B5EF4-FFF2-40B4-BE49-F238E27FC236}">
                    <a16:creationId xmlns="" xmlns:a16="http://schemas.microsoft.com/office/drawing/2014/main" id="{D88EB66B-2E96-4075-93A4-EAA4F92F8FB2}"/>
                  </a:ext>
                </a:extLst>
              </p:cNvPr>
              <p:cNvGrpSpPr>
                <a:grpSpLocks noChangeAspect="1"/>
              </p:cNvGrpSpPr>
              <p:nvPr/>
            </p:nvGrpSpPr>
            <p:grpSpPr bwMode="auto">
              <a:xfrm>
                <a:off x="2780" y="2147"/>
                <a:ext cx="591" cy="736"/>
                <a:chOff x="1509" y="1895"/>
                <a:chExt cx="815" cy="937"/>
              </a:xfrm>
              <a:grpFill/>
            </p:grpSpPr>
            <p:sp>
              <p:nvSpPr>
                <p:cNvPr id="64" name="Freeform 259">
                  <a:extLst>
                    <a:ext uri="{FF2B5EF4-FFF2-40B4-BE49-F238E27FC236}">
                      <a16:creationId xmlns="" xmlns:a16="http://schemas.microsoft.com/office/drawing/2014/main" id="{45211CAA-2BD4-42BC-BE74-EAB8C048CA24}"/>
                    </a:ext>
                  </a:extLst>
                </p:cNvPr>
                <p:cNvSpPr>
                  <a:spLocks noChangeAspect="1"/>
                </p:cNvSpPr>
                <p:nvPr/>
              </p:nvSpPr>
              <p:spPr bwMode="auto">
                <a:xfrm>
                  <a:off x="1905" y="1895"/>
                  <a:ext cx="419" cy="496"/>
                </a:xfrm>
                <a:custGeom>
                  <a:avLst/>
                  <a:gdLst>
                    <a:gd name="T0" fmla="*/ 86 w 419"/>
                    <a:gd name="T1" fmla="*/ 450 h 496"/>
                    <a:gd name="T2" fmla="*/ 59 w 419"/>
                    <a:gd name="T3" fmla="*/ 423 h 496"/>
                    <a:gd name="T4" fmla="*/ 55 w 419"/>
                    <a:gd name="T5" fmla="*/ 400 h 496"/>
                    <a:gd name="T6" fmla="*/ 59 w 419"/>
                    <a:gd name="T7" fmla="*/ 396 h 496"/>
                    <a:gd name="T8" fmla="*/ 55 w 419"/>
                    <a:gd name="T9" fmla="*/ 373 h 496"/>
                    <a:gd name="T10" fmla="*/ 27 w 419"/>
                    <a:gd name="T11" fmla="*/ 341 h 496"/>
                    <a:gd name="T12" fmla="*/ 23 w 419"/>
                    <a:gd name="T13" fmla="*/ 305 h 496"/>
                    <a:gd name="T14" fmla="*/ 27 w 419"/>
                    <a:gd name="T15" fmla="*/ 160 h 496"/>
                    <a:gd name="T16" fmla="*/ 14 w 419"/>
                    <a:gd name="T17" fmla="*/ 91 h 496"/>
                    <a:gd name="T18" fmla="*/ 0 w 419"/>
                    <a:gd name="T19" fmla="*/ 37 h 496"/>
                    <a:gd name="T20" fmla="*/ 14 w 419"/>
                    <a:gd name="T21" fmla="*/ 10 h 496"/>
                    <a:gd name="T22" fmla="*/ 45 w 419"/>
                    <a:gd name="T23" fmla="*/ 0 h 496"/>
                    <a:gd name="T24" fmla="*/ 55 w 419"/>
                    <a:gd name="T25" fmla="*/ 10 h 496"/>
                    <a:gd name="T26" fmla="*/ 77 w 419"/>
                    <a:gd name="T27" fmla="*/ 19 h 496"/>
                    <a:gd name="T28" fmla="*/ 109 w 419"/>
                    <a:gd name="T29" fmla="*/ 64 h 496"/>
                    <a:gd name="T30" fmla="*/ 159 w 419"/>
                    <a:gd name="T31" fmla="*/ 96 h 496"/>
                    <a:gd name="T32" fmla="*/ 196 w 419"/>
                    <a:gd name="T33" fmla="*/ 82 h 496"/>
                    <a:gd name="T34" fmla="*/ 232 w 419"/>
                    <a:gd name="T35" fmla="*/ 73 h 496"/>
                    <a:gd name="T36" fmla="*/ 250 w 419"/>
                    <a:gd name="T37" fmla="*/ 87 h 496"/>
                    <a:gd name="T38" fmla="*/ 264 w 419"/>
                    <a:gd name="T39" fmla="*/ 110 h 496"/>
                    <a:gd name="T40" fmla="*/ 282 w 419"/>
                    <a:gd name="T41" fmla="*/ 150 h 496"/>
                    <a:gd name="T42" fmla="*/ 314 w 419"/>
                    <a:gd name="T43" fmla="*/ 182 h 496"/>
                    <a:gd name="T44" fmla="*/ 314 w 419"/>
                    <a:gd name="T45" fmla="*/ 178 h 496"/>
                    <a:gd name="T46" fmla="*/ 310 w 419"/>
                    <a:gd name="T47" fmla="*/ 182 h 496"/>
                    <a:gd name="T48" fmla="*/ 310 w 419"/>
                    <a:gd name="T49" fmla="*/ 187 h 496"/>
                    <a:gd name="T50" fmla="*/ 314 w 419"/>
                    <a:gd name="T51" fmla="*/ 223 h 496"/>
                    <a:gd name="T52" fmla="*/ 342 w 419"/>
                    <a:gd name="T53" fmla="*/ 259 h 496"/>
                    <a:gd name="T54" fmla="*/ 387 w 419"/>
                    <a:gd name="T55" fmla="*/ 282 h 496"/>
                    <a:gd name="T56" fmla="*/ 405 w 419"/>
                    <a:gd name="T57" fmla="*/ 328 h 496"/>
                    <a:gd name="T58" fmla="*/ 410 w 419"/>
                    <a:gd name="T59" fmla="*/ 346 h 496"/>
                    <a:gd name="T60" fmla="*/ 396 w 419"/>
                    <a:gd name="T61" fmla="*/ 355 h 496"/>
                    <a:gd name="T62" fmla="*/ 369 w 419"/>
                    <a:gd name="T63" fmla="*/ 364 h 496"/>
                    <a:gd name="T64" fmla="*/ 332 w 419"/>
                    <a:gd name="T65" fmla="*/ 391 h 496"/>
                    <a:gd name="T66" fmla="*/ 305 w 419"/>
                    <a:gd name="T67" fmla="*/ 409 h 496"/>
                    <a:gd name="T68" fmla="*/ 287 w 419"/>
                    <a:gd name="T69" fmla="*/ 414 h 496"/>
                    <a:gd name="T70" fmla="*/ 278 w 419"/>
                    <a:gd name="T71" fmla="*/ 428 h 496"/>
                    <a:gd name="T72" fmla="*/ 278 w 419"/>
                    <a:gd name="T73" fmla="*/ 446 h 496"/>
                    <a:gd name="T74" fmla="*/ 278 w 419"/>
                    <a:gd name="T75" fmla="*/ 459 h 496"/>
                    <a:gd name="T76" fmla="*/ 278 w 419"/>
                    <a:gd name="T77" fmla="*/ 464 h 496"/>
                    <a:gd name="T78" fmla="*/ 255 w 419"/>
                    <a:gd name="T79" fmla="*/ 469 h 496"/>
                    <a:gd name="T80" fmla="*/ 228 w 419"/>
                    <a:gd name="T81" fmla="*/ 482 h 496"/>
                    <a:gd name="T82" fmla="*/ 196 w 419"/>
                    <a:gd name="T83" fmla="*/ 478 h 496"/>
                    <a:gd name="T84" fmla="*/ 182 w 419"/>
                    <a:gd name="T85" fmla="*/ 464 h 496"/>
                    <a:gd name="T86" fmla="*/ 159 w 419"/>
                    <a:gd name="T87" fmla="*/ 464 h 496"/>
                    <a:gd name="T88" fmla="*/ 150 w 419"/>
                    <a:gd name="T89" fmla="*/ 491 h 496"/>
                    <a:gd name="T90" fmla="*/ 123 w 419"/>
                    <a:gd name="T91" fmla="*/ 496 h 496"/>
                    <a:gd name="T92" fmla="*/ 105 w 419"/>
                    <a:gd name="T93" fmla="*/ 482 h 496"/>
                    <a:gd name="T94" fmla="*/ 96 w 419"/>
                    <a:gd name="T95" fmla="*/ 478 h 496"/>
                    <a:gd name="T96" fmla="*/ 91 w 419"/>
                    <a:gd name="T97" fmla="*/ 473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9" h="496">
                      <a:moveTo>
                        <a:pt x="91" y="473"/>
                      </a:moveTo>
                      <a:lnTo>
                        <a:pt x="86" y="450"/>
                      </a:lnTo>
                      <a:lnTo>
                        <a:pt x="73" y="437"/>
                      </a:lnTo>
                      <a:lnTo>
                        <a:pt x="59" y="423"/>
                      </a:lnTo>
                      <a:lnTo>
                        <a:pt x="55" y="405"/>
                      </a:lnTo>
                      <a:lnTo>
                        <a:pt x="55" y="400"/>
                      </a:lnTo>
                      <a:lnTo>
                        <a:pt x="59" y="396"/>
                      </a:lnTo>
                      <a:lnTo>
                        <a:pt x="59" y="396"/>
                      </a:lnTo>
                      <a:lnTo>
                        <a:pt x="59" y="391"/>
                      </a:lnTo>
                      <a:lnTo>
                        <a:pt x="55" y="373"/>
                      </a:lnTo>
                      <a:lnTo>
                        <a:pt x="41" y="359"/>
                      </a:lnTo>
                      <a:lnTo>
                        <a:pt x="27" y="341"/>
                      </a:lnTo>
                      <a:lnTo>
                        <a:pt x="23" y="305"/>
                      </a:lnTo>
                      <a:lnTo>
                        <a:pt x="23" y="305"/>
                      </a:lnTo>
                      <a:lnTo>
                        <a:pt x="27" y="160"/>
                      </a:lnTo>
                      <a:lnTo>
                        <a:pt x="27" y="160"/>
                      </a:lnTo>
                      <a:lnTo>
                        <a:pt x="23" y="123"/>
                      </a:lnTo>
                      <a:lnTo>
                        <a:pt x="14" y="91"/>
                      </a:lnTo>
                      <a:lnTo>
                        <a:pt x="4" y="64"/>
                      </a:lnTo>
                      <a:lnTo>
                        <a:pt x="0" y="37"/>
                      </a:lnTo>
                      <a:lnTo>
                        <a:pt x="4" y="23"/>
                      </a:lnTo>
                      <a:lnTo>
                        <a:pt x="14" y="10"/>
                      </a:lnTo>
                      <a:lnTo>
                        <a:pt x="27" y="5"/>
                      </a:lnTo>
                      <a:lnTo>
                        <a:pt x="45" y="0"/>
                      </a:lnTo>
                      <a:lnTo>
                        <a:pt x="50" y="10"/>
                      </a:lnTo>
                      <a:lnTo>
                        <a:pt x="55" y="10"/>
                      </a:lnTo>
                      <a:lnTo>
                        <a:pt x="68" y="14"/>
                      </a:lnTo>
                      <a:lnTo>
                        <a:pt x="77" y="19"/>
                      </a:lnTo>
                      <a:lnTo>
                        <a:pt x="96" y="37"/>
                      </a:lnTo>
                      <a:lnTo>
                        <a:pt x="109" y="64"/>
                      </a:lnTo>
                      <a:lnTo>
                        <a:pt x="127" y="87"/>
                      </a:lnTo>
                      <a:lnTo>
                        <a:pt x="159" y="96"/>
                      </a:lnTo>
                      <a:lnTo>
                        <a:pt x="182" y="91"/>
                      </a:lnTo>
                      <a:lnTo>
                        <a:pt x="196" y="82"/>
                      </a:lnTo>
                      <a:lnTo>
                        <a:pt x="214" y="78"/>
                      </a:lnTo>
                      <a:lnTo>
                        <a:pt x="232" y="73"/>
                      </a:lnTo>
                      <a:lnTo>
                        <a:pt x="241" y="78"/>
                      </a:lnTo>
                      <a:lnTo>
                        <a:pt x="250" y="87"/>
                      </a:lnTo>
                      <a:lnTo>
                        <a:pt x="260" y="100"/>
                      </a:lnTo>
                      <a:lnTo>
                        <a:pt x="264" y="110"/>
                      </a:lnTo>
                      <a:lnTo>
                        <a:pt x="273" y="128"/>
                      </a:lnTo>
                      <a:lnTo>
                        <a:pt x="282" y="150"/>
                      </a:lnTo>
                      <a:lnTo>
                        <a:pt x="296" y="169"/>
                      </a:lnTo>
                      <a:lnTo>
                        <a:pt x="314" y="182"/>
                      </a:lnTo>
                      <a:lnTo>
                        <a:pt x="314" y="182"/>
                      </a:lnTo>
                      <a:lnTo>
                        <a:pt x="314" y="178"/>
                      </a:lnTo>
                      <a:lnTo>
                        <a:pt x="314" y="178"/>
                      </a:lnTo>
                      <a:lnTo>
                        <a:pt x="310" y="182"/>
                      </a:lnTo>
                      <a:lnTo>
                        <a:pt x="310" y="182"/>
                      </a:lnTo>
                      <a:lnTo>
                        <a:pt x="310" y="187"/>
                      </a:lnTo>
                      <a:lnTo>
                        <a:pt x="310" y="191"/>
                      </a:lnTo>
                      <a:lnTo>
                        <a:pt x="314" y="223"/>
                      </a:lnTo>
                      <a:lnTo>
                        <a:pt x="323" y="246"/>
                      </a:lnTo>
                      <a:lnTo>
                        <a:pt x="342" y="259"/>
                      </a:lnTo>
                      <a:lnTo>
                        <a:pt x="369" y="269"/>
                      </a:lnTo>
                      <a:lnTo>
                        <a:pt x="387" y="282"/>
                      </a:lnTo>
                      <a:lnTo>
                        <a:pt x="396" y="305"/>
                      </a:lnTo>
                      <a:lnTo>
                        <a:pt x="405" y="328"/>
                      </a:lnTo>
                      <a:lnTo>
                        <a:pt x="419" y="346"/>
                      </a:lnTo>
                      <a:lnTo>
                        <a:pt x="410" y="346"/>
                      </a:lnTo>
                      <a:lnTo>
                        <a:pt x="405" y="350"/>
                      </a:lnTo>
                      <a:lnTo>
                        <a:pt x="396" y="355"/>
                      </a:lnTo>
                      <a:lnTo>
                        <a:pt x="392" y="355"/>
                      </a:lnTo>
                      <a:lnTo>
                        <a:pt x="369" y="364"/>
                      </a:lnTo>
                      <a:lnTo>
                        <a:pt x="346" y="378"/>
                      </a:lnTo>
                      <a:lnTo>
                        <a:pt x="332" y="391"/>
                      </a:lnTo>
                      <a:lnTo>
                        <a:pt x="314" y="405"/>
                      </a:lnTo>
                      <a:lnTo>
                        <a:pt x="305" y="409"/>
                      </a:lnTo>
                      <a:lnTo>
                        <a:pt x="296" y="409"/>
                      </a:lnTo>
                      <a:lnTo>
                        <a:pt x="287" y="414"/>
                      </a:lnTo>
                      <a:lnTo>
                        <a:pt x="282" y="419"/>
                      </a:lnTo>
                      <a:lnTo>
                        <a:pt x="278" y="428"/>
                      </a:lnTo>
                      <a:lnTo>
                        <a:pt x="278" y="437"/>
                      </a:lnTo>
                      <a:lnTo>
                        <a:pt x="278" y="446"/>
                      </a:lnTo>
                      <a:lnTo>
                        <a:pt x="278" y="455"/>
                      </a:lnTo>
                      <a:lnTo>
                        <a:pt x="278" y="459"/>
                      </a:lnTo>
                      <a:lnTo>
                        <a:pt x="278" y="459"/>
                      </a:lnTo>
                      <a:lnTo>
                        <a:pt x="278" y="464"/>
                      </a:lnTo>
                      <a:lnTo>
                        <a:pt x="278" y="469"/>
                      </a:lnTo>
                      <a:lnTo>
                        <a:pt x="255" y="469"/>
                      </a:lnTo>
                      <a:lnTo>
                        <a:pt x="241" y="473"/>
                      </a:lnTo>
                      <a:lnTo>
                        <a:pt x="228" y="482"/>
                      </a:lnTo>
                      <a:lnTo>
                        <a:pt x="209" y="482"/>
                      </a:lnTo>
                      <a:lnTo>
                        <a:pt x="196" y="478"/>
                      </a:lnTo>
                      <a:lnTo>
                        <a:pt x="191" y="469"/>
                      </a:lnTo>
                      <a:lnTo>
                        <a:pt x="182" y="464"/>
                      </a:lnTo>
                      <a:lnTo>
                        <a:pt x="168" y="459"/>
                      </a:lnTo>
                      <a:lnTo>
                        <a:pt x="159" y="464"/>
                      </a:lnTo>
                      <a:lnTo>
                        <a:pt x="155" y="478"/>
                      </a:lnTo>
                      <a:lnTo>
                        <a:pt x="150" y="491"/>
                      </a:lnTo>
                      <a:lnTo>
                        <a:pt x="137" y="496"/>
                      </a:lnTo>
                      <a:lnTo>
                        <a:pt x="123" y="496"/>
                      </a:lnTo>
                      <a:lnTo>
                        <a:pt x="114" y="487"/>
                      </a:lnTo>
                      <a:lnTo>
                        <a:pt x="105" y="482"/>
                      </a:lnTo>
                      <a:lnTo>
                        <a:pt x="96" y="478"/>
                      </a:lnTo>
                      <a:lnTo>
                        <a:pt x="96" y="478"/>
                      </a:lnTo>
                      <a:lnTo>
                        <a:pt x="91" y="473"/>
                      </a:lnTo>
                      <a:lnTo>
                        <a:pt x="91" y="473"/>
                      </a:lnTo>
                      <a:close/>
                    </a:path>
                  </a:pathLst>
                </a:custGeom>
                <a:solidFill>
                  <a:schemeClr val="accent2"/>
                </a:solid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65" name="Freeform 260">
                  <a:extLst>
                    <a:ext uri="{FF2B5EF4-FFF2-40B4-BE49-F238E27FC236}">
                      <a16:creationId xmlns="" xmlns:a16="http://schemas.microsoft.com/office/drawing/2014/main" id="{C844CEB3-574D-471B-8669-52A38C8C3251}"/>
                    </a:ext>
                  </a:extLst>
                </p:cNvPr>
                <p:cNvSpPr>
                  <a:spLocks noChangeAspect="1"/>
                </p:cNvSpPr>
                <p:nvPr/>
              </p:nvSpPr>
              <p:spPr bwMode="auto">
                <a:xfrm>
                  <a:off x="1659" y="1914"/>
                  <a:ext cx="342" cy="504"/>
                </a:xfrm>
                <a:custGeom>
                  <a:avLst/>
                  <a:gdLst>
                    <a:gd name="T0" fmla="*/ 64 w 342"/>
                    <a:gd name="T1" fmla="*/ 354 h 504"/>
                    <a:gd name="T2" fmla="*/ 77 w 342"/>
                    <a:gd name="T3" fmla="*/ 290 h 504"/>
                    <a:gd name="T4" fmla="*/ 77 w 342"/>
                    <a:gd name="T5" fmla="*/ 240 h 504"/>
                    <a:gd name="T6" fmla="*/ 68 w 342"/>
                    <a:gd name="T7" fmla="*/ 200 h 504"/>
                    <a:gd name="T8" fmla="*/ 59 w 342"/>
                    <a:gd name="T9" fmla="*/ 159 h 504"/>
                    <a:gd name="T10" fmla="*/ 45 w 342"/>
                    <a:gd name="T11" fmla="*/ 122 h 504"/>
                    <a:gd name="T12" fmla="*/ 32 w 342"/>
                    <a:gd name="T13" fmla="*/ 95 h 504"/>
                    <a:gd name="T14" fmla="*/ 4 w 342"/>
                    <a:gd name="T15" fmla="*/ 63 h 504"/>
                    <a:gd name="T16" fmla="*/ 4 w 342"/>
                    <a:gd name="T17" fmla="*/ 36 h 504"/>
                    <a:gd name="T18" fmla="*/ 18 w 342"/>
                    <a:gd name="T19" fmla="*/ 31 h 504"/>
                    <a:gd name="T20" fmla="*/ 36 w 342"/>
                    <a:gd name="T21" fmla="*/ 31 h 504"/>
                    <a:gd name="T22" fmla="*/ 50 w 342"/>
                    <a:gd name="T23" fmla="*/ 31 h 504"/>
                    <a:gd name="T24" fmla="*/ 86 w 342"/>
                    <a:gd name="T25" fmla="*/ 27 h 504"/>
                    <a:gd name="T26" fmla="*/ 118 w 342"/>
                    <a:gd name="T27" fmla="*/ 4 h 504"/>
                    <a:gd name="T28" fmla="*/ 164 w 342"/>
                    <a:gd name="T29" fmla="*/ 0 h 504"/>
                    <a:gd name="T30" fmla="*/ 223 w 342"/>
                    <a:gd name="T31" fmla="*/ 9 h 504"/>
                    <a:gd name="T32" fmla="*/ 250 w 342"/>
                    <a:gd name="T33" fmla="*/ 45 h 504"/>
                    <a:gd name="T34" fmla="*/ 269 w 342"/>
                    <a:gd name="T35" fmla="*/ 104 h 504"/>
                    <a:gd name="T36" fmla="*/ 273 w 342"/>
                    <a:gd name="T37" fmla="*/ 141 h 504"/>
                    <a:gd name="T38" fmla="*/ 269 w 342"/>
                    <a:gd name="T39" fmla="*/ 286 h 504"/>
                    <a:gd name="T40" fmla="*/ 287 w 342"/>
                    <a:gd name="T41" fmla="*/ 340 h 504"/>
                    <a:gd name="T42" fmla="*/ 305 w 342"/>
                    <a:gd name="T43" fmla="*/ 372 h 504"/>
                    <a:gd name="T44" fmla="*/ 305 w 342"/>
                    <a:gd name="T45" fmla="*/ 377 h 504"/>
                    <a:gd name="T46" fmla="*/ 301 w 342"/>
                    <a:gd name="T47" fmla="*/ 386 h 504"/>
                    <a:gd name="T48" fmla="*/ 323 w 342"/>
                    <a:gd name="T49" fmla="*/ 422 h 504"/>
                    <a:gd name="T50" fmla="*/ 342 w 342"/>
                    <a:gd name="T51" fmla="*/ 459 h 504"/>
                    <a:gd name="T52" fmla="*/ 337 w 342"/>
                    <a:gd name="T53" fmla="*/ 454 h 504"/>
                    <a:gd name="T54" fmla="*/ 328 w 342"/>
                    <a:gd name="T55" fmla="*/ 454 h 504"/>
                    <a:gd name="T56" fmla="*/ 273 w 342"/>
                    <a:gd name="T57" fmla="*/ 468 h 504"/>
                    <a:gd name="T58" fmla="*/ 237 w 342"/>
                    <a:gd name="T59" fmla="*/ 504 h 504"/>
                    <a:gd name="T60" fmla="*/ 187 w 342"/>
                    <a:gd name="T61" fmla="*/ 477 h 504"/>
                    <a:gd name="T62" fmla="*/ 132 w 342"/>
                    <a:gd name="T63" fmla="*/ 459 h 504"/>
                    <a:gd name="T64" fmla="*/ 91 w 342"/>
                    <a:gd name="T65" fmla="*/ 431 h 504"/>
                    <a:gd name="T66" fmla="*/ 55 w 342"/>
                    <a:gd name="T67" fmla="*/ 409 h 504"/>
                    <a:gd name="T68" fmla="*/ 50 w 342"/>
                    <a:gd name="T69" fmla="*/ 386 h 504"/>
                    <a:gd name="T70" fmla="*/ 32 w 342"/>
                    <a:gd name="T71" fmla="*/ 363 h 504"/>
                    <a:gd name="T72" fmla="*/ 36 w 342"/>
                    <a:gd name="T73" fmla="*/ 368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2" h="504">
                      <a:moveTo>
                        <a:pt x="36" y="368"/>
                      </a:moveTo>
                      <a:lnTo>
                        <a:pt x="64" y="354"/>
                      </a:lnTo>
                      <a:lnTo>
                        <a:pt x="73" y="327"/>
                      </a:lnTo>
                      <a:lnTo>
                        <a:pt x="77" y="290"/>
                      </a:lnTo>
                      <a:lnTo>
                        <a:pt x="77" y="259"/>
                      </a:lnTo>
                      <a:lnTo>
                        <a:pt x="77" y="240"/>
                      </a:lnTo>
                      <a:lnTo>
                        <a:pt x="73" y="222"/>
                      </a:lnTo>
                      <a:lnTo>
                        <a:pt x="68" y="200"/>
                      </a:lnTo>
                      <a:lnTo>
                        <a:pt x="64" y="181"/>
                      </a:lnTo>
                      <a:lnTo>
                        <a:pt x="59" y="159"/>
                      </a:lnTo>
                      <a:lnTo>
                        <a:pt x="55" y="141"/>
                      </a:lnTo>
                      <a:lnTo>
                        <a:pt x="45" y="122"/>
                      </a:lnTo>
                      <a:lnTo>
                        <a:pt x="41" y="109"/>
                      </a:lnTo>
                      <a:lnTo>
                        <a:pt x="32" y="95"/>
                      </a:lnTo>
                      <a:lnTo>
                        <a:pt x="18" y="81"/>
                      </a:lnTo>
                      <a:lnTo>
                        <a:pt x="4" y="63"/>
                      </a:lnTo>
                      <a:lnTo>
                        <a:pt x="0" y="45"/>
                      </a:lnTo>
                      <a:lnTo>
                        <a:pt x="4" y="36"/>
                      </a:lnTo>
                      <a:lnTo>
                        <a:pt x="9" y="31"/>
                      </a:lnTo>
                      <a:lnTo>
                        <a:pt x="18" y="31"/>
                      </a:lnTo>
                      <a:lnTo>
                        <a:pt x="27" y="31"/>
                      </a:lnTo>
                      <a:lnTo>
                        <a:pt x="36" y="31"/>
                      </a:lnTo>
                      <a:lnTo>
                        <a:pt x="41" y="31"/>
                      </a:lnTo>
                      <a:lnTo>
                        <a:pt x="50" y="31"/>
                      </a:lnTo>
                      <a:lnTo>
                        <a:pt x="64" y="31"/>
                      </a:lnTo>
                      <a:lnTo>
                        <a:pt x="86" y="27"/>
                      </a:lnTo>
                      <a:lnTo>
                        <a:pt x="105" y="13"/>
                      </a:lnTo>
                      <a:lnTo>
                        <a:pt x="118" y="4"/>
                      </a:lnTo>
                      <a:lnTo>
                        <a:pt x="137" y="0"/>
                      </a:lnTo>
                      <a:lnTo>
                        <a:pt x="164" y="0"/>
                      </a:lnTo>
                      <a:lnTo>
                        <a:pt x="196" y="4"/>
                      </a:lnTo>
                      <a:lnTo>
                        <a:pt x="223" y="9"/>
                      </a:lnTo>
                      <a:lnTo>
                        <a:pt x="246" y="18"/>
                      </a:lnTo>
                      <a:lnTo>
                        <a:pt x="250" y="45"/>
                      </a:lnTo>
                      <a:lnTo>
                        <a:pt x="260" y="72"/>
                      </a:lnTo>
                      <a:lnTo>
                        <a:pt x="269" y="104"/>
                      </a:lnTo>
                      <a:lnTo>
                        <a:pt x="273" y="141"/>
                      </a:lnTo>
                      <a:lnTo>
                        <a:pt x="273" y="141"/>
                      </a:lnTo>
                      <a:lnTo>
                        <a:pt x="269" y="286"/>
                      </a:lnTo>
                      <a:lnTo>
                        <a:pt x="269" y="286"/>
                      </a:lnTo>
                      <a:lnTo>
                        <a:pt x="273" y="322"/>
                      </a:lnTo>
                      <a:lnTo>
                        <a:pt x="287" y="340"/>
                      </a:lnTo>
                      <a:lnTo>
                        <a:pt x="301" y="354"/>
                      </a:lnTo>
                      <a:lnTo>
                        <a:pt x="305" y="372"/>
                      </a:lnTo>
                      <a:lnTo>
                        <a:pt x="305" y="377"/>
                      </a:lnTo>
                      <a:lnTo>
                        <a:pt x="305" y="377"/>
                      </a:lnTo>
                      <a:lnTo>
                        <a:pt x="301" y="381"/>
                      </a:lnTo>
                      <a:lnTo>
                        <a:pt x="301" y="386"/>
                      </a:lnTo>
                      <a:lnTo>
                        <a:pt x="305" y="404"/>
                      </a:lnTo>
                      <a:lnTo>
                        <a:pt x="323" y="422"/>
                      </a:lnTo>
                      <a:lnTo>
                        <a:pt x="337" y="436"/>
                      </a:lnTo>
                      <a:lnTo>
                        <a:pt x="342" y="459"/>
                      </a:lnTo>
                      <a:lnTo>
                        <a:pt x="337" y="454"/>
                      </a:lnTo>
                      <a:lnTo>
                        <a:pt x="337" y="454"/>
                      </a:lnTo>
                      <a:lnTo>
                        <a:pt x="332" y="454"/>
                      </a:lnTo>
                      <a:lnTo>
                        <a:pt x="328" y="454"/>
                      </a:lnTo>
                      <a:lnTo>
                        <a:pt x="301" y="459"/>
                      </a:lnTo>
                      <a:lnTo>
                        <a:pt x="273" y="468"/>
                      </a:lnTo>
                      <a:lnTo>
                        <a:pt x="255" y="486"/>
                      </a:lnTo>
                      <a:lnTo>
                        <a:pt x="237" y="504"/>
                      </a:lnTo>
                      <a:lnTo>
                        <a:pt x="214" y="490"/>
                      </a:lnTo>
                      <a:lnTo>
                        <a:pt x="187" y="477"/>
                      </a:lnTo>
                      <a:lnTo>
                        <a:pt x="159" y="468"/>
                      </a:lnTo>
                      <a:lnTo>
                        <a:pt x="132" y="459"/>
                      </a:lnTo>
                      <a:lnTo>
                        <a:pt x="109" y="445"/>
                      </a:lnTo>
                      <a:lnTo>
                        <a:pt x="91" y="431"/>
                      </a:lnTo>
                      <a:lnTo>
                        <a:pt x="73" y="422"/>
                      </a:lnTo>
                      <a:lnTo>
                        <a:pt x="55" y="409"/>
                      </a:lnTo>
                      <a:lnTo>
                        <a:pt x="55" y="400"/>
                      </a:lnTo>
                      <a:lnTo>
                        <a:pt x="50" y="386"/>
                      </a:lnTo>
                      <a:lnTo>
                        <a:pt x="41" y="372"/>
                      </a:lnTo>
                      <a:lnTo>
                        <a:pt x="32" y="363"/>
                      </a:lnTo>
                      <a:lnTo>
                        <a:pt x="32" y="363"/>
                      </a:lnTo>
                      <a:lnTo>
                        <a:pt x="36" y="368"/>
                      </a:lnTo>
                      <a:lnTo>
                        <a:pt x="36" y="368"/>
                      </a:lnTo>
                      <a:close/>
                    </a:path>
                  </a:pathLst>
                </a:custGeom>
                <a:grp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66" name="Freeform 261">
                  <a:extLst>
                    <a:ext uri="{FF2B5EF4-FFF2-40B4-BE49-F238E27FC236}">
                      <a16:creationId xmlns="" xmlns:a16="http://schemas.microsoft.com/office/drawing/2014/main" id="{D7EF22F1-A6F3-4013-945E-E308EA815CFB}"/>
                    </a:ext>
                  </a:extLst>
                </p:cNvPr>
                <p:cNvSpPr>
                  <a:spLocks noChangeAspect="1"/>
                </p:cNvSpPr>
                <p:nvPr/>
              </p:nvSpPr>
              <p:spPr bwMode="auto">
                <a:xfrm>
                  <a:off x="1509" y="2232"/>
                  <a:ext cx="428" cy="600"/>
                </a:xfrm>
                <a:custGeom>
                  <a:avLst/>
                  <a:gdLst>
                    <a:gd name="T0" fmla="*/ 391 w 428"/>
                    <a:gd name="T1" fmla="*/ 595 h 600"/>
                    <a:gd name="T2" fmla="*/ 378 w 428"/>
                    <a:gd name="T3" fmla="*/ 600 h 600"/>
                    <a:gd name="T4" fmla="*/ 337 w 428"/>
                    <a:gd name="T5" fmla="*/ 595 h 600"/>
                    <a:gd name="T6" fmla="*/ 296 w 428"/>
                    <a:gd name="T7" fmla="*/ 563 h 600"/>
                    <a:gd name="T8" fmla="*/ 259 w 428"/>
                    <a:gd name="T9" fmla="*/ 522 h 600"/>
                    <a:gd name="T10" fmla="*/ 214 w 428"/>
                    <a:gd name="T11" fmla="*/ 491 h 600"/>
                    <a:gd name="T12" fmla="*/ 173 w 428"/>
                    <a:gd name="T13" fmla="*/ 468 h 600"/>
                    <a:gd name="T14" fmla="*/ 150 w 428"/>
                    <a:gd name="T15" fmla="*/ 427 h 600"/>
                    <a:gd name="T16" fmla="*/ 123 w 428"/>
                    <a:gd name="T17" fmla="*/ 400 h 600"/>
                    <a:gd name="T18" fmla="*/ 91 w 428"/>
                    <a:gd name="T19" fmla="*/ 372 h 600"/>
                    <a:gd name="T20" fmla="*/ 63 w 428"/>
                    <a:gd name="T21" fmla="*/ 350 h 600"/>
                    <a:gd name="T22" fmla="*/ 45 w 428"/>
                    <a:gd name="T23" fmla="*/ 336 h 600"/>
                    <a:gd name="T24" fmla="*/ 22 w 428"/>
                    <a:gd name="T25" fmla="*/ 332 h 600"/>
                    <a:gd name="T26" fmla="*/ 4 w 428"/>
                    <a:gd name="T27" fmla="*/ 327 h 600"/>
                    <a:gd name="T28" fmla="*/ 0 w 428"/>
                    <a:gd name="T29" fmla="*/ 300 h 600"/>
                    <a:gd name="T30" fmla="*/ 9 w 428"/>
                    <a:gd name="T31" fmla="*/ 277 h 600"/>
                    <a:gd name="T32" fmla="*/ 22 w 428"/>
                    <a:gd name="T33" fmla="*/ 272 h 600"/>
                    <a:gd name="T34" fmla="*/ 27 w 428"/>
                    <a:gd name="T35" fmla="*/ 272 h 600"/>
                    <a:gd name="T36" fmla="*/ 36 w 428"/>
                    <a:gd name="T37" fmla="*/ 272 h 600"/>
                    <a:gd name="T38" fmla="*/ 41 w 428"/>
                    <a:gd name="T39" fmla="*/ 259 h 600"/>
                    <a:gd name="T40" fmla="*/ 41 w 428"/>
                    <a:gd name="T41" fmla="*/ 254 h 600"/>
                    <a:gd name="T42" fmla="*/ 41 w 428"/>
                    <a:gd name="T43" fmla="*/ 245 h 600"/>
                    <a:gd name="T44" fmla="*/ 45 w 428"/>
                    <a:gd name="T45" fmla="*/ 236 h 600"/>
                    <a:gd name="T46" fmla="*/ 59 w 428"/>
                    <a:gd name="T47" fmla="*/ 236 h 600"/>
                    <a:gd name="T48" fmla="*/ 63 w 428"/>
                    <a:gd name="T49" fmla="*/ 222 h 600"/>
                    <a:gd name="T50" fmla="*/ 68 w 428"/>
                    <a:gd name="T51" fmla="*/ 209 h 600"/>
                    <a:gd name="T52" fmla="*/ 68 w 428"/>
                    <a:gd name="T53" fmla="*/ 200 h 600"/>
                    <a:gd name="T54" fmla="*/ 54 w 428"/>
                    <a:gd name="T55" fmla="*/ 186 h 600"/>
                    <a:gd name="T56" fmla="*/ 54 w 428"/>
                    <a:gd name="T57" fmla="*/ 172 h 600"/>
                    <a:gd name="T58" fmla="*/ 68 w 428"/>
                    <a:gd name="T59" fmla="*/ 159 h 600"/>
                    <a:gd name="T60" fmla="*/ 59 w 428"/>
                    <a:gd name="T61" fmla="*/ 141 h 600"/>
                    <a:gd name="T62" fmla="*/ 27 w 428"/>
                    <a:gd name="T63" fmla="*/ 109 h 600"/>
                    <a:gd name="T64" fmla="*/ 27 w 428"/>
                    <a:gd name="T65" fmla="*/ 82 h 600"/>
                    <a:gd name="T66" fmla="*/ 50 w 428"/>
                    <a:gd name="T67" fmla="*/ 59 h 600"/>
                    <a:gd name="T68" fmla="*/ 54 w 428"/>
                    <a:gd name="T69" fmla="*/ 41 h 600"/>
                    <a:gd name="T70" fmla="*/ 45 w 428"/>
                    <a:gd name="T71" fmla="*/ 32 h 600"/>
                    <a:gd name="T72" fmla="*/ 45 w 428"/>
                    <a:gd name="T73" fmla="*/ 13 h 600"/>
                    <a:gd name="T74" fmla="*/ 68 w 428"/>
                    <a:gd name="T75" fmla="*/ 0 h 600"/>
                    <a:gd name="T76" fmla="*/ 123 w 428"/>
                    <a:gd name="T77" fmla="*/ 9 h 600"/>
                    <a:gd name="T78" fmla="*/ 191 w 428"/>
                    <a:gd name="T79" fmla="*/ 59 h 600"/>
                    <a:gd name="T80" fmla="*/ 223 w 428"/>
                    <a:gd name="T81" fmla="*/ 104 h 600"/>
                    <a:gd name="T82" fmla="*/ 259 w 428"/>
                    <a:gd name="T83" fmla="*/ 127 h 600"/>
                    <a:gd name="T84" fmla="*/ 309 w 428"/>
                    <a:gd name="T85" fmla="*/ 150 h 600"/>
                    <a:gd name="T86" fmla="*/ 364 w 428"/>
                    <a:gd name="T87" fmla="*/ 172 h 600"/>
                    <a:gd name="T88" fmla="*/ 378 w 428"/>
                    <a:gd name="T89" fmla="*/ 204 h 600"/>
                    <a:gd name="T90" fmla="*/ 364 w 428"/>
                    <a:gd name="T91" fmla="*/ 241 h 600"/>
                    <a:gd name="T92" fmla="*/ 359 w 428"/>
                    <a:gd name="T93" fmla="*/ 272 h 600"/>
                    <a:gd name="T94" fmla="*/ 341 w 428"/>
                    <a:gd name="T95" fmla="*/ 282 h 600"/>
                    <a:gd name="T96" fmla="*/ 318 w 428"/>
                    <a:gd name="T97" fmla="*/ 282 h 600"/>
                    <a:gd name="T98" fmla="*/ 300 w 428"/>
                    <a:gd name="T99" fmla="*/ 282 h 600"/>
                    <a:gd name="T100" fmla="*/ 291 w 428"/>
                    <a:gd name="T101" fmla="*/ 282 h 600"/>
                    <a:gd name="T102" fmla="*/ 277 w 428"/>
                    <a:gd name="T103" fmla="*/ 291 h 600"/>
                    <a:gd name="T104" fmla="*/ 273 w 428"/>
                    <a:gd name="T105" fmla="*/ 304 h 600"/>
                    <a:gd name="T106" fmla="*/ 282 w 428"/>
                    <a:gd name="T107" fmla="*/ 309 h 600"/>
                    <a:gd name="T108" fmla="*/ 287 w 428"/>
                    <a:gd name="T109" fmla="*/ 322 h 600"/>
                    <a:gd name="T110" fmla="*/ 287 w 428"/>
                    <a:gd name="T111" fmla="*/ 336 h 600"/>
                    <a:gd name="T112" fmla="*/ 300 w 428"/>
                    <a:gd name="T113" fmla="*/ 368 h 600"/>
                    <a:gd name="T114" fmla="*/ 328 w 428"/>
                    <a:gd name="T115" fmla="*/ 413 h 600"/>
                    <a:gd name="T116" fmla="*/ 346 w 428"/>
                    <a:gd name="T117" fmla="*/ 482 h 600"/>
                    <a:gd name="T118" fmla="*/ 391 w 428"/>
                    <a:gd name="T119" fmla="*/ 532 h 600"/>
                    <a:gd name="T120" fmla="*/ 428 w 428"/>
                    <a:gd name="T121" fmla="*/ 541 h 600"/>
                    <a:gd name="T122" fmla="*/ 396 w 428"/>
                    <a:gd name="T123" fmla="*/ 586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8" h="600">
                      <a:moveTo>
                        <a:pt x="396" y="586"/>
                      </a:moveTo>
                      <a:lnTo>
                        <a:pt x="391" y="595"/>
                      </a:lnTo>
                      <a:lnTo>
                        <a:pt x="387" y="600"/>
                      </a:lnTo>
                      <a:lnTo>
                        <a:pt x="378" y="600"/>
                      </a:lnTo>
                      <a:lnTo>
                        <a:pt x="369" y="600"/>
                      </a:lnTo>
                      <a:lnTo>
                        <a:pt x="337" y="595"/>
                      </a:lnTo>
                      <a:lnTo>
                        <a:pt x="314" y="582"/>
                      </a:lnTo>
                      <a:lnTo>
                        <a:pt x="296" y="563"/>
                      </a:lnTo>
                      <a:lnTo>
                        <a:pt x="277" y="541"/>
                      </a:lnTo>
                      <a:lnTo>
                        <a:pt x="259" y="522"/>
                      </a:lnTo>
                      <a:lnTo>
                        <a:pt x="241" y="504"/>
                      </a:lnTo>
                      <a:lnTo>
                        <a:pt x="214" y="491"/>
                      </a:lnTo>
                      <a:lnTo>
                        <a:pt x="182" y="486"/>
                      </a:lnTo>
                      <a:lnTo>
                        <a:pt x="173" y="468"/>
                      </a:lnTo>
                      <a:lnTo>
                        <a:pt x="164" y="445"/>
                      </a:lnTo>
                      <a:lnTo>
                        <a:pt x="150" y="427"/>
                      </a:lnTo>
                      <a:lnTo>
                        <a:pt x="141" y="413"/>
                      </a:lnTo>
                      <a:lnTo>
                        <a:pt x="123" y="400"/>
                      </a:lnTo>
                      <a:lnTo>
                        <a:pt x="104" y="386"/>
                      </a:lnTo>
                      <a:lnTo>
                        <a:pt x="91" y="372"/>
                      </a:lnTo>
                      <a:lnTo>
                        <a:pt x="72" y="359"/>
                      </a:lnTo>
                      <a:lnTo>
                        <a:pt x="63" y="350"/>
                      </a:lnTo>
                      <a:lnTo>
                        <a:pt x="54" y="345"/>
                      </a:lnTo>
                      <a:lnTo>
                        <a:pt x="45" y="336"/>
                      </a:lnTo>
                      <a:lnTo>
                        <a:pt x="31" y="332"/>
                      </a:lnTo>
                      <a:lnTo>
                        <a:pt x="22" y="332"/>
                      </a:lnTo>
                      <a:lnTo>
                        <a:pt x="9" y="332"/>
                      </a:lnTo>
                      <a:lnTo>
                        <a:pt x="4" y="327"/>
                      </a:lnTo>
                      <a:lnTo>
                        <a:pt x="0" y="318"/>
                      </a:lnTo>
                      <a:lnTo>
                        <a:pt x="0" y="300"/>
                      </a:lnTo>
                      <a:lnTo>
                        <a:pt x="4" y="286"/>
                      </a:lnTo>
                      <a:lnTo>
                        <a:pt x="9" y="277"/>
                      </a:lnTo>
                      <a:lnTo>
                        <a:pt x="18" y="272"/>
                      </a:lnTo>
                      <a:lnTo>
                        <a:pt x="22" y="272"/>
                      </a:lnTo>
                      <a:lnTo>
                        <a:pt x="22" y="272"/>
                      </a:lnTo>
                      <a:lnTo>
                        <a:pt x="27" y="272"/>
                      </a:lnTo>
                      <a:lnTo>
                        <a:pt x="31" y="272"/>
                      </a:lnTo>
                      <a:lnTo>
                        <a:pt x="36" y="272"/>
                      </a:lnTo>
                      <a:lnTo>
                        <a:pt x="41" y="263"/>
                      </a:lnTo>
                      <a:lnTo>
                        <a:pt x="41" y="259"/>
                      </a:lnTo>
                      <a:lnTo>
                        <a:pt x="41" y="259"/>
                      </a:lnTo>
                      <a:lnTo>
                        <a:pt x="41" y="254"/>
                      </a:lnTo>
                      <a:lnTo>
                        <a:pt x="41" y="250"/>
                      </a:lnTo>
                      <a:lnTo>
                        <a:pt x="41" y="245"/>
                      </a:lnTo>
                      <a:lnTo>
                        <a:pt x="41" y="241"/>
                      </a:lnTo>
                      <a:lnTo>
                        <a:pt x="45" y="236"/>
                      </a:lnTo>
                      <a:lnTo>
                        <a:pt x="50" y="236"/>
                      </a:lnTo>
                      <a:lnTo>
                        <a:pt x="59" y="236"/>
                      </a:lnTo>
                      <a:lnTo>
                        <a:pt x="68" y="232"/>
                      </a:lnTo>
                      <a:lnTo>
                        <a:pt x="63" y="222"/>
                      </a:lnTo>
                      <a:lnTo>
                        <a:pt x="63" y="218"/>
                      </a:lnTo>
                      <a:lnTo>
                        <a:pt x="68" y="209"/>
                      </a:lnTo>
                      <a:lnTo>
                        <a:pt x="68" y="204"/>
                      </a:lnTo>
                      <a:lnTo>
                        <a:pt x="68" y="200"/>
                      </a:lnTo>
                      <a:lnTo>
                        <a:pt x="63" y="191"/>
                      </a:lnTo>
                      <a:lnTo>
                        <a:pt x="54" y="186"/>
                      </a:lnTo>
                      <a:lnTo>
                        <a:pt x="54" y="182"/>
                      </a:lnTo>
                      <a:lnTo>
                        <a:pt x="54" y="172"/>
                      </a:lnTo>
                      <a:lnTo>
                        <a:pt x="63" y="163"/>
                      </a:lnTo>
                      <a:lnTo>
                        <a:pt x="68" y="159"/>
                      </a:lnTo>
                      <a:lnTo>
                        <a:pt x="72" y="150"/>
                      </a:lnTo>
                      <a:lnTo>
                        <a:pt x="59" y="141"/>
                      </a:lnTo>
                      <a:lnTo>
                        <a:pt x="45" y="127"/>
                      </a:lnTo>
                      <a:lnTo>
                        <a:pt x="27" y="109"/>
                      </a:lnTo>
                      <a:lnTo>
                        <a:pt x="22" y="100"/>
                      </a:lnTo>
                      <a:lnTo>
                        <a:pt x="27" y="82"/>
                      </a:lnTo>
                      <a:lnTo>
                        <a:pt x="41" y="72"/>
                      </a:lnTo>
                      <a:lnTo>
                        <a:pt x="50" y="59"/>
                      </a:lnTo>
                      <a:lnTo>
                        <a:pt x="54" y="45"/>
                      </a:lnTo>
                      <a:lnTo>
                        <a:pt x="54" y="41"/>
                      </a:lnTo>
                      <a:lnTo>
                        <a:pt x="50" y="36"/>
                      </a:lnTo>
                      <a:lnTo>
                        <a:pt x="45" y="32"/>
                      </a:lnTo>
                      <a:lnTo>
                        <a:pt x="41" y="32"/>
                      </a:lnTo>
                      <a:lnTo>
                        <a:pt x="45" y="13"/>
                      </a:lnTo>
                      <a:lnTo>
                        <a:pt x="54" y="4"/>
                      </a:lnTo>
                      <a:lnTo>
                        <a:pt x="68" y="0"/>
                      </a:lnTo>
                      <a:lnTo>
                        <a:pt x="82" y="0"/>
                      </a:lnTo>
                      <a:lnTo>
                        <a:pt x="123" y="9"/>
                      </a:lnTo>
                      <a:lnTo>
                        <a:pt x="164" y="32"/>
                      </a:lnTo>
                      <a:lnTo>
                        <a:pt x="191" y="59"/>
                      </a:lnTo>
                      <a:lnTo>
                        <a:pt x="205" y="91"/>
                      </a:lnTo>
                      <a:lnTo>
                        <a:pt x="223" y="104"/>
                      </a:lnTo>
                      <a:lnTo>
                        <a:pt x="241" y="113"/>
                      </a:lnTo>
                      <a:lnTo>
                        <a:pt x="259" y="127"/>
                      </a:lnTo>
                      <a:lnTo>
                        <a:pt x="282" y="141"/>
                      </a:lnTo>
                      <a:lnTo>
                        <a:pt x="309" y="150"/>
                      </a:lnTo>
                      <a:lnTo>
                        <a:pt x="337" y="159"/>
                      </a:lnTo>
                      <a:lnTo>
                        <a:pt x="364" y="172"/>
                      </a:lnTo>
                      <a:lnTo>
                        <a:pt x="387" y="186"/>
                      </a:lnTo>
                      <a:lnTo>
                        <a:pt x="378" y="204"/>
                      </a:lnTo>
                      <a:lnTo>
                        <a:pt x="369" y="222"/>
                      </a:lnTo>
                      <a:lnTo>
                        <a:pt x="364" y="241"/>
                      </a:lnTo>
                      <a:lnTo>
                        <a:pt x="364" y="259"/>
                      </a:lnTo>
                      <a:lnTo>
                        <a:pt x="359" y="272"/>
                      </a:lnTo>
                      <a:lnTo>
                        <a:pt x="355" y="277"/>
                      </a:lnTo>
                      <a:lnTo>
                        <a:pt x="341" y="282"/>
                      </a:lnTo>
                      <a:lnTo>
                        <a:pt x="332" y="282"/>
                      </a:lnTo>
                      <a:lnTo>
                        <a:pt x="318" y="282"/>
                      </a:lnTo>
                      <a:lnTo>
                        <a:pt x="309" y="282"/>
                      </a:lnTo>
                      <a:lnTo>
                        <a:pt x="300" y="282"/>
                      </a:lnTo>
                      <a:lnTo>
                        <a:pt x="296" y="282"/>
                      </a:lnTo>
                      <a:lnTo>
                        <a:pt x="291" y="282"/>
                      </a:lnTo>
                      <a:lnTo>
                        <a:pt x="282" y="282"/>
                      </a:lnTo>
                      <a:lnTo>
                        <a:pt x="277" y="291"/>
                      </a:lnTo>
                      <a:lnTo>
                        <a:pt x="273" y="300"/>
                      </a:lnTo>
                      <a:lnTo>
                        <a:pt x="273" y="304"/>
                      </a:lnTo>
                      <a:lnTo>
                        <a:pt x="277" y="309"/>
                      </a:lnTo>
                      <a:lnTo>
                        <a:pt x="282" y="309"/>
                      </a:lnTo>
                      <a:lnTo>
                        <a:pt x="287" y="313"/>
                      </a:lnTo>
                      <a:lnTo>
                        <a:pt x="287" y="322"/>
                      </a:lnTo>
                      <a:lnTo>
                        <a:pt x="287" y="327"/>
                      </a:lnTo>
                      <a:lnTo>
                        <a:pt x="287" y="336"/>
                      </a:lnTo>
                      <a:lnTo>
                        <a:pt x="287" y="341"/>
                      </a:lnTo>
                      <a:lnTo>
                        <a:pt x="300" y="368"/>
                      </a:lnTo>
                      <a:lnTo>
                        <a:pt x="314" y="391"/>
                      </a:lnTo>
                      <a:lnTo>
                        <a:pt x="328" y="413"/>
                      </a:lnTo>
                      <a:lnTo>
                        <a:pt x="337" y="445"/>
                      </a:lnTo>
                      <a:lnTo>
                        <a:pt x="346" y="482"/>
                      </a:lnTo>
                      <a:lnTo>
                        <a:pt x="364" y="509"/>
                      </a:lnTo>
                      <a:lnTo>
                        <a:pt x="391" y="532"/>
                      </a:lnTo>
                      <a:lnTo>
                        <a:pt x="428" y="541"/>
                      </a:lnTo>
                      <a:lnTo>
                        <a:pt x="428" y="541"/>
                      </a:lnTo>
                      <a:lnTo>
                        <a:pt x="396" y="586"/>
                      </a:lnTo>
                      <a:lnTo>
                        <a:pt x="396" y="586"/>
                      </a:lnTo>
                      <a:close/>
                    </a:path>
                  </a:pathLst>
                </a:custGeom>
                <a:grp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67" name="Freeform 262">
                  <a:extLst>
                    <a:ext uri="{FF2B5EF4-FFF2-40B4-BE49-F238E27FC236}">
                      <a16:creationId xmlns="" xmlns:a16="http://schemas.microsoft.com/office/drawing/2014/main" id="{8E5EC407-4685-4BEF-8091-65B24A6845D7}"/>
                    </a:ext>
                  </a:extLst>
                </p:cNvPr>
                <p:cNvSpPr>
                  <a:spLocks noChangeAspect="1"/>
                </p:cNvSpPr>
                <p:nvPr/>
              </p:nvSpPr>
              <p:spPr bwMode="auto">
                <a:xfrm>
                  <a:off x="1782" y="2354"/>
                  <a:ext cx="433" cy="419"/>
                </a:xfrm>
                <a:custGeom>
                  <a:avLst/>
                  <a:gdLst>
                    <a:gd name="T0" fmla="*/ 118 w 433"/>
                    <a:gd name="T1" fmla="*/ 410 h 419"/>
                    <a:gd name="T2" fmla="*/ 73 w 433"/>
                    <a:gd name="T3" fmla="*/ 360 h 419"/>
                    <a:gd name="T4" fmla="*/ 55 w 433"/>
                    <a:gd name="T5" fmla="*/ 291 h 419"/>
                    <a:gd name="T6" fmla="*/ 27 w 433"/>
                    <a:gd name="T7" fmla="*/ 246 h 419"/>
                    <a:gd name="T8" fmla="*/ 14 w 433"/>
                    <a:gd name="T9" fmla="*/ 214 h 419"/>
                    <a:gd name="T10" fmla="*/ 14 w 433"/>
                    <a:gd name="T11" fmla="*/ 200 h 419"/>
                    <a:gd name="T12" fmla="*/ 9 w 433"/>
                    <a:gd name="T13" fmla="*/ 187 h 419"/>
                    <a:gd name="T14" fmla="*/ 0 w 433"/>
                    <a:gd name="T15" fmla="*/ 182 h 419"/>
                    <a:gd name="T16" fmla="*/ 4 w 433"/>
                    <a:gd name="T17" fmla="*/ 169 h 419"/>
                    <a:gd name="T18" fmla="*/ 18 w 433"/>
                    <a:gd name="T19" fmla="*/ 160 h 419"/>
                    <a:gd name="T20" fmla="*/ 27 w 433"/>
                    <a:gd name="T21" fmla="*/ 160 h 419"/>
                    <a:gd name="T22" fmla="*/ 45 w 433"/>
                    <a:gd name="T23" fmla="*/ 160 h 419"/>
                    <a:gd name="T24" fmla="*/ 68 w 433"/>
                    <a:gd name="T25" fmla="*/ 160 h 419"/>
                    <a:gd name="T26" fmla="*/ 86 w 433"/>
                    <a:gd name="T27" fmla="*/ 150 h 419"/>
                    <a:gd name="T28" fmla="*/ 100 w 433"/>
                    <a:gd name="T29" fmla="*/ 91 h 419"/>
                    <a:gd name="T30" fmla="*/ 159 w 433"/>
                    <a:gd name="T31" fmla="*/ 23 h 419"/>
                    <a:gd name="T32" fmla="*/ 223 w 433"/>
                    <a:gd name="T33" fmla="*/ 19 h 419"/>
                    <a:gd name="T34" fmla="*/ 241 w 433"/>
                    <a:gd name="T35" fmla="*/ 32 h 419"/>
                    <a:gd name="T36" fmla="*/ 273 w 433"/>
                    <a:gd name="T37" fmla="*/ 32 h 419"/>
                    <a:gd name="T38" fmla="*/ 282 w 433"/>
                    <a:gd name="T39" fmla="*/ 5 h 419"/>
                    <a:gd name="T40" fmla="*/ 305 w 433"/>
                    <a:gd name="T41" fmla="*/ 5 h 419"/>
                    <a:gd name="T42" fmla="*/ 319 w 433"/>
                    <a:gd name="T43" fmla="*/ 19 h 419"/>
                    <a:gd name="T44" fmla="*/ 351 w 433"/>
                    <a:gd name="T45" fmla="*/ 23 h 419"/>
                    <a:gd name="T46" fmla="*/ 383 w 433"/>
                    <a:gd name="T47" fmla="*/ 10 h 419"/>
                    <a:gd name="T48" fmla="*/ 410 w 433"/>
                    <a:gd name="T49" fmla="*/ 28 h 419"/>
                    <a:gd name="T50" fmla="*/ 428 w 433"/>
                    <a:gd name="T51" fmla="*/ 64 h 419"/>
                    <a:gd name="T52" fmla="*/ 428 w 433"/>
                    <a:gd name="T53" fmla="*/ 87 h 419"/>
                    <a:gd name="T54" fmla="*/ 414 w 433"/>
                    <a:gd name="T55" fmla="*/ 100 h 419"/>
                    <a:gd name="T56" fmla="*/ 405 w 433"/>
                    <a:gd name="T57" fmla="*/ 114 h 419"/>
                    <a:gd name="T58" fmla="*/ 405 w 433"/>
                    <a:gd name="T59" fmla="*/ 128 h 419"/>
                    <a:gd name="T60" fmla="*/ 387 w 433"/>
                    <a:gd name="T61" fmla="*/ 150 h 419"/>
                    <a:gd name="T62" fmla="*/ 351 w 433"/>
                    <a:gd name="T63" fmla="*/ 173 h 419"/>
                    <a:gd name="T64" fmla="*/ 346 w 433"/>
                    <a:gd name="T65" fmla="*/ 196 h 419"/>
                    <a:gd name="T66" fmla="*/ 351 w 433"/>
                    <a:gd name="T67" fmla="*/ 200 h 419"/>
                    <a:gd name="T68" fmla="*/ 328 w 433"/>
                    <a:gd name="T69" fmla="*/ 219 h 419"/>
                    <a:gd name="T70" fmla="*/ 301 w 433"/>
                    <a:gd name="T71" fmla="*/ 260 h 419"/>
                    <a:gd name="T72" fmla="*/ 273 w 433"/>
                    <a:gd name="T73" fmla="*/ 296 h 419"/>
                    <a:gd name="T74" fmla="*/ 237 w 433"/>
                    <a:gd name="T75" fmla="*/ 319 h 419"/>
                    <a:gd name="T76" fmla="*/ 223 w 433"/>
                    <a:gd name="T77" fmla="*/ 364 h 419"/>
                    <a:gd name="T78" fmla="*/ 209 w 433"/>
                    <a:gd name="T79" fmla="*/ 391 h 419"/>
                    <a:gd name="T80" fmla="*/ 187 w 433"/>
                    <a:gd name="T81" fmla="*/ 414 h 419"/>
                    <a:gd name="T82" fmla="*/ 159 w 433"/>
                    <a:gd name="T83" fmla="*/ 419 h 419"/>
                    <a:gd name="T84" fmla="*/ 150 w 433"/>
                    <a:gd name="T85" fmla="*/ 419 h 419"/>
                    <a:gd name="T86" fmla="*/ 155 w 433"/>
                    <a:gd name="T8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3" h="419">
                      <a:moveTo>
                        <a:pt x="155" y="419"/>
                      </a:moveTo>
                      <a:lnTo>
                        <a:pt x="118" y="410"/>
                      </a:lnTo>
                      <a:lnTo>
                        <a:pt x="91" y="387"/>
                      </a:lnTo>
                      <a:lnTo>
                        <a:pt x="73" y="360"/>
                      </a:lnTo>
                      <a:lnTo>
                        <a:pt x="64" y="323"/>
                      </a:lnTo>
                      <a:lnTo>
                        <a:pt x="55" y="291"/>
                      </a:lnTo>
                      <a:lnTo>
                        <a:pt x="41" y="269"/>
                      </a:lnTo>
                      <a:lnTo>
                        <a:pt x="27" y="246"/>
                      </a:lnTo>
                      <a:lnTo>
                        <a:pt x="14" y="219"/>
                      </a:lnTo>
                      <a:lnTo>
                        <a:pt x="14" y="214"/>
                      </a:lnTo>
                      <a:lnTo>
                        <a:pt x="14" y="205"/>
                      </a:lnTo>
                      <a:lnTo>
                        <a:pt x="14" y="200"/>
                      </a:lnTo>
                      <a:lnTo>
                        <a:pt x="14" y="191"/>
                      </a:lnTo>
                      <a:lnTo>
                        <a:pt x="9" y="187"/>
                      </a:lnTo>
                      <a:lnTo>
                        <a:pt x="4" y="187"/>
                      </a:lnTo>
                      <a:lnTo>
                        <a:pt x="0" y="182"/>
                      </a:lnTo>
                      <a:lnTo>
                        <a:pt x="0" y="178"/>
                      </a:lnTo>
                      <a:lnTo>
                        <a:pt x="4" y="169"/>
                      </a:lnTo>
                      <a:lnTo>
                        <a:pt x="9" y="160"/>
                      </a:lnTo>
                      <a:lnTo>
                        <a:pt x="18" y="160"/>
                      </a:lnTo>
                      <a:lnTo>
                        <a:pt x="23" y="160"/>
                      </a:lnTo>
                      <a:lnTo>
                        <a:pt x="27" y="160"/>
                      </a:lnTo>
                      <a:lnTo>
                        <a:pt x="36" y="160"/>
                      </a:lnTo>
                      <a:lnTo>
                        <a:pt x="45" y="160"/>
                      </a:lnTo>
                      <a:lnTo>
                        <a:pt x="59" y="160"/>
                      </a:lnTo>
                      <a:lnTo>
                        <a:pt x="68" y="160"/>
                      </a:lnTo>
                      <a:lnTo>
                        <a:pt x="82" y="155"/>
                      </a:lnTo>
                      <a:lnTo>
                        <a:pt x="86" y="150"/>
                      </a:lnTo>
                      <a:lnTo>
                        <a:pt x="91" y="137"/>
                      </a:lnTo>
                      <a:lnTo>
                        <a:pt x="100" y="91"/>
                      </a:lnTo>
                      <a:lnTo>
                        <a:pt x="123" y="50"/>
                      </a:lnTo>
                      <a:lnTo>
                        <a:pt x="159" y="23"/>
                      </a:lnTo>
                      <a:lnTo>
                        <a:pt x="205" y="14"/>
                      </a:lnTo>
                      <a:lnTo>
                        <a:pt x="223" y="19"/>
                      </a:lnTo>
                      <a:lnTo>
                        <a:pt x="232" y="23"/>
                      </a:lnTo>
                      <a:lnTo>
                        <a:pt x="241" y="32"/>
                      </a:lnTo>
                      <a:lnTo>
                        <a:pt x="260" y="37"/>
                      </a:lnTo>
                      <a:lnTo>
                        <a:pt x="273" y="32"/>
                      </a:lnTo>
                      <a:lnTo>
                        <a:pt x="278" y="19"/>
                      </a:lnTo>
                      <a:lnTo>
                        <a:pt x="282" y="5"/>
                      </a:lnTo>
                      <a:lnTo>
                        <a:pt x="291" y="0"/>
                      </a:lnTo>
                      <a:lnTo>
                        <a:pt x="305" y="5"/>
                      </a:lnTo>
                      <a:lnTo>
                        <a:pt x="314" y="10"/>
                      </a:lnTo>
                      <a:lnTo>
                        <a:pt x="319" y="19"/>
                      </a:lnTo>
                      <a:lnTo>
                        <a:pt x="332" y="23"/>
                      </a:lnTo>
                      <a:lnTo>
                        <a:pt x="351" y="23"/>
                      </a:lnTo>
                      <a:lnTo>
                        <a:pt x="364" y="14"/>
                      </a:lnTo>
                      <a:lnTo>
                        <a:pt x="383" y="10"/>
                      </a:lnTo>
                      <a:lnTo>
                        <a:pt x="401" y="10"/>
                      </a:lnTo>
                      <a:lnTo>
                        <a:pt x="410" y="28"/>
                      </a:lnTo>
                      <a:lnTo>
                        <a:pt x="419" y="46"/>
                      </a:lnTo>
                      <a:lnTo>
                        <a:pt x="428" y="64"/>
                      </a:lnTo>
                      <a:lnTo>
                        <a:pt x="433" y="82"/>
                      </a:lnTo>
                      <a:lnTo>
                        <a:pt x="428" y="87"/>
                      </a:lnTo>
                      <a:lnTo>
                        <a:pt x="424" y="96"/>
                      </a:lnTo>
                      <a:lnTo>
                        <a:pt x="414" y="100"/>
                      </a:lnTo>
                      <a:lnTo>
                        <a:pt x="410" y="105"/>
                      </a:lnTo>
                      <a:lnTo>
                        <a:pt x="405" y="114"/>
                      </a:lnTo>
                      <a:lnTo>
                        <a:pt x="405" y="119"/>
                      </a:lnTo>
                      <a:lnTo>
                        <a:pt x="405" y="128"/>
                      </a:lnTo>
                      <a:lnTo>
                        <a:pt x="401" y="137"/>
                      </a:lnTo>
                      <a:lnTo>
                        <a:pt x="387" y="150"/>
                      </a:lnTo>
                      <a:lnTo>
                        <a:pt x="369" y="160"/>
                      </a:lnTo>
                      <a:lnTo>
                        <a:pt x="351" y="173"/>
                      </a:lnTo>
                      <a:lnTo>
                        <a:pt x="346" y="191"/>
                      </a:lnTo>
                      <a:lnTo>
                        <a:pt x="346" y="196"/>
                      </a:lnTo>
                      <a:lnTo>
                        <a:pt x="351" y="200"/>
                      </a:lnTo>
                      <a:lnTo>
                        <a:pt x="351" y="200"/>
                      </a:lnTo>
                      <a:lnTo>
                        <a:pt x="355" y="200"/>
                      </a:lnTo>
                      <a:lnTo>
                        <a:pt x="328" y="219"/>
                      </a:lnTo>
                      <a:lnTo>
                        <a:pt x="310" y="237"/>
                      </a:lnTo>
                      <a:lnTo>
                        <a:pt x="301" y="260"/>
                      </a:lnTo>
                      <a:lnTo>
                        <a:pt x="287" y="282"/>
                      </a:lnTo>
                      <a:lnTo>
                        <a:pt x="273" y="296"/>
                      </a:lnTo>
                      <a:lnTo>
                        <a:pt x="255" y="305"/>
                      </a:lnTo>
                      <a:lnTo>
                        <a:pt x="237" y="319"/>
                      </a:lnTo>
                      <a:lnTo>
                        <a:pt x="228" y="346"/>
                      </a:lnTo>
                      <a:lnTo>
                        <a:pt x="223" y="364"/>
                      </a:lnTo>
                      <a:lnTo>
                        <a:pt x="214" y="378"/>
                      </a:lnTo>
                      <a:lnTo>
                        <a:pt x="209" y="391"/>
                      </a:lnTo>
                      <a:lnTo>
                        <a:pt x="196" y="405"/>
                      </a:lnTo>
                      <a:lnTo>
                        <a:pt x="187" y="414"/>
                      </a:lnTo>
                      <a:lnTo>
                        <a:pt x="173" y="414"/>
                      </a:lnTo>
                      <a:lnTo>
                        <a:pt x="159" y="419"/>
                      </a:lnTo>
                      <a:lnTo>
                        <a:pt x="150" y="419"/>
                      </a:lnTo>
                      <a:lnTo>
                        <a:pt x="150" y="419"/>
                      </a:lnTo>
                      <a:lnTo>
                        <a:pt x="155" y="419"/>
                      </a:lnTo>
                      <a:lnTo>
                        <a:pt x="155" y="419"/>
                      </a:lnTo>
                      <a:close/>
                    </a:path>
                  </a:pathLst>
                </a:custGeom>
                <a:grp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grpSp>
          <p:grpSp>
            <p:nvGrpSpPr>
              <p:cNvPr id="53" name="Group 263">
                <a:extLst>
                  <a:ext uri="{FF2B5EF4-FFF2-40B4-BE49-F238E27FC236}">
                    <a16:creationId xmlns="" xmlns:a16="http://schemas.microsoft.com/office/drawing/2014/main" id="{1E1223C0-E7F7-409F-AB11-989ED647AE99}"/>
                  </a:ext>
                </a:extLst>
              </p:cNvPr>
              <p:cNvGrpSpPr>
                <a:grpSpLocks noChangeAspect="1"/>
              </p:cNvGrpSpPr>
              <p:nvPr/>
            </p:nvGrpSpPr>
            <p:grpSpPr bwMode="auto">
              <a:xfrm>
                <a:off x="3229" y="2404"/>
                <a:ext cx="460" cy="543"/>
                <a:chOff x="2128" y="2223"/>
                <a:chExt cx="633" cy="691"/>
              </a:xfrm>
              <a:grpFill/>
            </p:grpSpPr>
            <p:sp>
              <p:nvSpPr>
                <p:cNvPr id="61" name="Freeform 264">
                  <a:extLst>
                    <a:ext uri="{FF2B5EF4-FFF2-40B4-BE49-F238E27FC236}">
                      <a16:creationId xmlns="" xmlns:a16="http://schemas.microsoft.com/office/drawing/2014/main" id="{38FA0000-B598-43C3-BDA5-3BF455A9E3F7}"/>
                    </a:ext>
                  </a:extLst>
                </p:cNvPr>
                <p:cNvSpPr>
                  <a:spLocks noChangeAspect="1"/>
                </p:cNvSpPr>
                <p:nvPr/>
              </p:nvSpPr>
              <p:spPr bwMode="auto">
                <a:xfrm>
                  <a:off x="2128" y="2241"/>
                  <a:ext cx="405" cy="445"/>
                </a:xfrm>
                <a:custGeom>
                  <a:avLst/>
                  <a:gdLst>
                    <a:gd name="T0" fmla="*/ 223 w 405"/>
                    <a:gd name="T1" fmla="*/ 418 h 445"/>
                    <a:gd name="T2" fmla="*/ 278 w 405"/>
                    <a:gd name="T3" fmla="*/ 395 h 445"/>
                    <a:gd name="T4" fmla="*/ 324 w 405"/>
                    <a:gd name="T5" fmla="*/ 368 h 445"/>
                    <a:gd name="T6" fmla="*/ 378 w 405"/>
                    <a:gd name="T7" fmla="*/ 341 h 445"/>
                    <a:gd name="T8" fmla="*/ 396 w 405"/>
                    <a:gd name="T9" fmla="*/ 318 h 445"/>
                    <a:gd name="T10" fmla="*/ 387 w 405"/>
                    <a:gd name="T11" fmla="*/ 291 h 445"/>
                    <a:gd name="T12" fmla="*/ 374 w 405"/>
                    <a:gd name="T13" fmla="*/ 277 h 445"/>
                    <a:gd name="T14" fmla="*/ 355 w 405"/>
                    <a:gd name="T15" fmla="*/ 273 h 445"/>
                    <a:gd name="T16" fmla="*/ 342 w 405"/>
                    <a:gd name="T17" fmla="*/ 263 h 445"/>
                    <a:gd name="T18" fmla="*/ 319 w 405"/>
                    <a:gd name="T19" fmla="*/ 245 h 445"/>
                    <a:gd name="T20" fmla="*/ 314 w 405"/>
                    <a:gd name="T21" fmla="*/ 236 h 445"/>
                    <a:gd name="T22" fmla="*/ 314 w 405"/>
                    <a:gd name="T23" fmla="*/ 223 h 445"/>
                    <a:gd name="T24" fmla="*/ 301 w 405"/>
                    <a:gd name="T25" fmla="*/ 218 h 445"/>
                    <a:gd name="T26" fmla="*/ 278 w 405"/>
                    <a:gd name="T27" fmla="*/ 218 h 445"/>
                    <a:gd name="T28" fmla="*/ 278 w 405"/>
                    <a:gd name="T29" fmla="*/ 204 h 445"/>
                    <a:gd name="T30" fmla="*/ 287 w 405"/>
                    <a:gd name="T31" fmla="*/ 186 h 445"/>
                    <a:gd name="T32" fmla="*/ 287 w 405"/>
                    <a:gd name="T33" fmla="*/ 145 h 445"/>
                    <a:gd name="T34" fmla="*/ 255 w 405"/>
                    <a:gd name="T35" fmla="*/ 104 h 445"/>
                    <a:gd name="T36" fmla="*/ 251 w 405"/>
                    <a:gd name="T37" fmla="*/ 54 h 445"/>
                    <a:gd name="T38" fmla="*/ 255 w 405"/>
                    <a:gd name="T39" fmla="*/ 23 h 445"/>
                    <a:gd name="T40" fmla="*/ 242 w 405"/>
                    <a:gd name="T41" fmla="*/ 9 h 445"/>
                    <a:gd name="T42" fmla="*/ 210 w 405"/>
                    <a:gd name="T43" fmla="*/ 0 h 445"/>
                    <a:gd name="T44" fmla="*/ 187 w 405"/>
                    <a:gd name="T45" fmla="*/ 0 h 445"/>
                    <a:gd name="T46" fmla="*/ 173 w 405"/>
                    <a:gd name="T47" fmla="*/ 9 h 445"/>
                    <a:gd name="T48" fmla="*/ 146 w 405"/>
                    <a:gd name="T49" fmla="*/ 18 h 445"/>
                    <a:gd name="T50" fmla="*/ 109 w 405"/>
                    <a:gd name="T51" fmla="*/ 45 h 445"/>
                    <a:gd name="T52" fmla="*/ 82 w 405"/>
                    <a:gd name="T53" fmla="*/ 63 h 445"/>
                    <a:gd name="T54" fmla="*/ 64 w 405"/>
                    <a:gd name="T55" fmla="*/ 68 h 445"/>
                    <a:gd name="T56" fmla="*/ 55 w 405"/>
                    <a:gd name="T57" fmla="*/ 82 h 445"/>
                    <a:gd name="T58" fmla="*/ 55 w 405"/>
                    <a:gd name="T59" fmla="*/ 100 h 445"/>
                    <a:gd name="T60" fmla="*/ 59 w 405"/>
                    <a:gd name="T61" fmla="*/ 136 h 445"/>
                    <a:gd name="T62" fmla="*/ 82 w 405"/>
                    <a:gd name="T63" fmla="*/ 173 h 445"/>
                    <a:gd name="T64" fmla="*/ 82 w 405"/>
                    <a:gd name="T65" fmla="*/ 200 h 445"/>
                    <a:gd name="T66" fmla="*/ 68 w 405"/>
                    <a:gd name="T67" fmla="*/ 213 h 445"/>
                    <a:gd name="T68" fmla="*/ 59 w 405"/>
                    <a:gd name="T69" fmla="*/ 227 h 445"/>
                    <a:gd name="T70" fmla="*/ 59 w 405"/>
                    <a:gd name="T71" fmla="*/ 241 h 445"/>
                    <a:gd name="T72" fmla="*/ 41 w 405"/>
                    <a:gd name="T73" fmla="*/ 263 h 445"/>
                    <a:gd name="T74" fmla="*/ 5 w 405"/>
                    <a:gd name="T75" fmla="*/ 286 h 445"/>
                    <a:gd name="T76" fmla="*/ 5 w 405"/>
                    <a:gd name="T77" fmla="*/ 313 h 445"/>
                    <a:gd name="T78" fmla="*/ 32 w 405"/>
                    <a:gd name="T79" fmla="*/ 323 h 445"/>
                    <a:gd name="T80" fmla="*/ 41 w 405"/>
                    <a:gd name="T81" fmla="*/ 336 h 445"/>
                    <a:gd name="T82" fmla="*/ 46 w 405"/>
                    <a:gd name="T83" fmla="*/ 350 h 445"/>
                    <a:gd name="T84" fmla="*/ 55 w 405"/>
                    <a:gd name="T85" fmla="*/ 363 h 445"/>
                    <a:gd name="T86" fmla="*/ 87 w 405"/>
                    <a:gd name="T87" fmla="*/ 368 h 445"/>
                    <a:gd name="T88" fmla="*/ 132 w 405"/>
                    <a:gd name="T89" fmla="*/ 391 h 445"/>
                    <a:gd name="T90" fmla="*/ 182 w 405"/>
                    <a:gd name="T91" fmla="*/ 432 h 445"/>
                    <a:gd name="T92" fmla="*/ 210 w 405"/>
                    <a:gd name="T93" fmla="*/ 445 h 445"/>
                    <a:gd name="T94" fmla="*/ 210 w 405"/>
                    <a:gd name="T95" fmla="*/ 441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5" h="445">
                      <a:moveTo>
                        <a:pt x="210" y="441"/>
                      </a:moveTo>
                      <a:lnTo>
                        <a:pt x="223" y="418"/>
                      </a:lnTo>
                      <a:lnTo>
                        <a:pt x="251" y="404"/>
                      </a:lnTo>
                      <a:lnTo>
                        <a:pt x="278" y="395"/>
                      </a:lnTo>
                      <a:lnTo>
                        <a:pt x="301" y="386"/>
                      </a:lnTo>
                      <a:lnTo>
                        <a:pt x="324" y="368"/>
                      </a:lnTo>
                      <a:lnTo>
                        <a:pt x="351" y="354"/>
                      </a:lnTo>
                      <a:lnTo>
                        <a:pt x="378" y="341"/>
                      </a:lnTo>
                      <a:lnTo>
                        <a:pt x="405" y="323"/>
                      </a:lnTo>
                      <a:lnTo>
                        <a:pt x="396" y="318"/>
                      </a:lnTo>
                      <a:lnTo>
                        <a:pt x="392" y="304"/>
                      </a:lnTo>
                      <a:lnTo>
                        <a:pt x="387" y="291"/>
                      </a:lnTo>
                      <a:lnTo>
                        <a:pt x="383" y="282"/>
                      </a:lnTo>
                      <a:lnTo>
                        <a:pt x="374" y="277"/>
                      </a:lnTo>
                      <a:lnTo>
                        <a:pt x="364" y="273"/>
                      </a:lnTo>
                      <a:lnTo>
                        <a:pt x="355" y="273"/>
                      </a:lnTo>
                      <a:lnTo>
                        <a:pt x="346" y="268"/>
                      </a:lnTo>
                      <a:lnTo>
                        <a:pt x="342" y="263"/>
                      </a:lnTo>
                      <a:lnTo>
                        <a:pt x="333" y="254"/>
                      </a:lnTo>
                      <a:lnTo>
                        <a:pt x="319" y="245"/>
                      </a:lnTo>
                      <a:lnTo>
                        <a:pt x="314" y="241"/>
                      </a:lnTo>
                      <a:lnTo>
                        <a:pt x="314" y="236"/>
                      </a:lnTo>
                      <a:lnTo>
                        <a:pt x="314" y="227"/>
                      </a:lnTo>
                      <a:lnTo>
                        <a:pt x="314" y="223"/>
                      </a:lnTo>
                      <a:lnTo>
                        <a:pt x="310" y="218"/>
                      </a:lnTo>
                      <a:lnTo>
                        <a:pt x="301" y="218"/>
                      </a:lnTo>
                      <a:lnTo>
                        <a:pt x="287" y="218"/>
                      </a:lnTo>
                      <a:lnTo>
                        <a:pt x="278" y="218"/>
                      </a:lnTo>
                      <a:lnTo>
                        <a:pt x="273" y="213"/>
                      </a:lnTo>
                      <a:lnTo>
                        <a:pt x="278" y="204"/>
                      </a:lnTo>
                      <a:lnTo>
                        <a:pt x="283" y="195"/>
                      </a:lnTo>
                      <a:lnTo>
                        <a:pt x="287" y="186"/>
                      </a:lnTo>
                      <a:lnTo>
                        <a:pt x="292" y="173"/>
                      </a:lnTo>
                      <a:lnTo>
                        <a:pt x="287" y="145"/>
                      </a:lnTo>
                      <a:lnTo>
                        <a:pt x="273" y="123"/>
                      </a:lnTo>
                      <a:lnTo>
                        <a:pt x="255" y="104"/>
                      </a:lnTo>
                      <a:lnTo>
                        <a:pt x="251" y="77"/>
                      </a:lnTo>
                      <a:lnTo>
                        <a:pt x="251" y="54"/>
                      </a:lnTo>
                      <a:lnTo>
                        <a:pt x="251" y="36"/>
                      </a:lnTo>
                      <a:lnTo>
                        <a:pt x="255" y="23"/>
                      </a:lnTo>
                      <a:lnTo>
                        <a:pt x="264" y="13"/>
                      </a:lnTo>
                      <a:lnTo>
                        <a:pt x="242" y="9"/>
                      </a:lnTo>
                      <a:lnTo>
                        <a:pt x="228" y="4"/>
                      </a:lnTo>
                      <a:lnTo>
                        <a:pt x="210" y="0"/>
                      </a:lnTo>
                      <a:lnTo>
                        <a:pt x="196" y="0"/>
                      </a:lnTo>
                      <a:lnTo>
                        <a:pt x="187" y="0"/>
                      </a:lnTo>
                      <a:lnTo>
                        <a:pt x="182" y="4"/>
                      </a:lnTo>
                      <a:lnTo>
                        <a:pt x="173" y="9"/>
                      </a:lnTo>
                      <a:lnTo>
                        <a:pt x="169" y="9"/>
                      </a:lnTo>
                      <a:lnTo>
                        <a:pt x="146" y="18"/>
                      </a:lnTo>
                      <a:lnTo>
                        <a:pt x="123" y="32"/>
                      </a:lnTo>
                      <a:lnTo>
                        <a:pt x="109" y="45"/>
                      </a:lnTo>
                      <a:lnTo>
                        <a:pt x="91" y="59"/>
                      </a:lnTo>
                      <a:lnTo>
                        <a:pt x="82" y="63"/>
                      </a:lnTo>
                      <a:lnTo>
                        <a:pt x="73" y="63"/>
                      </a:lnTo>
                      <a:lnTo>
                        <a:pt x="64" y="68"/>
                      </a:lnTo>
                      <a:lnTo>
                        <a:pt x="59" y="73"/>
                      </a:lnTo>
                      <a:lnTo>
                        <a:pt x="55" y="82"/>
                      </a:lnTo>
                      <a:lnTo>
                        <a:pt x="55" y="91"/>
                      </a:lnTo>
                      <a:lnTo>
                        <a:pt x="55" y="100"/>
                      </a:lnTo>
                      <a:lnTo>
                        <a:pt x="55" y="109"/>
                      </a:lnTo>
                      <a:lnTo>
                        <a:pt x="59" y="136"/>
                      </a:lnTo>
                      <a:lnTo>
                        <a:pt x="73" y="154"/>
                      </a:lnTo>
                      <a:lnTo>
                        <a:pt x="82" y="173"/>
                      </a:lnTo>
                      <a:lnTo>
                        <a:pt x="87" y="195"/>
                      </a:lnTo>
                      <a:lnTo>
                        <a:pt x="82" y="200"/>
                      </a:lnTo>
                      <a:lnTo>
                        <a:pt x="78" y="209"/>
                      </a:lnTo>
                      <a:lnTo>
                        <a:pt x="68" y="213"/>
                      </a:lnTo>
                      <a:lnTo>
                        <a:pt x="64" y="218"/>
                      </a:lnTo>
                      <a:lnTo>
                        <a:pt x="59" y="227"/>
                      </a:lnTo>
                      <a:lnTo>
                        <a:pt x="59" y="232"/>
                      </a:lnTo>
                      <a:lnTo>
                        <a:pt x="59" y="241"/>
                      </a:lnTo>
                      <a:lnTo>
                        <a:pt x="55" y="250"/>
                      </a:lnTo>
                      <a:lnTo>
                        <a:pt x="41" y="263"/>
                      </a:lnTo>
                      <a:lnTo>
                        <a:pt x="23" y="273"/>
                      </a:lnTo>
                      <a:lnTo>
                        <a:pt x="5" y="286"/>
                      </a:lnTo>
                      <a:lnTo>
                        <a:pt x="0" y="304"/>
                      </a:lnTo>
                      <a:lnTo>
                        <a:pt x="5" y="313"/>
                      </a:lnTo>
                      <a:lnTo>
                        <a:pt x="18" y="318"/>
                      </a:lnTo>
                      <a:lnTo>
                        <a:pt x="32" y="323"/>
                      </a:lnTo>
                      <a:lnTo>
                        <a:pt x="41" y="327"/>
                      </a:lnTo>
                      <a:lnTo>
                        <a:pt x="41" y="336"/>
                      </a:lnTo>
                      <a:lnTo>
                        <a:pt x="46" y="341"/>
                      </a:lnTo>
                      <a:lnTo>
                        <a:pt x="46" y="350"/>
                      </a:lnTo>
                      <a:lnTo>
                        <a:pt x="46" y="354"/>
                      </a:lnTo>
                      <a:lnTo>
                        <a:pt x="55" y="363"/>
                      </a:lnTo>
                      <a:lnTo>
                        <a:pt x="68" y="363"/>
                      </a:lnTo>
                      <a:lnTo>
                        <a:pt x="87" y="368"/>
                      </a:lnTo>
                      <a:lnTo>
                        <a:pt x="105" y="377"/>
                      </a:lnTo>
                      <a:lnTo>
                        <a:pt x="132" y="391"/>
                      </a:lnTo>
                      <a:lnTo>
                        <a:pt x="160" y="413"/>
                      </a:lnTo>
                      <a:lnTo>
                        <a:pt x="182" y="432"/>
                      </a:lnTo>
                      <a:lnTo>
                        <a:pt x="210" y="445"/>
                      </a:lnTo>
                      <a:lnTo>
                        <a:pt x="210" y="445"/>
                      </a:lnTo>
                      <a:lnTo>
                        <a:pt x="210" y="441"/>
                      </a:lnTo>
                      <a:lnTo>
                        <a:pt x="210" y="441"/>
                      </a:lnTo>
                      <a:close/>
                    </a:path>
                  </a:pathLst>
                </a:custGeom>
                <a:grp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62" name="Freeform 265">
                  <a:extLst>
                    <a:ext uri="{FF2B5EF4-FFF2-40B4-BE49-F238E27FC236}">
                      <a16:creationId xmlns="" xmlns:a16="http://schemas.microsoft.com/office/drawing/2014/main" id="{D5BBE28F-FACE-4EDA-857A-2D9C4D54E6AC}"/>
                    </a:ext>
                  </a:extLst>
                </p:cNvPr>
                <p:cNvSpPr>
                  <a:spLocks noChangeAspect="1"/>
                </p:cNvSpPr>
                <p:nvPr/>
              </p:nvSpPr>
              <p:spPr bwMode="auto">
                <a:xfrm>
                  <a:off x="2333" y="2550"/>
                  <a:ext cx="410" cy="364"/>
                </a:xfrm>
                <a:custGeom>
                  <a:avLst/>
                  <a:gdLst>
                    <a:gd name="T0" fmla="*/ 41 w 410"/>
                    <a:gd name="T1" fmla="*/ 295 h 364"/>
                    <a:gd name="T2" fmla="*/ 9 w 410"/>
                    <a:gd name="T3" fmla="*/ 254 h 364"/>
                    <a:gd name="T4" fmla="*/ 0 w 410"/>
                    <a:gd name="T5" fmla="*/ 209 h 364"/>
                    <a:gd name="T6" fmla="*/ 14 w 410"/>
                    <a:gd name="T7" fmla="*/ 182 h 364"/>
                    <a:gd name="T8" fmla="*/ 14 w 410"/>
                    <a:gd name="T9" fmla="*/ 154 h 364"/>
                    <a:gd name="T10" fmla="*/ 5 w 410"/>
                    <a:gd name="T11" fmla="*/ 141 h 364"/>
                    <a:gd name="T12" fmla="*/ 18 w 410"/>
                    <a:gd name="T13" fmla="*/ 109 h 364"/>
                    <a:gd name="T14" fmla="*/ 73 w 410"/>
                    <a:gd name="T15" fmla="*/ 86 h 364"/>
                    <a:gd name="T16" fmla="*/ 119 w 410"/>
                    <a:gd name="T17" fmla="*/ 59 h 364"/>
                    <a:gd name="T18" fmla="*/ 173 w 410"/>
                    <a:gd name="T19" fmla="*/ 32 h 364"/>
                    <a:gd name="T20" fmla="*/ 214 w 410"/>
                    <a:gd name="T21" fmla="*/ 14 h 364"/>
                    <a:gd name="T22" fmla="*/ 237 w 410"/>
                    <a:gd name="T23" fmla="*/ 0 h 364"/>
                    <a:gd name="T24" fmla="*/ 273 w 410"/>
                    <a:gd name="T25" fmla="*/ 4 h 364"/>
                    <a:gd name="T26" fmla="*/ 305 w 410"/>
                    <a:gd name="T27" fmla="*/ 18 h 364"/>
                    <a:gd name="T28" fmla="*/ 337 w 410"/>
                    <a:gd name="T29" fmla="*/ 23 h 364"/>
                    <a:gd name="T30" fmla="*/ 355 w 410"/>
                    <a:gd name="T31" fmla="*/ 9 h 364"/>
                    <a:gd name="T32" fmla="*/ 374 w 410"/>
                    <a:gd name="T33" fmla="*/ 9 h 364"/>
                    <a:gd name="T34" fmla="*/ 387 w 410"/>
                    <a:gd name="T35" fmla="*/ 14 h 364"/>
                    <a:gd name="T36" fmla="*/ 396 w 410"/>
                    <a:gd name="T37" fmla="*/ 23 h 364"/>
                    <a:gd name="T38" fmla="*/ 396 w 410"/>
                    <a:gd name="T39" fmla="*/ 45 h 364"/>
                    <a:gd name="T40" fmla="*/ 405 w 410"/>
                    <a:gd name="T41" fmla="*/ 64 h 364"/>
                    <a:gd name="T42" fmla="*/ 410 w 410"/>
                    <a:gd name="T43" fmla="*/ 100 h 364"/>
                    <a:gd name="T44" fmla="*/ 405 w 410"/>
                    <a:gd name="T45" fmla="*/ 132 h 364"/>
                    <a:gd name="T46" fmla="*/ 396 w 410"/>
                    <a:gd name="T47" fmla="*/ 154 h 364"/>
                    <a:gd name="T48" fmla="*/ 378 w 410"/>
                    <a:gd name="T49" fmla="*/ 159 h 364"/>
                    <a:gd name="T50" fmla="*/ 369 w 410"/>
                    <a:gd name="T51" fmla="*/ 150 h 364"/>
                    <a:gd name="T52" fmla="*/ 360 w 410"/>
                    <a:gd name="T53" fmla="*/ 150 h 364"/>
                    <a:gd name="T54" fmla="*/ 310 w 410"/>
                    <a:gd name="T55" fmla="*/ 218 h 364"/>
                    <a:gd name="T56" fmla="*/ 310 w 410"/>
                    <a:gd name="T57" fmla="*/ 241 h 364"/>
                    <a:gd name="T58" fmla="*/ 305 w 410"/>
                    <a:gd name="T59" fmla="*/ 268 h 364"/>
                    <a:gd name="T60" fmla="*/ 287 w 410"/>
                    <a:gd name="T61" fmla="*/ 286 h 364"/>
                    <a:gd name="T62" fmla="*/ 273 w 410"/>
                    <a:gd name="T63" fmla="*/ 309 h 364"/>
                    <a:gd name="T64" fmla="*/ 273 w 410"/>
                    <a:gd name="T65" fmla="*/ 318 h 364"/>
                    <a:gd name="T66" fmla="*/ 273 w 410"/>
                    <a:gd name="T67" fmla="*/ 327 h 364"/>
                    <a:gd name="T68" fmla="*/ 269 w 410"/>
                    <a:gd name="T69" fmla="*/ 341 h 364"/>
                    <a:gd name="T70" fmla="*/ 264 w 410"/>
                    <a:gd name="T71" fmla="*/ 354 h 364"/>
                    <a:gd name="T72" fmla="*/ 246 w 410"/>
                    <a:gd name="T73" fmla="*/ 354 h 364"/>
                    <a:gd name="T74" fmla="*/ 232 w 410"/>
                    <a:gd name="T75" fmla="*/ 354 h 364"/>
                    <a:gd name="T76" fmla="*/ 214 w 410"/>
                    <a:gd name="T77" fmla="*/ 359 h 364"/>
                    <a:gd name="T78" fmla="*/ 191 w 410"/>
                    <a:gd name="T79" fmla="*/ 364 h 364"/>
                    <a:gd name="T80" fmla="*/ 137 w 410"/>
                    <a:gd name="T81" fmla="*/ 345 h 364"/>
                    <a:gd name="T82" fmla="*/ 82 w 410"/>
                    <a:gd name="T83" fmla="*/ 327 h 364"/>
                    <a:gd name="T84" fmla="*/ 64 w 410"/>
                    <a:gd name="T85" fmla="*/ 327 h 364"/>
                    <a:gd name="T86" fmla="*/ 55 w 410"/>
                    <a:gd name="T87" fmla="*/ 332 h 364"/>
                    <a:gd name="T88" fmla="*/ 55 w 410"/>
                    <a:gd name="T89" fmla="*/ 32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0" h="364">
                      <a:moveTo>
                        <a:pt x="55" y="327"/>
                      </a:moveTo>
                      <a:lnTo>
                        <a:pt x="41" y="295"/>
                      </a:lnTo>
                      <a:lnTo>
                        <a:pt x="23" y="277"/>
                      </a:lnTo>
                      <a:lnTo>
                        <a:pt x="9" y="254"/>
                      </a:lnTo>
                      <a:lnTo>
                        <a:pt x="0" y="227"/>
                      </a:lnTo>
                      <a:lnTo>
                        <a:pt x="0" y="209"/>
                      </a:lnTo>
                      <a:lnTo>
                        <a:pt x="9" y="195"/>
                      </a:lnTo>
                      <a:lnTo>
                        <a:pt x="14" y="182"/>
                      </a:lnTo>
                      <a:lnTo>
                        <a:pt x="14" y="164"/>
                      </a:lnTo>
                      <a:lnTo>
                        <a:pt x="14" y="154"/>
                      </a:lnTo>
                      <a:lnTo>
                        <a:pt x="9" y="145"/>
                      </a:lnTo>
                      <a:lnTo>
                        <a:pt x="5" y="141"/>
                      </a:lnTo>
                      <a:lnTo>
                        <a:pt x="5" y="132"/>
                      </a:lnTo>
                      <a:lnTo>
                        <a:pt x="18" y="109"/>
                      </a:lnTo>
                      <a:lnTo>
                        <a:pt x="46" y="95"/>
                      </a:lnTo>
                      <a:lnTo>
                        <a:pt x="73" y="86"/>
                      </a:lnTo>
                      <a:lnTo>
                        <a:pt x="96" y="77"/>
                      </a:lnTo>
                      <a:lnTo>
                        <a:pt x="119" y="59"/>
                      </a:lnTo>
                      <a:lnTo>
                        <a:pt x="146" y="45"/>
                      </a:lnTo>
                      <a:lnTo>
                        <a:pt x="173" y="32"/>
                      </a:lnTo>
                      <a:lnTo>
                        <a:pt x="200" y="14"/>
                      </a:lnTo>
                      <a:lnTo>
                        <a:pt x="214" y="14"/>
                      </a:lnTo>
                      <a:lnTo>
                        <a:pt x="228" y="4"/>
                      </a:lnTo>
                      <a:lnTo>
                        <a:pt x="237" y="0"/>
                      </a:lnTo>
                      <a:lnTo>
                        <a:pt x="251" y="0"/>
                      </a:lnTo>
                      <a:lnTo>
                        <a:pt x="273" y="4"/>
                      </a:lnTo>
                      <a:lnTo>
                        <a:pt x="292" y="9"/>
                      </a:lnTo>
                      <a:lnTo>
                        <a:pt x="305" y="18"/>
                      </a:lnTo>
                      <a:lnTo>
                        <a:pt x="323" y="23"/>
                      </a:lnTo>
                      <a:lnTo>
                        <a:pt x="337" y="23"/>
                      </a:lnTo>
                      <a:lnTo>
                        <a:pt x="346" y="14"/>
                      </a:lnTo>
                      <a:lnTo>
                        <a:pt x="355" y="9"/>
                      </a:lnTo>
                      <a:lnTo>
                        <a:pt x="369" y="9"/>
                      </a:lnTo>
                      <a:lnTo>
                        <a:pt x="374" y="9"/>
                      </a:lnTo>
                      <a:lnTo>
                        <a:pt x="383" y="9"/>
                      </a:lnTo>
                      <a:lnTo>
                        <a:pt x="387" y="14"/>
                      </a:lnTo>
                      <a:lnTo>
                        <a:pt x="392" y="14"/>
                      </a:lnTo>
                      <a:lnTo>
                        <a:pt x="396" y="23"/>
                      </a:lnTo>
                      <a:lnTo>
                        <a:pt x="396" y="32"/>
                      </a:lnTo>
                      <a:lnTo>
                        <a:pt x="396" y="45"/>
                      </a:lnTo>
                      <a:lnTo>
                        <a:pt x="396" y="54"/>
                      </a:lnTo>
                      <a:lnTo>
                        <a:pt x="405" y="64"/>
                      </a:lnTo>
                      <a:lnTo>
                        <a:pt x="405" y="82"/>
                      </a:lnTo>
                      <a:lnTo>
                        <a:pt x="410" y="100"/>
                      </a:lnTo>
                      <a:lnTo>
                        <a:pt x="410" y="118"/>
                      </a:lnTo>
                      <a:lnTo>
                        <a:pt x="405" y="132"/>
                      </a:lnTo>
                      <a:lnTo>
                        <a:pt x="405" y="145"/>
                      </a:lnTo>
                      <a:lnTo>
                        <a:pt x="396" y="154"/>
                      </a:lnTo>
                      <a:lnTo>
                        <a:pt x="383" y="159"/>
                      </a:lnTo>
                      <a:lnTo>
                        <a:pt x="378" y="159"/>
                      </a:lnTo>
                      <a:lnTo>
                        <a:pt x="374" y="154"/>
                      </a:lnTo>
                      <a:lnTo>
                        <a:pt x="369" y="150"/>
                      </a:lnTo>
                      <a:lnTo>
                        <a:pt x="360" y="150"/>
                      </a:lnTo>
                      <a:lnTo>
                        <a:pt x="360" y="150"/>
                      </a:lnTo>
                      <a:lnTo>
                        <a:pt x="310" y="218"/>
                      </a:lnTo>
                      <a:lnTo>
                        <a:pt x="310" y="218"/>
                      </a:lnTo>
                      <a:lnTo>
                        <a:pt x="310" y="232"/>
                      </a:lnTo>
                      <a:lnTo>
                        <a:pt x="310" y="241"/>
                      </a:lnTo>
                      <a:lnTo>
                        <a:pt x="310" y="254"/>
                      </a:lnTo>
                      <a:lnTo>
                        <a:pt x="305" y="268"/>
                      </a:lnTo>
                      <a:lnTo>
                        <a:pt x="296" y="277"/>
                      </a:lnTo>
                      <a:lnTo>
                        <a:pt x="287" y="286"/>
                      </a:lnTo>
                      <a:lnTo>
                        <a:pt x="278" y="295"/>
                      </a:lnTo>
                      <a:lnTo>
                        <a:pt x="273" y="309"/>
                      </a:lnTo>
                      <a:lnTo>
                        <a:pt x="273" y="314"/>
                      </a:lnTo>
                      <a:lnTo>
                        <a:pt x="273" y="318"/>
                      </a:lnTo>
                      <a:lnTo>
                        <a:pt x="273" y="323"/>
                      </a:lnTo>
                      <a:lnTo>
                        <a:pt x="273" y="327"/>
                      </a:lnTo>
                      <a:lnTo>
                        <a:pt x="273" y="332"/>
                      </a:lnTo>
                      <a:lnTo>
                        <a:pt x="269" y="341"/>
                      </a:lnTo>
                      <a:lnTo>
                        <a:pt x="269" y="345"/>
                      </a:lnTo>
                      <a:lnTo>
                        <a:pt x="264" y="354"/>
                      </a:lnTo>
                      <a:lnTo>
                        <a:pt x="255" y="354"/>
                      </a:lnTo>
                      <a:lnTo>
                        <a:pt x="246" y="354"/>
                      </a:lnTo>
                      <a:lnTo>
                        <a:pt x="241" y="354"/>
                      </a:lnTo>
                      <a:lnTo>
                        <a:pt x="232" y="354"/>
                      </a:lnTo>
                      <a:lnTo>
                        <a:pt x="223" y="354"/>
                      </a:lnTo>
                      <a:lnTo>
                        <a:pt x="214" y="359"/>
                      </a:lnTo>
                      <a:lnTo>
                        <a:pt x="205" y="364"/>
                      </a:lnTo>
                      <a:lnTo>
                        <a:pt x="191" y="364"/>
                      </a:lnTo>
                      <a:lnTo>
                        <a:pt x="159" y="359"/>
                      </a:lnTo>
                      <a:lnTo>
                        <a:pt x="137" y="345"/>
                      </a:lnTo>
                      <a:lnTo>
                        <a:pt x="114" y="332"/>
                      </a:lnTo>
                      <a:lnTo>
                        <a:pt x="82" y="327"/>
                      </a:lnTo>
                      <a:lnTo>
                        <a:pt x="68" y="327"/>
                      </a:lnTo>
                      <a:lnTo>
                        <a:pt x="64" y="327"/>
                      </a:lnTo>
                      <a:lnTo>
                        <a:pt x="55" y="327"/>
                      </a:lnTo>
                      <a:lnTo>
                        <a:pt x="55" y="332"/>
                      </a:lnTo>
                      <a:lnTo>
                        <a:pt x="55" y="332"/>
                      </a:lnTo>
                      <a:lnTo>
                        <a:pt x="55" y="327"/>
                      </a:lnTo>
                      <a:lnTo>
                        <a:pt x="55" y="327"/>
                      </a:lnTo>
                      <a:close/>
                    </a:path>
                  </a:pathLst>
                </a:custGeom>
                <a:solidFill>
                  <a:schemeClr val="accent2"/>
                </a:solid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63" name="Freeform 266">
                  <a:extLst>
                    <a:ext uri="{FF2B5EF4-FFF2-40B4-BE49-F238E27FC236}">
                      <a16:creationId xmlns="" xmlns:a16="http://schemas.microsoft.com/office/drawing/2014/main" id="{BFC5D722-4A22-4E20-AEB7-85FE092AAE47}"/>
                    </a:ext>
                  </a:extLst>
                </p:cNvPr>
                <p:cNvSpPr>
                  <a:spLocks noChangeAspect="1"/>
                </p:cNvSpPr>
                <p:nvPr/>
              </p:nvSpPr>
              <p:spPr bwMode="auto">
                <a:xfrm>
                  <a:off x="2379" y="2223"/>
                  <a:ext cx="382" cy="350"/>
                </a:xfrm>
                <a:custGeom>
                  <a:avLst/>
                  <a:gdLst>
                    <a:gd name="T0" fmla="*/ 273 w 382"/>
                    <a:gd name="T1" fmla="*/ 36 h 350"/>
                    <a:gd name="T2" fmla="*/ 309 w 382"/>
                    <a:gd name="T3" fmla="*/ 68 h 350"/>
                    <a:gd name="T4" fmla="*/ 346 w 382"/>
                    <a:gd name="T5" fmla="*/ 91 h 350"/>
                    <a:gd name="T6" fmla="*/ 364 w 382"/>
                    <a:gd name="T7" fmla="*/ 122 h 350"/>
                    <a:gd name="T8" fmla="*/ 378 w 382"/>
                    <a:gd name="T9" fmla="*/ 145 h 350"/>
                    <a:gd name="T10" fmla="*/ 378 w 382"/>
                    <a:gd name="T11" fmla="*/ 163 h 350"/>
                    <a:gd name="T12" fmla="*/ 378 w 382"/>
                    <a:gd name="T13" fmla="*/ 186 h 350"/>
                    <a:gd name="T14" fmla="*/ 364 w 382"/>
                    <a:gd name="T15" fmla="*/ 204 h 350"/>
                    <a:gd name="T16" fmla="*/ 359 w 382"/>
                    <a:gd name="T17" fmla="*/ 227 h 350"/>
                    <a:gd name="T18" fmla="*/ 341 w 382"/>
                    <a:gd name="T19" fmla="*/ 254 h 350"/>
                    <a:gd name="T20" fmla="*/ 337 w 382"/>
                    <a:gd name="T21" fmla="*/ 295 h 350"/>
                    <a:gd name="T22" fmla="*/ 346 w 382"/>
                    <a:gd name="T23" fmla="*/ 327 h 350"/>
                    <a:gd name="T24" fmla="*/ 341 w 382"/>
                    <a:gd name="T25" fmla="*/ 341 h 350"/>
                    <a:gd name="T26" fmla="*/ 328 w 382"/>
                    <a:gd name="T27" fmla="*/ 336 h 350"/>
                    <a:gd name="T28" fmla="*/ 309 w 382"/>
                    <a:gd name="T29" fmla="*/ 336 h 350"/>
                    <a:gd name="T30" fmla="*/ 291 w 382"/>
                    <a:gd name="T31" fmla="*/ 350 h 350"/>
                    <a:gd name="T32" fmla="*/ 259 w 382"/>
                    <a:gd name="T33" fmla="*/ 345 h 350"/>
                    <a:gd name="T34" fmla="*/ 227 w 382"/>
                    <a:gd name="T35" fmla="*/ 331 h 350"/>
                    <a:gd name="T36" fmla="*/ 191 w 382"/>
                    <a:gd name="T37" fmla="*/ 327 h 350"/>
                    <a:gd name="T38" fmla="*/ 168 w 382"/>
                    <a:gd name="T39" fmla="*/ 341 h 350"/>
                    <a:gd name="T40" fmla="*/ 145 w 382"/>
                    <a:gd name="T41" fmla="*/ 336 h 350"/>
                    <a:gd name="T42" fmla="*/ 136 w 382"/>
                    <a:gd name="T43" fmla="*/ 309 h 350"/>
                    <a:gd name="T44" fmla="*/ 123 w 382"/>
                    <a:gd name="T45" fmla="*/ 295 h 350"/>
                    <a:gd name="T46" fmla="*/ 104 w 382"/>
                    <a:gd name="T47" fmla="*/ 291 h 350"/>
                    <a:gd name="T48" fmla="*/ 91 w 382"/>
                    <a:gd name="T49" fmla="*/ 281 h 350"/>
                    <a:gd name="T50" fmla="*/ 68 w 382"/>
                    <a:gd name="T51" fmla="*/ 263 h 350"/>
                    <a:gd name="T52" fmla="*/ 63 w 382"/>
                    <a:gd name="T53" fmla="*/ 254 h 350"/>
                    <a:gd name="T54" fmla="*/ 63 w 382"/>
                    <a:gd name="T55" fmla="*/ 241 h 350"/>
                    <a:gd name="T56" fmla="*/ 50 w 382"/>
                    <a:gd name="T57" fmla="*/ 236 h 350"/>
                    <a:gd name="T58" fmla="*/ 27 w 382"/>
                    <a:gd name="T59" fmla="*/ 236 h 350"/>
                    <a:gd name="T60" fmla="*/ 27 w 382"/>
                    <a:gd name="T61" fmla="*/ 222 h 350"/>
                    <a:gd name="T62" fmla="*/ 36 w 382"/>
                    <a:gd name="T63" fmla="*/ 204 h 350"/>
                    <a:gd name="T64" fmla="*/ 36 w 382"/>
                    <a:gd name="T65" fmla="*/ 163 h 350"/>
                    <a:gd name="T66" fmla="*/ 4 w 382"/>
                    <a:gd name="T67" fmla="*/ 122 h 350"/>
                    <a:gd name="T68" fmla="*/ 0 w 382"/>
                    <a:gd name="T69" fmla="*/ 68 h 350"/>
                    <a:gd name="T70" fmla="*/ 18 w 382"/>
                    <a:gd name="T71" fmla="*/ 31 h 350"/>
                    <a:gd name="T72" fmla="*/ 50 w 382"/>
                    <a:gd name="T73" fmla="*/ 18 h 350"/>
                    <a:gd name="T74" fmla="*/ 109 w 382"/>
                    <a:gd name="T75" fmla="*/ 13 h 350"/>
                    <a:gd name="T76" fmla="*/ 168 w 382"/>
                    <a:gd name="T77" fmla="*/ 9 h 350"/>
                    <a:gd name="T78" fmla="*/ 209 w 382"/>
                    <a:gd name="T79" fmla="*/ 0 h 350"/>
                    <a:gd name="T80" fmla="*/ 241 w 382"/>
                    <a:gd name="T81" fmla="*/ 0 h 350"/>
                    <a:gd name="T82" fmla="*/ 259 w 382"/>
                    <a:gd name="T83" fmla="*/ 13 h 350"/>
                    <a:gd name="T84" fmla="*/ 268 w 382"/>
                    <a:gd name="T85" fmla="*/ 18 h 350"/>
                    <a:gd name="T86" fmla="*/ 268 w 382"/>
                    <a:gd name="T87" fmla="*/ 18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82" h="350">
                      <a:moveTo>
                        <a:pt x="268" y="18"/>
                      </a:moveTo>
                      <a:lnTo>
                        <a:pt x="273" y="36"/>
                      </a:lnTo>
                      <a:lnTo>
                        <a:pt x="287" y="54"/>
                      </a:lnTo>
                      <a:lnTo>
                        <a:pt x="309" y="68"/>
                      </a:lnTo>
                      <a:lnTo>
                        <a:pt x="328" y="77"/>
                      </a:lnTo>
                      <a:lnTo>
                        <a:pt x="346" y="91"/>
                      </a:lnTo>
                      <a:lnTo>
                        <a:pt x="355" y="109"/>
                      </a:lnTo>
                      <a:lnTo>
                        <a:pt x="364" y="122"/>
                      </a:lnTo>
                      <a:lnTo>
                        <a:pt x="382" y="131"/>
                      </a:lnTo>
                      <a:lnTo>
                        <a:pt x="378" y="145"/>
                      </a:lnTo>
                      <a:lnTo>
                        <a:pt x="373" y="154"/>
                      </a:lnTo>
                      <a:lnTo>
                        <a:pt x="378" y="163"/>
                      </a:lnTo>
                      <a:lnTo>
                        <a:pt x="378" y="172"/>
                      </a:lnTo>
                      <a:lnTo>
                        <a:pt x="378" y="186"/>
                      </a:lnTo>
                      <a:lnTo>
                        <a:pt x="373" y="195"/>
                      </a:lnTo>
                      <a:lnTo>
                        <a:pt x="364" y="204"/>
                      </a:lnTo>
                      <a:lnTo>
                        <a:pt x="364" y="213"/>
                      </a:lnTo>
                      <a:lnTo>
                        <a:pt x="359" y="227"/>
                      </a:lnTo>
                      <a:lnTo>
                        <a:pt x="350" y="241"/>
                      </a:lnTo>
                      <a:lnTo>
                        <a:pt x="341" y="254"/>
                      </a:lnTo>
                      <a:lnTo>
                        <a:pt x="337" y="277"/>
                      </a:lnTo>
                      <a:lnTo>
                        <a:pt x="337" y="295"/>
                      </a:lnTo>
                      <a:lnTo>
                        <a:pt x="341" y="313"/>
                      </a:lnTo>
                      <a:lnTo>
                        <a:pt x="346" y="327"/>
                      </a:lnTo>
                      <a:lnTo>
                        <a:pt x="346" y="341"/>
                      </a:lnTo>
                      <a:lnTo>
                        <a:pt x="341" y="341"/>
                      </a:lnTo>
                      <a:lnTo>
                        <a:pt x="337" y="336"/>
                      </a:lnTo>
                      <a:lnTo>
                        <a:pt x="328" y="336"/>
                      </a:lnTo>
                      <a:lnTo>
                        <a:pt x="323" y="336"/>
                      </a:lnTo>
                      <a:lnTo>
                        <a:pt x="309" y="336"/>
                      </a:lnTo>
                      <a:lnTo>
                        <a:pt x="300" y="341"/>
                      </a:lnTo>
                      <a:lnTo>
                        <a:pt x="291" y="350"/>
                      </a:lnTo>
                      <a:lnTo>
                        <a:pt x="277" y="350"/>
                      </a:lnTo>
                      <a:lnTo>
                        <a:pt x="259" y="345"/>
                      </a:lnTo>
                      <a:lnTo>
                        <a:pt x="246" y="336"/>
                      </a:lnTo>
                      <a:lnTo>
                        <a:pt x="227" y="331"/>
                      </a:lnTo>
                      <a:lnTo>
                        <a:pt x="205" y="327"/>
                      </a:lnTo>
                      <a:lnTo>
                        <a:pt x="191" y="327"/>
                      </a:lnTo>
                      <a:lnTo>
                        <a:pt x="182" y="331"/>
                      </a:lnTo>
                      <a:lnTo>
                        <a:pt x="168" y="341"/>
                      </a:lnTo>
                      <a:lnTo>
                        <a:pt x="154" y="341"/>
                      </a:lnTo>
                      <a:lnTo>
                        <a:pt x="145" y="336"/>
                      </a:lnTo>
                      <a:lnTo>
                        <a:pt x="141" y="322"/>
                      </a:lnTo>
                      <a:lnTo>
                        <a:pt x="136" y="309"/>
                      </a:lnTo>
                      <a:lnTo>
                        <a:pt x="132" y="300"/>
                      </a:lnTo>
                      <a:lnTo>
                        <a:pt x="123" y="295"/>
                      </a:lnTo>
                      <a:lnTo>
                        <a:pt x="113" y="291"/>
                      </a:lnTo>
                      <a:lnTo>
                        <a:pt x="104" y="291"/>
                      </a:lnTo>
                      <a:lnTo>
                        <a:pt x="95" y="286"/>
                      </a:lnTo>
                      <a:lnTo>
                        <a:pt x="91" y="281"/>
                      </a:lnTo>
                      <a:lnTo>
                        <a:pt x="82" y="272"/>
                      </a:lnTo>
                      <a:lnTo>
                        <a:pt x="68" y="263"/>
                      </a:lnTo>
                      <a:lnTo>
                        <a:pt x="63" y="259"/>
                      </a:lnTo>
                      <a:lnTo>
                        <a:pt x="63" y="254"/>
                      </a:lnTo>
                      <a:lnTo>
                        <a:pt x="63" y="245"/>
                      </a:lnTo>
                      <a:lnTo>
                        <a:pt x="63" y="241"/>
                      </a:lnTo>
                      <a:lnTo>
                        <a:pt x="59" y="236"/>
                      </a:lnTo>
                      <a:lnTo>
                        <a:pt x="50" y="236"/>
                      </a:lnTo>
                      <a:lnTo>
                        <a:pt x="36" y="236"/>
                      </a:lnTo>
                      <a:lnTo>
                        <a:pt x="27" y="236"/>
                      </a:lnTo>
                      <a:lnTo>
                        <a:pt x="22" y="231"/>
                      </a:lnTo>
                      <a:lnTo>
                        <a:pt x="27" y="222"/>
                      </a:lnTo>
                      <a:lnTo>
                        <a:pt x="32" y="213"/>
                      </a:lnTo>
                      <a:lnTo>
                        <a:pt x="36" y="204"/>
                      </a:lnTo>
                      <a:lnTo>
                        <a:pt x="41" y="191"/>
                      </a:lnTo>
                      <a:lnTo>
                        <a:pt x="36" y="163"/>
                      </a:lnTo>
                      <a:lnTo>
                        <a:pt x="22" y="141"/>
                      </a:lnTo>
                      <a:lnTo>
                        <a:pt x="4" y="122"/>
                      </a:lnTo>
                      <a:lnTo>
                        <a:pt x="0" y="95"/>
                      </a:lnTo>
                      <a:lnTo>
                        <a:pt x="0" y="68"/>
                      </a:lnTo>
                      <a:lnTo>
                        <a:pt x="9" y="45"/>
                      </a:lnTo>
                      <a:lnTo>
                        <a:pt x="18" y="31"/>
                      </a:lnTo>
                      <a:lnTo>
                        <a:pt x="32" y="22"/>
                      </a:lnTo>
                      <a:lnTo>
                        <a:pt x="50" y="18"/>
                      </a:lnTo>
                      <a:lnTo>
                        <a:pt x="77" y="13"/>
                      </a:lnTo>
                      <a:lnTo>
                        <a:pt x="109" y="13"/>
                      </a:lnTo>
                      <a:lnTo>
                        <a:pt x="145" y="13"/>
                      </a:lnTo>
                      <a:lnTo>
                        <a:pt x="168" y="9"/>
                      </a:lnTo>
                      <a:lnTo>
                        <a:pt x="186" y="4"/>
                      </a:lnTo>
                      <a:lnTo>
                        <a:pt x="209" y="0"/>
                      </a:lnTo>
                      <a:lnTo>
                        <a:pt x="227" y="0"/>
                      </a:lnTo>
                      <a:lnTo>
                        <a:pt x="241" y="0"/>
                      </a:lnTo>
                      <a:lnTo>
                        <a:pt x="250" y="4"/>
                      </a:lnTo>
                      <a:lnTo>
                        <a:pt x="259" y="13"/>
                      </a:lnTo>
                      <a:lnTo>
                        <a:pt x="268" y="18"/>
                      </a:lnTo>
                      <a:lnTo>
                        <a:pt x="268" y="18"/>
                      </a:lnTo>
                      <a:lnTo>
                        <a:pt x="268" y="18"/>
                      </a:lnTo>
                      <a:lnTo>
                        <a:pt x="268" y="18"/>
                      </a:lnTo>
                      <a:close/>
                    </a:path>
                  </a:pathLst>
                </a:custGeom>
                <a:grp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grpSp>
          <p:grpSp>
            <p:nvGrpSpPr>
              <p:cNvPr id="54" name="Group 267">
                <a:extLst>
                  <a:ext uri="{FF2B5EF4-FFF2-40B4-BE49-F238E27FC236}">
                    <a16:creationId xmlns="" xmlns:a16="http://schemas.microsoft.com/office/drawing/2014/main" id="{17F2996C-6416-42E0-A309-F858734ED496}"/>
                  </a:ext>
                </a:extLst>
              </p:cNvPr>
              <p:cNvGrpSpPr>
                <a:grpSpLocks noChangeAspect="1"/>
              </p:cNvGrpSpPr>
              <p:nvPr/>
            </p:nvGrpSpPr>
            <p:grpSpPr bwMode="auto">
              <a:xfrm>
                <a:off x="3100" y="1511"/>
                <a:ext cx="701" cy="918"/>
                <a:chOff x="1950" y="1086"/>
                <a:chExt cx="966" cy="1168"/>
              </a:xfrm>
              <a:grpFill/>
            </p:grpSpPr>
            <p:sp>
              <p:nvSpPr>
                <p:cNvPr id="55" name="Freeform 268">
                  <a:extLst>
                    <a:ext uri="{FF2B5EF4-FFF2-40B4-BE49-F238E27FC236}">
                      <a16:creationId xmlns="" xmlns:a16="http://schemas.microsoft.com/office/drawing/2014/main" id="{15CDCA3F-EEFE-4C54-B219-97EC3F84B2AC}"/>
                    </a:ext>
                  </a:extLst>
                </p:cNvPr>
                <p:cNvSpPr>
                  <a:spLocks noChangeAspect="1"/>
                </p:cNvSpPr>
                <p:nvPr/>
              </p:nvSpPr>
              <p:spPr bwMode="auto">
                <a:xfrm>
                  <a:off x="2178" y="1086"/>
                  <a:ext cx="383" cy="437"/>
                </a:xfrm>
                <a:custGeom>
                  <a:avLst/>
                  <a:gdLst>
                    <a:gd name="T0" fmla="*/ 46 w 383"/>
                    <a:gd name="T1" fmla="*/ 364 h 437"/>
                    <a:gd name="T2" fmla="*/ 32 w 383"/>
                    <a:gd name="T3" fmla="*/ 355 h 437"/>
                    <a:gd name="T4" fmla="*/ 23 w 383"/>
                    <a:gd name="T5" fmla="*/ 346 h 437"/>
                    <a:gd name="T6" fmla="*/ 9 w 383"/>
                    <a:gd name="T7" fmla="*/ 337 h 437"/>
                    <a:gd name="T8" fmla="*/ 0 w 383"/>
                    <a:gd name="T9" fmla="*/ 328 h 437"/>
                    <a:gd name="T10" fmla="*/ 5 w 383"/>
                    <a:gd name="T11" fmla="*/ 309 h 437"/>
                    <a:gd name="T12" fmla="*/ 9 w 383"/>
                    <a:gd name="T13" fmla="*/ 291 h 437"/>
                    <a:gd name="T14" fmla="*/ 18 w 383"/>
                    <a:gd name="T15" fmla="*/ 273 h 437"/>
                    <a:gd name="T16" fmla="*/ 23 w 383"/>
                    <a:gd name="T17" fmla="*/ 255 h 437"/>
                    <a:gd name="T18" fmla="*/ 37 w 383"/>
                    <a:gd name="T19" fmla="*/ 241 h 437"/>
                    <a:gd name="T20" fmla="*/ 55 w 383"/>
                    <a:gd name="T21" fmla="*/ 228 h 437"/>
                    <a:gd name="T22" fmla="*/ 69 w 383"/>
                    <a:gd name="T23" fmla="*/ 214 h 437"/>
                    <a:gd name="T24" fmla="*/ 73 w 383"/>
                    <a:gd name="T25" fmla="*/ 191 h 437"/>
                    <a:gd name="T26" fmla="*/ 69 w 383"/>
                    <a:gd name="T27" fmla="*/ 169 h 437"/>
                    <a:gd name="T28" fmla="*/ 55 w 383"/>
                    <a:gd name="T29" fmla="*/ 146 h 437"/>
                    <a:gd name="T30" fmla="*/ 41 w 383"/>
                    <a:gd name="T31" fmla="*/ 128 h 437"/>
                    <a:gd name="T32" fmla="*/ 23 w 383"/>
                    <a:gd name="T33" fmla="*/ 114 h 437"/>
                    <a:gd name="T34" fmla="*/ 37 w 383"/>
                    <a:gd name="T35" fmla="*/ 96 h 437"/>
                    <a:gd name="T36" fmla="*/ 55 w 383"/>
                    <a:gd name="T37" fmla="*/ 87 h 437"/>
                    <a:gd name="T38" fmla="*/ 82 w 383"/>
                    <a:gd name="T39" fmla="*/ 82 h 437"/>
                    <a:gd name="T40" fmla="*/ 105 w 383"/>
                    <a:gd name="T41" fmla="*/ 73 h 437"/>
                    <a:gd name="T42" fmla="*/ 105 w 383"/>
                    <a:gd name="T43" fmla="*/ 73 h 437"/>
                    <a:gd name="T44" fmla="*/ 151 w 383"/>
                    <a:gd name="T45" fmla="*/ 73 h 437"/>
                    <a:gd name="T46" fmla="*/ 151 w 383"/>
                    <a:gd name="T47" fmla="*/ 73 h 437"/>
                    <a:gd name="T48" fmla="*/ 173 w 383"/>
                    <a:gd name="T49" fmla="*/ 55 h 437"/>
                    <a:gd name="T50" fmla="*/ 192 w 383"/>
                    <a:gd name="T51" fmla="*/ 37 h 437"/>
                    <a:gd name="T52" fmla="*/ 205 w 383"/>
                    <a:gd name="T53" fmla="*/ 19 h 437"/>
                    <a:gd name="T54" fmla="*/ 228 w 383"/>
                    <a:gd name="T55" fmla="*/ 0 h 437"/>
                    <a:gd name="T56" fmla="*/ 233 w 383"/>
                    <a:gd name="T57" fmla="*/ 5 h 437"/>
                    <a:gd name="T58" fmla="*/ 237 w 383"/>
                    <a:gd name="T59" fmla="*/ 9 h 437"/>
                    <a:gd name="T60" fmla="*/ 242 w 383"/>
                    <a:gd name="T61" fmla="*/ 14 h 437"/>
                    <a:gd name="T62" fmla="*/ 246 w 383"/>
                    <a:gd name="T63" fmla="*/ 19 h 437"/>
                    <a:gd name="T64" fmla="*/ 255 w 383"/>
                    <a:gd name="T65" fmla="*/ 50 h 437"/>
                    <a:gd name="T66" fmla="*/ 264 w 383"/>
                    <a:gd name="T67" fmla="*/ 82 h 437"/>
                    <a:gd name="T68" fmla="*/ 269 w 383"/>
                    <a:gd name="T69" fmla="*/ 119 h 437"/>
                    <a:gd name="T70" fmla="*/ 278 w 383"/>
                    <a:gd name="T71" fmla="*/ 146 h 437"/>
                    <a:gd name="T72" fmla="*/ 292 w 383"/>
                    <a:gd name="T73" fmla="*/ 173 h 437"/>
                    <a:gd name="T74" fmla="*/ 314 w 383"/>
                    <a:gd name="T75" fmla="*/ 200 h 437"/>
                    <a:gd name="T76" fmla="*/ 333 w 383"/>
                    <a:gd name="T77" fmla="*/ 228 h 437"/>
                    <a:gd name="T78" fmla="*/ 351 w 383"/>
                    <a:gd name="T79" fmla="*/ 250 h 437"/>
                    <a:gd name="T80" fmla="*/ 360 w 383"/>
                    <a:gd name="T81" fmla="*/ 264 h 437"/>
                    <a:gd name="T82" fmla="*/ 365 w 383"/>
                    <a:gd name="T83" fmla="*/ 278 h 437"/>
                    <a:gd name="T84" fmla="*/ 374 w 383"/>
                    <a:gd name="T85" fmla="*/ 291 h 437"/>
                    <a:gd name="T86" fmla="*/ 383 w 383"/>
                    <a:gd name="T87" fmla="*/ 300 h 437"/>
                    <a:gd name="T88" fmla="*/ 374 w 383"/>
                    <a:gd name="T89" fmla="*/ 323 h 437"/>
                    <a:gd name="T90" fmla="*/ 369 w 383"/>
                    <a:gd name="T91" fmla="*/ 341 h 437"/>
                    <a:gd name="T92" fmla="*/ 365 w 383"/>
                    <a:gd name="T93" fmla="*/ 359 h 437"/>
                    <a:gd name="T94" fmla="*/ 351 w 383"/>
                    <a:gd name="T95" fmla="*/ 373 h 437"/>
                    <a:gd name="T96" fmla="*/ 319 w 383"/>
                    <a:gd name="T97" fmla="*/ 387 h 437"/>
                    <a:gd name="T98" fmla="*/ 274 w 383"/>
                    <a:gd name="T99" fmla="*/ 391 h 437"/>
                    <a:gd name="T100" fmla="*/ 237 w 383"/>
                    <a:gd name="T101" fmla="*/ 400 h 437"/>
                    <a:gd name="T102" fmla="*/ 219 w 383"/>
                    <a:gd name="T103" fmla="*/ 428 h 437"/>
                    <a:gd name="T104" fmla="*/ 210 w 383"/>
                    <a:gd name="T105" fmla="*/ 432 h 437"/>
                    <a:gd name="T106" fmla="*/ 201 w 383"/>
                    <a:gd name="T107" fmla="*/ 432 h 437"/>
                    <a:gd name="T108" fmla="*/ 192 w 383"/>
                    <a:gd name="T109" fmla="*/ 437 h 437"/>
                    <a:gd name="T110" fmla="*/ 178 w 383"/>
                    <a:gd name="T111" fmla="*/ 437 h 437"/>
                    <a:gd name="T112" fmla="*/ 137 w 383"/>
                    <a:gd name="T113" fmla="*/ 423 h 437"/>
                    <a:gd name="T114" fmla="*/ 110 w 383"/>
                    <a:gd name="T115" fmla="*/ 400 h 437"/>
                    <a:gd name="T116" fmla="*/ 82 w 383"/>
                    <a:gd name="T117" fmla="*/ 373 h 437"/>
                    <a:gd name="T118" fmla="*/ 46 w 383"/>
                    <a:gd name="T119" fmla="*/ 364 h 437"/>
                    <a:gd name="T120" fmla="*/ 46 w 383"/>
                    <a:gd name="T121" fmla="*/ 364 h 437"/>
                    <a:gd name="T122" fmla="*/ 46 w 383"/>
                    <a:gd name="T123" fmla="*/ 364 h 437"/>
                    <a:gd name="T124" fmla="*/ 46 w 383"/>
                    <a:gd name="T125" fmla="*/ 364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3" h="437">
                      <a:moveTo>
                        <a:pt x="46" y="364"/>
                      </a:moveTo>
                      <a:lnTo>
                        <a:pt x="32" y="355"/>
                      </a:lnTo>
                      <a:lnTo>
                        <a:pt x="23" y="346"/>
                      </a:lnTo>
                      <a:lnTo>
                        <a:pt x="9" y="337"/>
                      </a:lnTo>
                      <a:lnTo>
                        <a:pt x="0" y="328"/>
                      </a:lnTo>
                      <a:lnTo>
                        <a:pt x="5" y="309"/>
                      </a:lnTo>
                      <a:lnTo>
                        <a:pt x="9" y="291"/>
                      </a:lnTo>
                      <a:lnTo>
                        <a:pt x="18" y="273"/>
                      </a:lnTo>
                      <a:lnTo>
                        <a:pt x="23" y="255"/>
                      </a:lnTo>
                      <a:lnTo>
                        <a:pt x="37" y="241"/>
                      </a:lnTo>
                      <a:lnTo>
                        <a:pt x="55" y="228"/>
                      </a:lnTo>
                      <a:lnTo>
                        <a:pt x="69" y="214"/>
                      </a:lnTo>
                      <a:lnTo>
                        <a:pt x="73" y="191"/>
                      </a:lnTo>
                      <a:lnTo>
                        <a:pt x="69" y="169"/>
                      </a:lnTo>
                      <a:lnTo>
                        <a:pt x="55" y="146"/>
                      </a:lnTo>
                      <a:lnTo>
                        <a:pt x="41" y="128"/>
                      </a:lnTo>
                      <a:lnTo>
                        <a:pt x="23" y="114"/>
                      </a:lnTo>
                      <a:lnTo>
                        <a:pt x="37" y="96"/>
                      </a:lnTo>
                      <a:lnTo>
                        <a:pt x="55" y="87"/>
                      </a:lnTo>
                      <a:lnTo>
                        <a:pt x="82" y="82"/>
                      </a:lnTo>
                      <a:lnTo>
                        <a:pt x="105" y="73"/>
                      </a:lnTo>
                      <a:lnTo>
                        <a:pt x="105" y="73"/>
                      </a:lnTo>
                      <a:lnTo>
                        <a:pt x="151" y="73"/>
                      </a:lnTo>
                      <a:lnTo>
                        <a:pt x="151" y="73"/>
                      </a:lnTo>
                      <a:lnTo>
                        <a:pt x="173" y="55"/>
                      </a:lnTo>
                      <a:lnTo>
                        <a:pt x="192" y="37"/>
                      </a:lnTo>
                      <a:lnTo>
                        <a:pt x="205" y="19"/>
                      </a:lnTo>
                      <a:lnTo>
                        <a:pt x="228" y="0"/>
                      </a:lnTo>
                      <a:lnTo>
                        <a:pt x="233" y="5"/>
                      </a:lnTo>
                      <a:lnTo>
                        <a:pt x="237" y="9"/>
                      </a:lnTo>
                      <a:lnTo>
                        <a:pt x="242" y="14"/>
                      </a:lnTo>
                      <a:lnTo>
                        <a:pt x="246" y="19"/>
                      </a:lnTo>
                      <a:lnTo>
                        <a:pt x="255" y="50"/>
                      </a:lnTo>
                      <a:lnTo>
                        <a:pt x="264" y="82"/>
                      </a:lnTo>
                      <a:lnTo>
                        <a:pt x="269" y="119"/>
                      </a:lnTo>
                      <a:lnTo>
                        <a:pt x="278" y="146"/>
                      </a:lnTo>
                      <a:lnTo>
                        <a:pt x="292" y="173"/>
                      </a:lnTo>
                      <a:lnTo>
                        <a:pt x="314" y="200"/>
                      </a:lnTo>
                      <a:lnTo>
                        <a:pt x="333" y="228"/>
                      </a:lnTo>
                      <a:lnTo>
                        <a:pt x="351" y="250"/>
                      </a:lnTo>
                      <a:lnTo>
                        <a:pt x="360" y="264"/>
                      </a:lnTo>
                      <a:lnTo>
                        <a:pt x="365" y="278"/>
                      </a:lnTo>
                      <a:lnTo>
                        <a:pt x="374" y="291"/>
                      </a:lnTo>
                      <a:lnTo>
                        <a:pt x="383" y="300"/>
                      </a:lnTo>
                      <a:lnTo>
                        <a:pt x="374" y="323"/>
                      </a:lnTo>
                      <a:lnTo>
                        <a:pt x="369" y="341"/>
                      </a:lnTo>
                      <a:lnTo>
                        <a:pt x="365" y="359"/>
                      </a:lnTo>
                      <a:lnTo>
                        <a:pt x="351" y="373"/>
                      </a:lnTo>
                      <a:lnTo>
                        <a:pt x="319" y="387"/>
                      </a:lnTo>
                      <a:lnTo>
                        <a:pt x="274" y="391"/>
                      </a:lnTo>
                      <a:lnTo>
                        <a:pt x="237" y="400"/>
                      </a:lnTo>
                      <a:lnTo>
                        <a:pt x="219" y="428"/>
                      </a:lnTo>
                      <a:lnTo>
                        <a:pt x="210" y="432"/>
                      </a:lnTo>
                      <a:lnTo>
                        <a:pt x="201" y="432"/>
                      </a:lnTo>
                      <a:lnTo>
                        <a:pt x="192" y="437"/>
                      </a:lnTo>
                      <a:lnTo>
                        <a:pt x="178" y="437"/>
                      </a:lnTo>
                      <a:lnTo>
                        <a:pt x="137" y="423"/>
                      </a:lnTo>
                      <a:lnTo>
                        <a:pt x="110" y="400"/>
                      </a:lnTo>
                      <a:lnTo>
                        <a:pt x="82" y="373"/>
                      </a:lnTo>
                      <a:lnTo>
                        <a:pt x="46" y="364"/>
                      </a:lnTo>
                      <a:lnTo>
                        <a:pt x="46" y="364"/>
                      </a:lnTo>
                      <a:lnTo>
                        <a:pt x="46" y="364"/>
                      </a:lnTo>
                      <a:lnTo>
                        <a:pt x="46" y="364"/>
                      </a:lnTo>
                      <a:close/>
                    </a:path>
                  </a:pathLst>
                </a:custGeom>
                <a:grp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56" name="Freeform 269">
                  <a:extLst>
                    <a:ext uri="{FF2B5EF4-FFF2-40B4-BE49-F238E27FC236}">
                      <a16:creationId xmlns="" xmlns:a16="http://schemas.microsoft.com/office/drawing/2014/main" id="{26A135D9-44F5-4059-B6AB-11CFEDB12A0A}"/>
                    </a:ext>
                  </a:extLst>
                </p:cNvPr>
                <p:cNvSpPr>
                  <a:spLocks noChangeAspect="1"/>
                </p:cNvSpPr>
                <p:nvPr/>
              </p:nvSpPr>
              <p:spPr bwMode="auto">
                <a:xfrm>
                  <a:off x="1950" y="1627"/>
                  <a:ext cx="420" cy="450"/>
                </a:xfrm>
                <a:custGeom>
                  <a:avLst/>
                  <a:gdLst>
                    <a:gd name="T0" fmla="*/ 420 w 420"/>
                    <a:gd name="T1" fmla="*/ 255 h 450"/>
                    <a:gd name="T2" fmla="*/ 420 w 420"/>
                    <a:gd name="T3" fmla="*/ 259 h 450"/>
                    <a:gd name="T4" fmla="*/ 420 w 420"/>
                    <a:gd name="T5" fmla="*/ 268 h 450"/>
                    <a:gd name="T6" fmla="*/ 420 w 420"/>
                    <a:gd name="T7" fmla="*/ 278 h 450"/>
                    <a:gd name="T8" fmla="*/ 401 w 420"/>
                    <a:gd name="T9" fmla="*/ 291 h 450"/>
                    <a:gd name="T10" fmla="*/ 369 w 420"/>
                    <a:gd name="T11" fmla="*/ 323 h 450"/>
                    <a:gd name="T12" fmla="*/ 351 w 420"/>
                    <a:gd name="T13" fmla="*/ 328 h 450"/>
                    <a:gd name="T14" fmla="*/ 338 w 420"/>
                    <a:gd name="T15" fmla="*/ 314 h 450"/>
                    <a:gd name="T16" fmla="*/ 315 w 420"/>
                    <a:gd name="T17" fmla="*/ 323 h 450"/>
                    <a:gd name="T18" fmla="*/ 292 w 420"/>
                    <a:gd name="T19" fmla="*/ 373 h 450"/>
                    <a:gd name="T20" fmla="*/ 287 w 420"/>
                    <a:gd name="T21" fmla="*/ 405 h 450"/>
                    <a:gd name="T22" fmla="*/ 297 w 420"/>
                    <a:gd name="T23" fmla="*/ 418 h 450"/>
                    <a:gd name="T24" fmla="*/ 292 w 420"/>
                    <a:gd name="T25" fmla="*/ 428 h 450"/>
                    <a:gd name="T26" fmla="*/ 278 w 420"/>
                    <a:gd name="T27" fmla="*/ 441 h 450"/>
                    <a:gd name="T28" fmla="*/ 269 w 420"/>
                    <a:gd name="T29" fmla="*/ 446 h 450"/>
                    <a:gd name="T30" fmla="*/ 269 w 420"/>
                    <a:gd name="T31" fmla="*/ 450 h 450"/>
                    <a:gd name="T32" fmla="*/ 237 w 420"/>
                    <a:gd name="T33" fmla="*/ 418 h 450"/>
                    <a:gd name="T34" fmla="*/ 219 w 420"/>
                    <a:gd name="T35" fmla="*/ 378 h 450"/>
                    <a:gd name="T36" fmla="*/ 205 w 420"/>
                    <a:gd name="T37" fmla="*/ 355 h 450"/>
                    <a:gd name="T38" fmla="*/ 187 w 420"/>
                    <a:gd name="T39" fmla="*/ 341 h 450"/>
                    <a:gd name="T40" fmla="*/ 151 w 420"/>
                    <a:gd name="T41" fmla="*/ 350 h 450"/>
                    <a:gd name="T42" fmla="*/ 114 w 420"/>
                    <a:gd name="T43" fmla="*/ 364 h 450"/>
                    <a:gd name="T44" fmla="*/ 64 w 420"/>
                    <a:gd name="T45" fmla="*/ 332 h 450"/>
                    <a:gd name="T46" fmla="*/ 32 w 420"/>
                    <a:gd name="T47" fmla="*/ 287 h 450"/>
                    <a:gd name="T48" fmla="*/ 10 w 420"/>
                    <a:gd name="T49" fmla="*/ 273 h 450"/>
                    <a:gd name="T50" fmla="*/ 0 w 420"/>
                    <a:gd name="T51" fmla="*/ 250 h 450"/>
                    <a:gd name="T52" fmla="*/ 14 w 420"/>
                    <a:gd name="T53" fmla="*/ 205 h 450"/>
                    <a:gd name="T54" fmla="*/ 32 w 420"/>
                    <a:gd name="T55" fmla="*/ 164 h 450"/>
                    <a:gd name="T56" fmla="*/ 46 w 420"/>
                    <a:gd name="T57" fmla="*/ 123 h 450"/>
                    <a:gd name="T58" fmla="*/ 55 w 420"/>
                    <a:gd name="T59" fmla="*/ 82 h 450"/>
                    <a:gd name="T60" fmla="*/ 119 w 420"/>
                    <a:gd name="T61" fmla="*/ 46 h 450"/>
                    <a:gd name="T62" fmla="*/ 183 w 420"/>
                    <a:gd name="T63" fmla="*/ 0 h 450"/>
                    <a:gd name="T64" fmla="*/ 183 w 420"/>
                    <a:gd name="T65" fmla="*/ 0 h 450"/>
                    <a:gd name="T66" fmla="*/ 187 w 420"/>
                    <a:gd name="T67" fmla="*/ 9 h 450"/>
                    <a:gd name="T68" fmla="*/ 219 w 420"/>
                    <a:gd name="T69" fmla="*/ 18 h 450"/>
                    <a:gd name="T70" fmla="*/ 242 w 420"/>
                    <a:gd name="T71" fmla="*/ 32 h 450"/>
                    <a:gd name="T72" fmla="*/ 256 w 420"/>
                    <a:gd name="T73" fmla="*/ 55 h 450"/>
                    <a:gd name="T74" fmla="*/ 274 w 420"/>
                    <a:gd name="T75" fmla="*/ 59 h 450"/>
                    <a:gd name="T76" fmla="*/ 283 w 420"/>
                    <a:gd name="T77" fmla="*/ 50 h 450"/>
                    <a:gd name="T78" fmla="*/ 301 w 420"/>
                    <a:gd name="T79" fmla="*/ 59 h 450"/>
                    <a:gd name="T80" fmla="*/ 333 w 420"/>
                    <a:gd name="T81" fmla="*/ 114 h 450"/>
                    <a:gd name="T82" fmla="*/ 342 w 420"/>
                    <a:gd name="T83" fmla="*/ 132 h 450"/>
                    <a:gd name="T84" fmla="*/ 342 w 420"/>
                    <a:gd name="T85" fmla="*/ 178 h 450"/>
                    <a:gd name="T86" fmla="*/ 369 w 420"/>
                    <a:gd name="T87" fmla="*/ 218 h 450"/>
                    <a:gd name="T88" fmla="*/ 420 w 420"/>
                    <a:gd name="T89" fmla="*/ 246 h 450"/>
                    <a:gd name="T90" fmla="*/ 420 w 420"/>
                    <a:gd name="T91" fmla="*/ 25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0" h="450">
                      <a:moveTo>
                        <a:pt x="420" y="250"/>
                      </a:moveTo>
                      <a:lnTo>
                        <a:pt x="420" y="255"/>
                      </a:lnTo>
                      <a:lnTo>
                        <a:pt x="420" y="255"/>
                      </a:lnTo>
                      <a:lnTo>
                        <a:pt x="420" y="259"/>
                      </a:lnTo>
                      <a:lnTo>
                        <a:pt x="420" y="264"/>
                      </a:lnTo>
                      <a:lnTo>
                        <a:pt x="420" y="268"/>
                      </a:lnTo>
                      <a:lnTo>
                        <a:pt x="420" y="273"/>
                      </a:lnTo>
                      <a:lnTo>
                        <a:pt x="420" y="278"/>
                      </a:lnTo>
                      <a:lnTo>
                        <a:pt x="415" y="282"/>
                      </a:lnTo>
                      <a:lnTo>
                        <a:pt x="401" y="291"/>
                      </a:lnTo>
                      <a:lnTo>
                        <a:pt x="388" y="305"/>
                      </a:lnTo>
                      <a:lnTo>
                        <a:pt x="369" y="323"/>
                      </a:lnTo>
                      <a:lnTo>
                        <a:pt x="365" y="328"/>
                      </a:lnTo>
                      <a:lnTo>
                        <a:pt x="351" y="328"/>
                      </a:lnTo>
                      <a:lnTo>
                        <a:pt x="347" y="318"/>
                      </a:lnTo>
                      <a:lnTo>
                        <a:pt x="338" y="314"/>
                      </a:lnTo>
                      <a:lnTo>
                        <a:pt x="328" y="314"/>
                      </a:lnTo>
                      <a:lnTo>
                        <a:pt x="315" y="323"/>
                      </a:lnTo>
                      <a:lnTo>
                        <a:pt x="301" y="346"/>
                      </a:lnTo>
                      <a:lnTo>
                        <a:pt x="292" y="373"/>
                      </a:lnTo>
                      <a:lnTo>
                        <a:pt x="287" y="396"/>
                      </a:lnTo>
                      <a:lnTo>
                        <a:pt x="287" y="405"/>
                      </a:lnTo>
                      <a:lnTo>
                        <a:pt x="292" y="409"/>
                      </a:lnTo>
                      <a:lnTo>
                        <a:pt x="297" y="418"/>
                      </a:lnTo>
                      <a:lnTo>
                        <a:pt x="297" y="423"/>
                      </a:lnTo>
                      <a:lnTo>
                        <a:pt x="292" y="428"/>
                      </a:lnTo>
                      <a:lnTo>
                        <a:pt x="287" y="432"/>
                      </a:lnTo>
                      <a:lnTo>
                        <a:pt x="278" y="441"/>
                      </a:lnTo>
                      <a:lnTo>
                        <a:pt x="269" y="446"/>
                      </a:lnTo>
                      <a:lnTo>
                        <a:pt x="269" y="446"/>
                      </a:lnTo>
                      <a:lnTo>
                        <a:pt x="269" y="450"/>
                      </a:lnTo>
                      <a:lnTo>
                        <a:pt x="269" y="450"/>
                      </a:lnTo>
                      <a:lnTo>
                        <a:pt x="251" y="437"/>
                      </a:lnTo>
                      <a:lnTo>
                        <a:pt x="237" y="418"/>
                      </a:lnTo>
                      <a:lnTo>
                        <a:pt x="228" y="396"/>
                      </a:lnTo>
                      <a:lnTo>
                        <a:pt x="219" y="378"/>
                      </a:lnTo>
                      <a:lnTo>
                        <a:pt x="215" y="368"/>
                      </a:lnTo>
                      <a:lnTo>
                        <a:pt x="205" y="355"/>
                      </a:lnTo>
                      <a:lnTo>
                        <a:pt x="196" y="346"/>
                      </a:lnTo>
                      <a:lnTo>
                        <a:pt x="187" y="341"/>
                      </a:lnTo>
                      <a:lnTo>
                        <a:pt x="169" y="346"/>
                      </a:lnTo>
                      <a:lnTo>
                        <a:pt x="151" y="350"/>
                      </a:lnTo>
                      <a:lnTo>
                        <a:pt x="137" y="359"/>
                      </a:lnTo>
                      <a:lnTo>
                        <a:pt x="114" y="364"/>
                      </a:lnTo>
                      <a:lnTo>
                        <a:pt x="82" y="355"/>
                      </a:lnTo>
                      <a:lnTo>
                        <a:pt x="64" y="332"/>
                      </a:lnTo>
                      <a:lnTo>
                        <a:pt x="51" y="305"/>
                      </a:lnTo>
                      <a:lnTo>
                        <a:pt x="32" y="287"/>
                      </a:lnTo>
                      <a:lnTo>
                        <a:pt x="19" y="278"/>
                      </a:lnTo>
                      <a:lnTo>
                        <a:pt x="10" y="273"/>
                      </a:lnTo>
                      <a:lnTo>
                        <a:pt x="0" y="268"/>
                      </a:lnTo>
                      <a:lnTo>
                        <a:pt x="0" y="250"/>
                      </a:lnTo>
                      <a:lnTo>
                        <a:pt x="10" y="228"/>
                      </a:lnTo>
                      <a:lnTo>
                        <a:pt x="14" y="205"/>
                      </a:lnTo>
                      <a:lnTo>
                        <a:pt x="23" y="187"/>
                      </a:lnTo>
                      <a:lnTo>
                        <a:pt x="32" y="164"/>
                      </a:lnTo>
                      <a:lnTo>
                        <a:pt x="37" y="146"/>
                      </a:lnTo>
                      <a:lnTo>
                        <a:pt x="46" y="123"/>
                      </a:lnTo>
                      <a:lnTo>
                        <a:pt x="51" y="105"/>
                      </a:lnTo>
                      <a:lnTo>
                        <a:pt x="55" y="82"/>
                      </a:lnTo>
                      <a:lnTo>
                        <a:pt x="78" y="59"/>
                      </a:lnTo>
                      <a:lnTo>
                        <a:pt x="119" y="46"/>
                      </a:lnTo>
                      <a:lnTo>
                        <a:pt x="160" y="32"/>
                      </a:lnTo>
                      <a:lnTo>
                        <a:pt x="183" y="0"/>
                      </a:lnTo>
                      <a:lnTo>
                        <a:pt x="183" y="0"/>
                      </a:lnTo>
                      <a:lnTo>
                        <a:pt x="183" y="0"/>
                      </a:lnTo>
                      <a:lnTo>
                        <a:pt x="183" y="0"/>
                      </a:lnTo>
                      <a:lnTo>
                        <a:pt x="187" y="9"/>
                      </a:lnTo>
                      <a:lnTo>
                        <a:pt x="205" y="18"/>
                      </a:lnTo>
                      <a:lnTo>
                        <a:pt x="219" y="18"/>
                      </a:lnTo>
                      <a:lnTo>
                        <a:pt x="233" y="23"/>
                      </a:lnTo>
                      <a:lnTo>
                        <a:pt x="242" y="32"/>
                      </a:lnTo>
                      <a:lnTo>
                        <a:pt x="246" y="46"/>
                      </a:lnTo>
                      <a:lnTo>
                        <a:pt x="256" y="55"/>
                      </a:lnTo>
                      <a:lnTo>
                        <a:pt x="269" y="59"/>
                      </a:lnTo>
                      <a:lnTo>
                        <a:pt x="274" y="59"/>
                      </a:lnTo>
                      <a:lnTo>
                        <a:pt x="278" y="55"/>
                      </a:lnTo>
                      <a:lnTo>
                        <a:pt x="283" y="50"/>
                      </a:lnTo>
                      <a:lnTo>
                        <a:pt x="287" y="50"/>
                      </a:lnTo>
                      <a:lnTo>
                        <a:pt x="301" y="59"/>
                      </a:lnTo>
                      <a:lnTo>
                        <a:pt x="319" y="87"/>
                      </a:lnTo>
                      <a:lnTo>
                        <a:pt x="333" y="114"/>
                      </a:lnTo>
                      <a:lnTo>
                        <a:pt x="342" y="132"/>
                      </a:lnTo>
                      <a:lnTo>
                        <a:pt x="342" y="132"/>
                      </a:lnTo>
                      <a:lnTo>
                        <a:pt x="342" y="178"/>
                      </a:lnTo>
                      <a:lnTo>
                        <a:pt x="342" y="178"/>
                      </a:lnTo>
                      <a:lnTo>
                        <a:pt x="351" y="200"/>
                      </a:lnTo>
                      <a:lnTo>
                        <a:pt x="369" y="218"/>
                      </a:lnTo>
                      <a:lnTo>
                        <a:pt x="388" y="232"/>
                      </a:lnTo>
                      <a:lnTo>
                        <a:pt x="420" y="246"/>
                      </a:lnTo>
                      <a:lnTo>
                        <a:pt x="420" y="246"/>
                      </a:lnTo>
                      <a:lnTo>
                        <a:pt x="420" y="250"/>
                      </a:lnTo>
                      <a:lnTo>
                        <a:pt x="420" y="250"/>
                      </a:lnTo>
                      <a:close/>
                    </a:path>
                  </a:pathLst>
                </a:custGeom>
                <a:grp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57" name="Freeform 270">
                  <a:extLst>
                    <a:ext uri="{FF2B5EF4-FFF2-40B4-BE49-F238E27FC236}">
                      <a16:creationId xmlns="" xmlns:a16="http://schemas.microsoft.com/office/drawing/2014/main" id="{9A8C07DD-4CAD-4F81-A359-61FA6665FE84}"/>
                    </a:ext>
                  </a:extLst>
                </p:cNvPr>
                <p:cNvSpPr>
                  <a:spLocks noChangeAspect="1"/>
                </p:cNvSpPr>
                <p:nvPr/>
              </p:nvSpPr>
              <p:spPr bwMode="auto">
                <a:xfrm>
                  <a:off x="2392" y="1364"/>
                  <a:ext cx="515" cy="381"/>
                </a:xfrm>
                <a:custGeom>
                  <a:avLst/>
                  <a:gdLst>
                    <a:gd name="T0" fmla="*/ 465 w 515"/>
                    <a:gd name="T1" fmla="*/ 341 h 381"/>
                    <a:gd name="T2" fmla="*/ 447 w 515"/>
                    <a:gd name="T3" fmla="*/ 345 h 381"/>
                    <a:gd name="T4" fmla="*/ 442 w 515"/>
                    <a:gd name="T5" fmla="*/ 359 h 381"/>
                    <a:gd name="T6" fmla="*/ 456 w 515"/>
                    <a:gd name="T7" fmla="*/ 372 h 381"/>
                    <a:gd name="T8" fmla="*/ 460 w 515"/>
                    <a:gd name="T9" fmla="*/ 377 h 381"/>
                    <a:gd name="T10" fmla="*/ 447 w 515"/>
                    <a:gd name="T11" fmla="*/ 381 h 381"/>
                    <a:gd name="T12" fmla="*/ 419 w 515"/>
                    <a:gd name="T13" fmla="*/ 381 h 381"/>
                    <a:gd name="T14" fmla="*/ 378 w 515"/>
                    <a:gd name="T15" fmla="*/ 368 h 381"/>
                    <a:gd name="T16" fmla="*/ 342 w 515"/>
                    <a:gd name="T17" fmla="*/ 354 h 381"/>
                    <a:gd name="T18" fmla="*/ 305 w 515"/>
                    <a:gd name="T19" fmla="*/ 341 h 381"/>
                    <a:gd name="T20" fmla="*/ 274 w 515"/>
                    <a:gd name="T21" fmla="*/ 331 h 381"/>
                    <a:gd name="T22" fmla="*/ 246 w 515"/>
                    <a:gd name="T23" fmla="*/ 327 h 381"/>
                    <a:gd name="T24" fmla="*/ 223 w 515"/>
                    <a:gd name="T25" fmla="*/ 318 h 381"/>
                    <a:gd name="T26" fmla="*/ 205 w 515"/>
                    <a:gd name="T27" fmla="*/ 300 h 381"/>
                    <a:gd name="T28" fmla="*/ 178 w 515"/>
                    <a:gd name="T29" fmla="*/ 295 h 381"/>
                    <a:gd name="T30" fmla="*/ 151 w 515"/>
                    <a:gd name="T31" fmla="*/ 304 h 381"/>
                    <a:gd name="T32" fmla="*/ 114 w 515"/>
                    <a:gd name="T33" fmla="*/ 304 h 381"/>
                    <a:gd name="T34" fmla="*/ 78 w 515"/>
                    <a:gd name="T35" fmla="*/ 300 h 381"/>
                    <a:gd name="T36" fmla="*/ 64 w 515"/>
                    <a:gd name="T37" fmla="*/ 281 h 381"/>
                    <a:gd name="T38" fmla="*/ 55 w 515"/>
                    <a:gd name="T39" fmla="*/ 263 h 381"/>
                    <a:gd name="T40" fmla="*/ 41 w 515"/>
                    <a:gd name="T41" fmla="*/ 250 h 381"/>
                    <a:gd name="T42" fmla="*/ 23 w 515"/>
                    <a:gd name="T43" fmla="*/ 231 h 381"/>
                    <a:gd name="T44" fmla="*/ 19 w 515"/>
                    <a:gd name="T45" fmla="*/ 209 h 381"/>
                    <a:gd name="T46" fmla="*/ 14 w 515"/>
                    <a:gd name="T47" fmla="*/ 195 h 381"/>
                    <a:gd name="T48" fmla="*/ 14 w 515"/>
                    <a:gd name="T49" fmla="*/ 177 h 381"/>
                    <a:gd name="T50" fmla="*/ 0 w 515"/>
                    <a:gd name="T51" fmla="*/ 159 h 381"/>
                    <a:gd name="T52" fmla="*/ 5 w 515"/>
                    <a:gd name="T53" fmla="*/ 136 h 381"/>
                    <a:gd name="T54" fmla="*/ 37 w 515"/>
                    <a:gd name="T55" fmla="*/ 118 h 381"/>
                    <a:gd name="T56" fmla="*/ 78 w 515"/>
                    <a:gd name="T57" fmla="*/ 113 h 381"/>
                    <a:gd name="T58" fmla="*/ 123 w 515"/>
                    <a:gd name="T59" fmla="*/ 104 h 381"/>
                    <a:gd name="T60" fmla="*/ 151 w 515"/>
                    <a:gd name="T61" fmla="*/ 81 h 381"/>
                    <a:gd name="T62" fmla="*/ 160 w 515"/>
                    <a:gd name="T63" fmla="*/ 45 h 381"/>
                    <a:gd name="T64" fmla="*/ 182 w 515"/>
                    <a:gd name="T65" fmla="*/ 13 h 381"/>
                    <a:gd name="T66" fmla="*/ 219 w 515"/>
                    <a:gd name="T67" fmla="*/ 0 h 381"/>
                    <a:gd name="T68" fmla="*/ 264 w 515"/>
                    <a:gd name="T69" fmla="*/ 0 h 381"/>
                    <a:gd name="T70" fmla="*/ 301 w 515"/>
                    <a:gd name="T71" fmla="*/ 9 h 381"/>
                    <a:gd name="T72" fmla="*/ 315 w 515"/>
                    <a:gd name="T73" fmla="*/ 41 h 381"/>
                    <a:gd name="T74" fmla="*/ 328 w 515"/>
                    <a:gd name="T75" fmla="*/ 81 h 381"/>
                    <a:gd name="T76" fmla="*/ 374 w 515"/>
                    <a:gd name="T77" fmla="*/ 86 h 381"/>
                    <a:gd name="T78" fmla="*/ 415 w 515"/>
                    <a:gd name="T79" fmla="*/ 77 h 381"/>
                    <a:gd name="T80" fmla="*/ 438 w 515"/>
                    <a:gd name="T81" fmla="*/ 77 h 381"/>
                    <a:gd name="T82" fmla="*/ 451 w 515"/>
                    <a:gd name="T83" fmla="*/ 77 h 381"/>
                    <a:gd name="T84" fmla="*/ 460 w 515"/>
                    <a:gd name="T85" fmla="*/ 81 h 381"/>
                    <a:gd name="T86" fmla="*/ 479 w 515"/>
                    <a:gd name="T87" fmla="*/ 86 h 381"/>
                    <a:gd name="T88" fmla="*/ 497 w 515"/>
                    <a:gd name="T89" fmla="*/ 91 h 381"/>
                    <a:gd name="T90" fmla="*/ 510 w 515"/>
                    <a:gd name="T91" fmla="*/ 113 h 381"/>
                    <a:gd name="T92" fmla="*/ 515 w 515"/>
                    <a:gd name="T93" fmla="*/ 136 h 381"/>
                    <a:gd name="T94" fmla="*/ 515 w 515"/>
                    <a:gd name="T95" fmla="*/ 150 h 381"/>
                    <a:gd name="T96" fmla="*/ 506 w 515"/>
                    <a:gd name="T97" fmla="*/ 163 h 381"/>
                    <a:gd name="T98" fmla="*/ 492 w 515"/>
                    <a:gd name="T99" fmla="*/ 172 h 381"/>
                    <a:gd name="T100" fmla="*/ 488 w 515"/>
                    <a:gd name="T101" fmla="*/ 195 h 381"/>
                    <a:gd name="T102" fmla="*/ 483 w 515"/>
                    <a:gd name="T103" fmla="*/ 222 h 381"/>
                    <a:gd name="T104" fmla="*/ 465 w 515"/>
                    <a:gd name="T105" fmla="*/ 245 h 381"/>
                    <a:gd name="T106" fmla="*/ 433 w 515"/>
                    <a:gd name="T107" fmla="*/ 259 h 381"/>
                    <a:gd name="T108" fmla="*/ 442 w 515"/>
                    <a:gd name="T109" fmla="*/ 281 h 381"/>
                    <a:gd name="T110" fmla="*/ 465 w 515"/>
                    <a:gd name="T111" fmla="*/ 300 h 381"/>
                    <a:gd name="T112" fmla="*/ 474 w 515"/>
                    <a:gd name="T113" fmla="*/ 322 h 381"/>
                    <a:gd name="T114" fmla="*/ 479 w 515"/>
                    <a:gd name="T115" fmla="*/ 336 h 381"/>
                    <a:gd name="T116" fmla="*/ 483 w 515"/>
                    <a:gd name="T117" fmla="*/ 341 h 381"/>
                    <a:gd name="T118" fmla="*/ 479 w 515"/>
                    <a:gd name="T119" fmla="*/ 34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5" h="381">
                      <a:moveTo>
                        <a:pt x="479" y="341"/>
                      </a:moveTo>
                      <a:lnTo>
                        <a:pt x="465" y="341"/>
                      </a:lnTo>
                      <a:lnTo>
                        <a:pt x="456" y="345"/>
                      </a:lnTo>
                      <a:lnTo>
                        <a:pt x="447" y="345"/>
                      </a:lnTo>
                      <a:lnTo>
                        <a:pt x="442" y="354"/>
                      </a:lnTo>
                      <a:lnTo>
                        <a:pt x="442" y="359"/>
                      </a:lnTo>
                      <a:lnTo>
                        <a:pt x="451" y="368"/>
                      </a:lnTo>
                      <a:lnTo>
                        <a:pt x="456" y="372"/>
                      </a:lnTo>
                      <a:lnTo>
                        <a:pt x="460" y="377"/>
                      </a:lnTo>
                      <a:lnTo>
                        <a:pt x="460" y="377"/>
                      </a:lnTo>
                      <a:lnTo>
                        <a:pt x="451" y="377"/>
                      </a:lnTo>
                      <a:lnTo>
                        <a:pt x="447" y="381"/>
                      </a:lnTo>
                      <a:lnTo>
                        <a:pt x="442" y="381"/>
                      </a:lnTo>
                      <a:lnTo>
                        <a:pt x="419" y="381"/>
                      </a:lnTo>
                      <a:lnTo>
                        <a:pt x="401" y="377"/>
                      </a:lnTo>
                      <a:lnTo>
                        <a:pt x="378" y="368"/>
                      </a:lnTo>
                      <a:lnTo>
                        <a:pt x="360" y="359"/>
                      </a:lnTo>
                      <a:lnTo>
                        <a:pt x="342" y="354"/>
                      </a:lnTo>
                      <a:lnTo>
                        <a:pt x="324" y="345"/>
                      </a:lnTo>
                      <a:lnTo>
                        <a:pt x="305" y="341"/>
                      </a:lnTo>
                      <a:lnTo>
                        <a:pt x="287" y="336"/>
                      </a:lnTo>
                      <a:lnTo>
                        <a:pt x="274" y="331"/>
                      </a:lnTo>
                      <a:lnTo>
                        <a:pt x="260" y="327"/>
                      </a:lnTo>
                      <a:lnTo>
                        <a:pt x="246" y="327"/>
                      </a:lnTo>
                      <a:lnTo>
                        <a:pt x="233" y="322"/>
                      </a:lnTo>
                      <a:lnTo>
                        <a:pt x="223" y="318"/>
                      </a:lnTo>
                      <a:lnTo>
                        <a:pt x="214" y="309"/>
                      </a:lnTo>
                      <a:lnTo>
                        <a:pt x="205" y="300"/>
                      </a:lnTo>
                      <a:lnTo>
                        <a:pt x="192" y="295"/>
                      </a:lnTo>
                      <a:lnTo>
                        <a:pt x="178" y="295"/>
                      </a:lnTo>
                      <a:lnTo>
                        <a:pt x="164" y="300"/>
                      </a:lnTo>
                      <a:lnTo>
                        <a:pt x="151" y="304"/>
                      </a:lnTo>
                      <a:lnTo>
                        <a:pt x="132" y="304"/>
                      </a:lnTo>
                      <a:lnTo>
                        <a:pt x="114" y="304"/>
                      </a:lnTo>
                      <a:lnTo>
                        <a:pt x="96" y="304"/>
                      </a:lnTo>
                      <a:lnTo>
                        <a:pt x="78" y="300"/>
                      </a:lnTo>
                      <a:lnTo>
                        <a:pt x="69" y="291"/>
                      </a:lnTo>
                      <a:lnTo>
                        <a:pt x="64" y="281"/>
                      </a:lnTo>
                      <a:lnTo>
                        <a:pt x="60" y="272"/>
                      </a:lnTo>
                      <a:lnTo>
                        <a:pt x="55" y="263"/>
                      </a:lnTo>
                      <a:lnTo>
                        <a:pt x="50" y="259"/>
                      </a:lnTo>
                      <a:lnTo>
                        <a:pt x="41" y="250"/>
                      </a:lnTo>
                      <a:lnTo>
                        <a:pt x="32" y="241"/>
                      </a:lnTo>
                      <a:lnTo>
                        <a:pt x="23" y="231"/>
                      </a:lnTo>
                      <a:lnTo>
                        <a:pt x="19" y="218"/>
                      </a:lnTo>
                      <a:lnTo>
                        <a:pt x="19" y="209"/>
                      </a:lnTo>
                      <a:lnTo>
                        <a:pt x="19" y="204"/>
                      </a:lnTo>
                      <a:lnTo>
                        <a:pt x="14" y="195"/>
                      </a:lnTo>
                      <a:lnTo>
                        <a:pt x="14" y="191"/>
                      </a:lnTo>
                      <a:lnTo>
                        <a:pt x="14" y="177"/>
                      </a:lnTo>
                      <a:lnTo>
                        <a:pt x="9" y="168"/>
                      </a:lnTo>
                      <a:lnTo>
                        <a:pt x="0" y="159"/>
                      </a:lnTo>
                      <a:lnTo>
                        <a:pt x="0" y="150"/>
                      </a:lnTo>
                      <a:lnTo>
                        <a:pt x="5" y="136"/>
                      </a:lnTo>
                      <a:lnTo>
                        <a:pt x="19" y="122"/>
                      </a:lnTo>
                      <a:lnTo>
                        <a:pt x="37" y="118"/>
                      </a:lnTo>
                      <a:lnTo>
                        <a:pt x="55" y="113"/>
                      </a:lnTo>
                      <a:lnTo>
                        <a:pt x="78" y="113"/>
                      </a:lnTo>
                      <a:lnTo>
                        <a:pt x="100" y="109"/>
                      </a:lnTo>
                      <a:lnTo>
                        <a:pt x="123" y="104"/>
                      </a:lnTo>
                      <a:lnTo>
                        <a:pt x="137" y="95"/>
                      </a:lnTo>
                      <a:lnTo>
                        <a:pt x="151" y="81"/>
                      </a:lnTo>
                      <a:lnTo>
                        <a:pt x="155" y="63"/>
                      </a:lnTo>
                      <a:lnTo>
                        <a:pt x="160" y="45"/>
                      </a:lnTo>
                      <a:lnTo>
                        <a:pt x="169" y="22"/>
                      </a:lnTo>
                      <a:lnTo>
                        <a:pt x="182" y="13"/>
                      </a:lnTo>
                      <a:lnTo>
                        <a:pt x="201" y="4"/>
                      </a:lnTo>
                      <a:lnTo>
                        <a:pt x="219" y="0"/>
                      </a:lnTo>
                      <a:lnTo>
                        <a:pt x="242" y="0"/>
                      </a:lnTo>
                      <a:lnTo>
                        <a:pt x="264" y="0"/>
                      </a:lnTo>
                      <a:lnTo>
                        <a:pt x="283" y="4"/>
                      </a:lnTo>
                      <a:lnTo>
                        <a:pt x="301" y="9"/>
                      </a:lnTo>
                      <a:lnTo>
                        <a:pt x="310" y="22"/>
                      </a:lnTo>
                      <a:lnTo>
                        <a:pt x="315" y="41"/>
                      </a:lnTo>
                      <a:lnTo>
                        <a:pt x="319" y="63"/>
                      </a:lnTo>
                      <a:lnTo>
                        <a:pt x="328" y="81"/>
                      </a:lnTo>
                      <a:lnTo>
                        <a:pt x="351" y="86"/>
                      </a:lnTo>
                      <a:lnTo>
                        <a:pt x="374" y="86"/>
                      </a:lnTo>
                      <a:lnTo>
                        <a:pt x="397" y="81"/>
                      </a:lnTo>
                      <a:lnTo>
                        <a:pt x="415" y="77"/>
                      </a:lnTo>
                      <a:lnTo>
                        <a:pt x="433" y="77"/>
                      </a:lnTo>
                      <a:lnTo>
                        <a:pt x="438" y="77"/>
                      </a:lnTo>
                      <a:lnTo>
                        <a:pt x="442" y="77"/>
                      </a:lnTo>
                      <a:lnTo>
                        <a:pt x="451" y="77"/>
                      </a:lnTo>
                      <a:lnTo>
                        <a:pt x="456" y="77"/>
                      </a:lnTo>
                      <a:lnTo>
                        <a:pt x="460" y="81"/>
                      </a:lnTo>
                      <a:lnTo>
                        <a:pt x="469" y="81"/>
                      </a:lnTo>
                      <a:lnTo>
                        <a:pt x="479" y="86"/>
                      </a:lnTo>
                      <a:lnTo>
                        <a:pt x="483" y="86"/>
                      </a:lnTo>
                      <a:lnTo>
                        <a:pt x="497" y="91"/>
                      </a:lnTo>
                      <a:lnTo>
                        <a:pt x="506" y="100"/>
                      </a:lnTo>
                      <a:lnTo>
                        <a:pt x="510" y="113"/>
                      </a:lnTo>
                      <a:lnTo>
                        <a:pt x="515" y="131"/>
                      </a:lnTo>
                      <a:lnTo>
                        <a:pt x="515" y="136"/>
                      </a:lnTo>
                      <a:lnTo>
                        <a:pt x="515" y="141"/>
                      </a:lnTo>
                      <a:lnTo>
                        <a:pt x="515" y="150"/>
                      </a:lnTo>
                      <a:lnTo>
                        <a:pt x="510" y="154"/>
                      </a:lnTo>
                      <a:lnTo>
                        <a:pt x="506" y="163"/>
                      </a:lnTo>
                      <a:lnTo>
                        <a:pt x="501" y="168"/>
                      </a:lnTo>
                      <a:lnTo>
                        <a:pt x="492" y="172"/>
                      </a:lnTo>
                      <a:lnTo>
                        <a:pt x="488" y="177"/>
                      </a:lnTo>
                      <a:lnTo>
                        <a:pt x="488" y="195"/>
                      </a:lnTo>
                      <a:lnTo>
                        <a:pt x="488" y="209"/>
                      </a:lnTo>
                      <a:lnTo>
                        <a:pt x="483" y="222"/>
                      </a:lnTo>
                      <a:lnTo>
                        <a:pt x="479" y="236"/>
                      </a:lnTo>
                      <a:lnTo>
                        <a:pt x="465" y="245"/>
                      </a:lnTo>
                      <a:lnTo>
                        <a:pt x="451" y="250"/>
                      </a:lnTo>
                      <a:lnTo>
                        <a:pt x="433" y="259"/>
                      </a:lnTo>
                      <a:lnTo>
                        <a:pt x="433" y="268"/>
                      </a:lnTo>
                      <a:lnTo>
                        <a:pt x="442" y="281"/>
                      </a:lnTo>
                      <a:lnTo>
                        <a:pt x="456" y="291"/>
                      </a:lnTo>
                      <a:lnTo>
                        <a:pt x="465" y="300"/>
                      </a:lnTo>
                      <a:lnTo>
                        <a:pt x="474" y="313"/>
                      </a:lnTo>
                      <a:lnTo>
                        <a:pt x="474" y="322"/>
                      </a:lnTo>
                      <a:lnTo>
                        <a:pt x="474" y="331"/>
                      </a:lnTo>
                      <a:lnTo>
                        <a:pt x="479" y="336"/>
                      </a:lnTo>
                      <a:lnTo>
                        <a:pt x="483" y="341"/>
                      </a:lnTo>
                      <a:lnTo>
                        <a:pt x="483" y="341"/>
                      </a:lnTo>
                      <a:lnTo>
                        <a:pt x="479" y="341"/>
                      </a:lnTo>
                      <a:lnTo>
                        <a:pt x="479" y="341"/>
                      </a:lnTo>
                      <a:close/>
                    </a:path>
                  </a:pathLst>
                </a:custGeom>
                <a:grp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58" name="Freeform 271">
                  <a:extLst>
                    <a:ext uri="{FF2B5EF4-FFF2-40B4-BE49-F238E27FC236}">
                      <a16:creationId xmlns="" xmlns:a16="http://schemas.microsoft.com/office/drawing/2014/main" id="{30CC588B-D852-44E9-81A1-0076360C2576}"/>
                    </a:ext>
                  </a:extLst>
                </p:cNvPr>
                <p:cNvSpPr>
                  <a:spLocks noChangeAspect="1"/>
                </p:cNvSpPr>
                <p:nvPr/>
              </p:nvSpPr>
              <p:spPr bwMode="auto">
                <a:xfrm>
                  <a:off x="2133" y="1450"/>
                  <a:ext cx="501" cy="427"/>
                </a:xfrm>
                <a:custGeom>
                  <a:avLst/>
                  <a:gdLst>
                    <a:gd name="T0" fmla="*/ 241 w 501"/>
                    <a:gd name="T1" fmla="*/ 414 h 427"/>
                    <a:gd name="T2" fmla="*/ 278 w 501"/>
                    <a:gd name="T3" fmla="*/ 395 h 427"/>
                    <a:gd name="T4" fmla="*/ 309 w 501"/>
                    <a:gd name="T5" fmla="*/ 391 h 427"/>
                    <a:gd name="T6" fmla="*/ 332 w 501"/>
                    <a:gd name="T7" fmla="*/ 400 h 427"/>
                    <a:gd name="T8" fmla="*/ 359 w 501"/>
                    <a:gd name="T9" fmla="*/ 400 h 427"/>
                    <a:gd name="T10" fmla="*/ 378 w 501"/>
                    <a:gd name="T11" fmla="*/ 391 h 427"/>
                    <a:gd name="T12" fmla="*/ 391 w 501"/>
                    <a:gd name="T13" fmla="*/ 382 h 427"/>
                    <a:gd name="T14" fmla="*/ 400 w 501"/>
                    <a:gd name="T15" fmla="*/ 377 h 427"/>
                    <a:gd name="T16" fmla="*/ 423 w 501"/>
                    <a:gd name="T17" fmla="*/ 382 h 427"/>
                    <a:gd name="T18" fmla="*/ 437 w 501"/>
                    <a:gd name="T19" fmla="*/ 395 h 427"/>
                    <a:gd name="T20" fmla="*/ 460 w 501"/>
                    <a:gd name="T21" fmla="*/ 395 h 427"/>
                    <a:gd name="T22" fmla="*/ 460 w 501"/>
                    <a:gd name="T23" fmla="*/ 382 h 427"/>
                    <a:gd name="T24" fmla="*/ 460 w 501"/>
                    <a:gd name="T25" fmla="*/ 373 h 427"/>
                    <a:gd name="T26" fmla="*/ 460 w 501"/>
                    <a:gd name="T27" fmla="*/ 355 h 427"/>
                    <a:gd name="T28" fmla="*/ 464 w 501"/>
                    <a:gd name="T29" fmla="*/ 336 h 427"/>
                    <a:gd name="T30" fmla="*/ 496 w 501"/>
                    <a:gd name="T31" fmla="*/ 318 h 427"/>
                    <a:gd name="T32" fmla="*/ 496 w 501"/>
                    <a:gd name="T33" fmla="*/ 291 h 427"/>
                    <a:gd name="T34" fmla="*/ 478 w 501"/>
                    <a:gd name="T35" fmla="*/ 273 h 427"/>
                    <a:gd name="T36" fmla="*/ 473 w 501"/>
                    <a:gd name="T37" fmla="*/ 255 h 427"/>
                    <a:gd name="T38" fmla="*/ 487 w 501"/>
                    <a:gd name="T39" fmla="*/ 241 h 427"/>
                    <a:gd name="T40" fmla="*/ 482 w 501"/>
                    <a:gd name="T41" fmla="*/ 232 h 427"/>
                    <a:gd name="T42" fmla="*/ 464 w 501"/>
                    <a:gd name="T43" fmla="*/ 214 h 427"/>
                    <a:gd name="T44" fmla="*/ 437 w 501"/>
                    <a:gd name="T45" fmla="*/ 209 h 427"/>
                    <a:gd name="T46" fmla="*/ 410 w 501"/>
                    <a:gd name="T47" fmla="*/ 218 h 427"/>
                    <a:gd name="T48" fmla="*/ 373 w 501"/>
                    <a:gd name="T49" fmla="*/ 218 h 427"/>
                    <a:gd name="T50" fmla="*/ 337 w 501"/>
                    <a:gd name="T51" fmla="*/ 214 h 427"/>
                    <a:gd name="T52" fmla="*/ 323 w 501"/>
                    <a:gd name="T53" fmla="*/ 195 h 427"/>
                    <a:gd name="T54" fmla="*/ 314 w 501"/>
                    <a:gd name="T55" fmla="*/ 177 h 427"/>
                    <a:gd name="T56" fmla="*/ 300 w 501"/>
                    <a:gd name="T57" fmla="*/ 164 h 427"/>
                    <a:gd name="T58" fmla="*/ 282 w 501"/>
                    <a:gd name="T59" fmla="*/ 145 h 427"/>
                    <a:gd name="T60" fmla="*/ 278 w 501"/>
                    <a:gd name="T61" fmla="*/ 123 h 427"/>
                    <a:gd name="T62" fmla="*/ 273 w 501"/>
                    <a:gd name="T63" fmla="*/ 109 h 427"/>
                    <a:gd name="T64" fmla="*/ 273 w 501"/>
                    <a:gd name="T65" fmla="*/ 91 h 427"/>
                    <a:gd name="T66" fmla="*/ 264 w 501"/>
                    <a:gd name="T67" fmla="*/ 73 h 427"/>
                    <a:gd name="T68" fmla="*/ 255 w 501"/>
                    <a:gd name="T69" fmla="*/ 68 h 427"/>
                    <a:gd name="T70" fmla="*/ 237 w 501"/>
                    <a:gd name="T71" fmla="*/ 73 h 427"/>
                    <a:gd name="T72" fmla="*/ 182 w 501"/>
                    <a:gd name="T73" fmla="*/ 59 h 427"/>
                    <a:gd name="T74" fmla="*/ 127 w 501"/>
                    <a:gd name="T75" fmla="*/ 9 h 427"/>
                    <a:gd name="T76" fmla="*/ 73 w 501"/>
                    <a:gd name="T77" fmla="*/ 9 h 427"/>
                    <a:gd name="T78" fmla="*/ 59 w 501"/>
                    <a:gd name="T79" fmla="*/ 68 h 427"/>
                    <a:gd name="T80" fmla="*/ 45 w 501"/>
                    <a:gd name="T81" fmla="*/ 114 h 427"/>
                    <a:gd name="T82" fmla="*/ 9 w 501"/>
                    <a:gd name="T83" fmla="*/ 155 h 427"/>
                    <a:gd name="T84" fmla="*/ 4 w 501"/>
                    <a:gd name="T85" fmla="*/ 186 h 427"/>
                    <a:gd name="T86" fmla="*/ 36 w 501"/>
                    <a:gd name="T87" fmla="*/ 195 h 427"/>
                    <a:gd name="T88" fmla="*/ 59 w 501"/>
                    <a:gd name="T89" fmla="*/ 209 h 427"/>
                    <a:gd name="T90" fmla="*/ 73 w 501"/>
                    <a:gd name="T91" fmla="*/ 232 h 427"/>
                    <a:gd name="T92" fmla="*/ 91 w 501"/>
                    <a:gd name="T93" fmla="*/ 236 h 427"/>
                    <a:gd name="T94" fmla="*/ 100 w 501"/>
                    <a:gd name="T95" fmla="*/ 227 h 427"/>
                    <a:gd name="T96" fmla="*/ 118 w 501"/>
                    <a:gd name="T97" fmla="*/ 236 h 427"/>
                    <a:gd name="T98" fmla="*/ 150 w 501"/>
                    <a:gd name="T99" fmla="*/ 291 h 427"/>
                    <a:gd name="T100" fmla="*/ 159 w 501"/>
                    <a:gd name="T101" fmla="*/ 309 h 427"/>
                    <a:gd name="T102" fmla="*/ 159 w 501"/>
                    <a:gd name="T103" fmla="*/ 355 h 427"/>
                    <a:gd name="T104" fmla="*/ 186 w 501"/>
                    <a:gd name="T105" fmla="*/ 395 h 427"/>
                    <a:gd name="T106" fmla="*/ 237 w 501"/>
                    <a:gd name="T107" fmla="*/ 423 h 427"/>
                    <a:gd name="T108" fmla="*/ 237 w 501"/>
                    <a:gd name="T10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01" h="427">
                      <a:moveTo>
                        <a:pt x="237" y="427"/>
                      </a:moveTo>
                      <a:lnTo>
                        <a:pt x="241" y="414"/>
                      </a:lnTo>
                      <a:lnTo>
                        <a:pt x="259" y="400"/>
                      </a:lnTo>
                      <a:lnTo>
                        <a:pt x="278" y="395"/>
                      </a:lnTo>
                      <a:lnTo>
                        <a:pt x="296" y="391"/>
                      </a:lnTo>
                      <a:lnTo>
                        <a:pt x="309" y="391"/>
                      </a:lnTo>
                      <a:lnTo>
                        <a:pt x="323" y="395"/>
                      </a:lnTo>
                      <a:lnTo>
                        <a:pt x="332" y="400"/>
                      </a:lnTo>
                      <a:lnTo>
                        <a:pt x="346" y="400"/>
                      </a:lnTo>
                      <a:lnTo>
                        <a:pt x="359" y="400"/>
                      </a:lnTo>
                      <a:lnTo>
                        <a:pt x="369" y="395"/>
                      </a:lnTo>
                      <a:lnTo>
                        <a:pt x="378" y="391"/>
                      </a:lnTo>
                      <a:lnTo>
                        <a:pt x="387" y="386"/>
                      </a:lnTo>
                      <a:lnTo>
                        <a:pt x="391" y="382"/>
                      </a:lnTo>
                      <a:lnTo>
                        <a:pt x="396" y="382"/>
                      </a:lnTo>
                      <a:lnTo>
                        <a:pt x="400" y="377"/>
                      </a:lnTo>
                      <a:lnTo>
                        <a:pt x="410" y="377"/>
                      </a:lnTo>
                      <a:lnTo>
                        <a:pt x="423" y="382"/>
                      </a:lnTo>
                      <a:lnTo>
                        <a:pt x="432" y="386"/>
                      </a:lnTo>
                      <a:lnTo>
                        <a:pt x="437" y="395"/>
                      </a:lnTo>
                      <a:lnTo>
                        <a:pt x="451" y="400"/>
                      </a:lnTo>
                      <a:lnTo>
                        <a:pt x="460" y="395"/>
                      </a:lnTo>
                      <a:lnTo>
                        <a:pt x="464" y="391"/>
                      </a:lnTo>
                      <a:lnTo>
                        <a:pt x="460" y="382"/>
                      </a:lnTo>
                      <a:lnTo>
                        <a:pt x="460" y="377"/>
                      </a:lnTo>
                      <a:lnTo>
                        <a:pt x="460" y="373"/>
                      </a:lnTo>
                      <a:lnTo>
                        <a:pt x="460" y="364"/>
                      </a:lnTo>
                      <a:lnTo>
                        <a:pt x="460" y="355"/>
                      </a:lnTo>
                      <a:lnTo>
                        <a:pt x="460" y="345"/>
                      </a:lnTo>
                      <a:lnTo>
                        <a:pt x="464" y="336"/>
                      </a:lnTo>
                      <a:lnTo>
                        <a:pt x="482" y="327"/>
                      </a:lnTo>
                      <a:lnTo>
                        <a:pt x="496" y="318"/>
                      </a:lnTo>
                      <a:lnTo>
                        <a:pt x="501" y="305"/>
                      </a:lnTo>
                      <a:lnTo>
                        <a:pt x="496" y="291"/>
                      </a:lnTo>
                      <a:lnTo>
                        <a:pt x="487" y="282"/>
                      </a:lnTo>
                      <a:lnTo>
                        <a:pt x="478" y="273"/>
                      </a:lnTo>
                      <a:lnTo>
                        <a:pt x="473" y="259"/>
                      </a:lnTo>
                      <a:lnTo>
                        <a:pt x="473" y="255"/>
                      </a:lnTo>
                      <a:lnTo>
                        <a:pt x="482" y="245"/>
                      </a:lnTo>
                      <a:lnTo>
                        <a:pt x="487" y="241"/>
                      </a:lnTo>
                      <a:lnTo>
                        <a:pt x="492" y="236"/>
                      </a:lnTo>
                      <a:lnTo>
                        <a:pt x="482" y="232"/>
                      </a:lnTo>
                      <a:lnTo>
                        <a:pt x="473" y="223"/>
                      </a:lnTo>
                      <a:lnTo>
                        <a:pt x="464" y="214"/>
                      </a:lnTo>
                      <a:lnTo>
                        <a:pt x="451" y="209"/>
                      </a:lnTo>
                      <a:lnTo>
                        <a:pt x="437" y="209"/>
                      </a:lnTo>
                      <a:lnTo>
                        <a:pt x="423" y="214"/>
                      </a:lnTo>
                      <a:lnTo>
                        <a:pt x="410" y="218"/>
                      </a:lnTo>
                      <a:lnTo>
                        <a:pt x="391" y="218"/>
                      </a:lnTo>
                      <a:lnTo>
                        <a:pt x="373" y="218"/>
                      </a:lnTo>
                      <a:lnTo>
                        <a:pt x="355" y="218"/>
                      </a:lnTo>
                      <a:lnTo>
                        <a:pt x="337" y="214"/>
                      </a:lnTo>
                      <a:lnTo>
                        <a:pt x="328" y="205"/>
                      </a:lnTo>
                      <a:lnTo>
                        <a:pt x="323" y="195"/>
                      </a:lnTo>
                      <a:lnTo>
                        <a:pt x="319" y="186"/>
                      </a:lnTo>
                      <a:lnTo>
                        <a:pt x="314" y="177"/>
                      </a:lnTo>
                      <a:lnTo>
                        <a:pt x="309" y="173"/>
                      </a:lnTo>
                      <a:lnTo>
                        <a:pt x="300" y="164"/>
                      </a:lnTo>
                      <a:lnTo>
                        <a:pt x="291" y="155"/>
                      </a:lnTo>
                      <a:lnTo>
                        <a:pt x="282" y="145"/>
                      </a:lnTo>
                      <a:lnTo>
                        <a:pt x="278" y="132"/>
                      </a:lnTo>
                      <a:lnTo>
                        <a:pt x="278" y="123"/>
                      </a:lnTo>
                      <a:lnTo>
                        <a:pt x="278" y="118"/>
                      </a:lnTo>
                      <a:lnTo>
                        <a:pt x="273" y="109"/>
                      </a:lnTo>
                      <a:lnTo>
                        <a:pt x="273" y="105"/>
                      </a:lnTo>
                      <a:lnTo>
                        <a:pt x="273" y="91"/>
                      </a:lnTo>
                      <a:lnTo>
                        <a:pt x="268" y="82"/>
                      </a:lnTo>
                      <a:lnTo>
                        <a:pt x="264" y="73"/>
                      </a:lnTo>
                      <a:lnTo>
                        <a:pt x="264" y="64"/>
                      </a:lnTo>
                      <a:lnTo>
                        <a:pt x="255" y="68"/>
                      </a:lnTo>
                      <a:lnTo>
                        <a:pt x="246" y="68"/>
                      </a:lnTo>
                      <a:lnTo>
                        <a:pt x="237" y="73"/>
                      </a:lnTo>
                      <a:lnTo>
                        <a:pt x="223" y="73"/>
                      </a:lnTo>
                      <a:lnTo>
                        <a:pt x="182" y="59"/>
                      </a:lnTo>
                      <a:lnTo>
                        <a:pt x="155" y="36"/>
                      </a:lnTo>
                      <a:lnTo>
                        <a:pt x="127" y="9"/>
                      </a:lnTo>
                      <a:lnTo>
                        <a:pt x="91" y="0"/>
                      </a:lnTo>
                      <a:lnTo>
                        <a:pt x="73" y="9"/>
                      </a:lnTo>
                      <a:lnTo>
                        <a:pt x="63" y="36"/>
                      </a:lnTo>
                      <a:lnTo>
                        <a:pt x="59" y="68"/>
                      </a:lnTo>
                      <a:lnTo>
                        <a:pt x="54" y="91"/>
                      </a:lnTo>
                      <a:lnTo>
                        <a:pt x="45" y="114"/>
                      </a:lnTo>
                      <a:lnTo>
                        <a:pt x="27" y="132"/>
                      </a:lnTo>
                      <a:lnTo>
                        <a:pt x="9" y="155"/>
                      </a:lnTo>
                      <a:lnTo>
                        <a:pt x="0" y="177"/>
                      </a:lnTo>
                      <a:lnTo>
                        <a:pt x="4" y="186"/>
                      </a:lnTo>
                      <a:lnTo>
                        <a:pt x="22" y="195"/>
                      </a:lnTo>
                      <a:lnTo>
                        <a:pt x="36" y="195"/>
                      </a:lnTo>
                      <a:lnTo>
                        <a:pt x="50" y="200"/>
                      </a:lnTo>
                      <a:lnTo>
                        <a:pt x="59" y="209"/>
                      </a:lnTo>
                      <a:lnTo>
                        <a:pt x="63" y="223"/>
                      </a:lnTo>
                      <a:lnTo>
                        <a:pt x="73" y="232"/>
                      </a:lnTo>
                      <a:lnTo>
                        <a:pt x="86" y="236"/>
                      </a:lnTo>
                      <a:lnTo>
                        <a:pt x="91" y="236"/>
                      </a:lnTo>
                      <a:lnTo>
                        <a:pt x="95" y="232"/>
                      </a:lnTo>
                      <a:lnTo>
                        <a:pt x="100" y="227"/>
                      </a:lnTo>
                      <a:lnTo>
                        <a:pt x="104" y="227"/>
                      </a:lnTo>
                      <a:lnTo>
                        <a:pt x="118" y="236"/>
                      </a:lnTo>
                      <a:lnTo>
                        <a:pt x="136" y="264"/>
                      </a:lnTo>
                      <a:lnTo>
                        <a:pt x="150" y="291"/>
                      </a:lnTo>
                      <a:lnTo>
                        <a:pt x="159" y="309"/>
                      </a:lnTo>
                      <a:lnTo>
                        <a:pt x="159" y="309"/>
                      </a:lnTo>
                      <a:lnTo>
                        <a:pt x="159" y="355"/>
                      </a:lnTo>
                      <a:lnTo>
                        <a:pt x="159" y="355"/>
                      </a:lnTo>
                      <a:lnTo>
                        <a:pt x="168" y="377"/>
                      </a:lnTo>
                      <a:lnTo>
                        <a:pt x="186" y="395"/>
                      </a:lnTo>
                      <a:lnTo>
                        <a:pt x="205" y="409"/>
                      </a:lnTo>
                      <a:lnTo>
                        <a:pt x="237" y="423"/>
                      </a:lnTo>
                      <a:lnTo>
                        <a:pt x="237" y="423"/>
                      </a:lnTo>
                      <a:lnTo>
                        <a:pt x="237" y="427"/>
                      </a:lnTo>
                      <a:lnTo>
                        <a:pt x="237" y="427"/>
                      </a:lnTo>
                      <a:close/>
                    </a:path>
                  </a:pathLst>
                </a:custGeom>
                <a:grp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59" name="Freeform 272">
                  <a:extLst>
                    <a:ext uri="{FF2B5EF4-FFF2-40B4-BE49-F238E27FC236}">
                      <a16:creationId xmlns="" xmlns:a16="http://schemas.microsoft.com/office/drawing/2014/main" id="{D0E96180-5DD7-4C93-B780-D307E2DCF9CE}"/>
                    </a:ext>
                  </a:extLst>
                </p:cNvPr>
                <p:cNvSpPr>
                  <a:spLocks noChangeAspect="1"/>
                </p:cNvSpPr>
                <p:nvPr/>
              </p:nvSpPr>
              <p:spPr bwMode="auto">
                <a:xfrm>
                  <a:off x="2215" y="1836"/>
                  <a:ext cx="405" cy="418"/>
                </a:xfrm>
                <a:custGeom>
                  <a:avLst/>
                  <a:gdLst>
                    <a:gd name="T0" fmla="*/ 155 w 405"/>
                    <a:gd name="T1" fmla="*/ 414 h 418"/>
                    <a:gd name="T2" fmla="*/ 123 w 405"/>
                    <a:gd name="T3" fmla="*/ 405 h 418"/>
                    <a:gd name="T4" fmla="*/ 95 w 405"/>
                    <a:gd name="T5" fmla="*/ 387 h 418"/>
                    <a:gd name="T6" fmla="*/ 77 w 405"/>
                    <a:gd name="T7" fmla="*/ 341 h 418"/>
                    <a:gd name="T8" fmla="*/ 32 w 405"/>
                    <a:gd name="T9" fmla="*/ 318 h 418"/>
                    <a:gd name="T10" fmla="*/ 4 w 405"/>
                    <a:gd name="T11" fmla="*/ 282 h 418"/>
                    <a:gd name="T12" fmla="*/ 4 w 405"/>
                    <a:gd name="T13" fmla="*/ 237 h 418"/>
                    <a:gd name="T14" fmla="*/ 27 w 405"/>
                    <a:gd name="T15" fmla="*/ 223 h 418"/>
                    <a:gd name="T16" fmla="*/ 32 w 405"/>
                    <a:gd name="T17" fmla="*/ 209 h 418"/>
                    <a:gd name="T18" fmla="*/ 22 w 405"/>
                    <a:gd name="T19" fmla="*/ 196 h 418"/>
                    <a:gd name="T20" fmla="*/ 27 w 405"/>
                    <a:gd name="T21" fmla="*/ 164 h 418"/>
                    <a:gd name="T22" fmla="*/ 50 w 405"/>
                    <a:gd name="T23" fmla="*/ 114 h 418"/>
                    <a:gd name="T24" fmla="*/ 73 w 405"/>
                    <a:gd name="T25" fmla="*/ 105 h 418"/>
                    <a:gd name="T26" fmla="*/ 86 w 405"/>
                    <a:gd name="T27" fmla="*/ 119 h 418"/>
                    <a:gd name="T28" fmla="*/ 104 w 405"/>
                    <a:gd name="T29" fmla="*/ 114 h 418"/>
                    <a:gd name="T30" fmla="*/ 136 w 405"/>
                    <a:gd name="T31" fmla="*/ 82 h 418"/>
                    <a:gd name="T32" fmla="*/ 155 w 405"/>
                    <a:gd name="T33" fmla="*/ 69 h 418"/>
                    <a:gd name="T34" fmla="*/ 155 w 405"/>
                    <a:gd name="T35" fmla="*/ 59 h 418"/>
                    <a:gd name="T36" fmla="*/ 155 w 405"/>
                    <a:gd name="T37" fmla="*/ 50 h 418"/>
                    <a:gd name="T38" fmla="*/ 155 w 405"/>
                    <a:gd name="T39" fmla="*/ 46 h 418"/>
                    <a:gd name="T40" fmla="*/ 159 w 405"/>
                    <a:gd name="T41" fmla="*/ 28 h 418"/>
                    <a:gd name="T42" fmla="*/ 196 w 405"/>
                    <a:gd name="T43" fmla="*/ 9 h 418"/>
                    <a:gd name="T44" fmla="*/ 227 w 405"/>
                    <a:gd name="T45" fmla="*/ 5 h 418"/>
                    <a:gd name="T46" fmla="*/ 250 w 405"/>
                    <a:gd name="T47" fmla="*/ 14 h 418"/>
                    <a:gd name="T48" fmla="*/ 277 w 405"/>
                    <a:gd name="T49" fmla="*/ 14 h 418"/>
                    <a:gd name="T50" fmla="*/ 296 w 405"/>
                    <a:gd name="T51" fmla="*/ 5 h 418"/>
                    <a:gd name="T52" fmla="*/ 300 w 405"/>
                    <a:gd name="T53" fmla="*/ 9 h 418"/>
                    <a:gd name="T54" fmla="*/ 300 w 405"/>
                    <a:gd name="T55" fmla="*/ 23 h 418"/>
                    <a:gd name="T56" fmla="*/ 291 w 405"/>
                    <a:gd name="T57" fmla="*/ 41 h 418"/>
                    <a:gd name="T58" fmla="*/ 277 w 405"/>
                    <a:gd name="T59" fmla="*/ 50 h 418"/>
                    <a:gd name="T60" fmla="*/ 282 w 405"/>
                    <a:gd name="T61" fmla="*/ 64 h 418"/>
                    <a:gd name="T62" fmla="*/ 296 w 405"/>
                    <a:gd name="T63" fmla="*/ 64 h 418"/>
                    <a:gd name="T64" fmla="*/ 323 w 405"/>
                    <a:gd name="T65" fmla="*/ 69 h 418"/>
                    <a:gd name="T66" fmla="*/ 355 w 405"/>
                    <a:gd name="T67" fmla="*/ 82 h 418"/>
                    <a:gd name="T68" fmla="*/ 369 w 405"/>
                    <a:gd name="T69" fmla="*/ 105 h 418"/>
                    <a:gd name="T70" fmla="*/ 369 w 405"/>
                    <a:gd name="T71" fmla="*/ 132 h 418"/>
                    <a:gd name="T72" fmla="*/ 378 w 405"/>
                    <a:gd name="T73" fmla="*/ 150 h 418"/>
                    <a:gd name="T74" fmla="*/ 391 w 405"/>
                    <a:gd name="T75" fmla="*/ 159 h 418"/>
                    <a:gd name="T76" fmla="*/ 396 w 405"/>
                    <a:gd name="T77" fmla="*/ 178 h 418"/>
                    <a:gd name="T78" fmla="*/ 382 w 405"/>
                    <a:gd name="T79" fmla="*/ 191 h 418"/>
                    <a:gd name="T80" fmla="*/ 382 w 405"/>
                    <a:gd name="T81" fmla="*/ 228 h 418"/>
                    <a:gd name="T82" fmla="*/ 391 w 405"/>
                    <a:gd name="T83" fmla="*/ 264 h 418"/>
                    <a:gd name="T84" fmla="*/ 396 w 405"/>
                    <a:gd name="T85" fmla="*/ 291 h 418"/>
                    <a:gd name="T86" fmla="*/ 405 w 405"/>
                    <a:gd name="T87" fmla="*/ 328 h 418"/>
                    <a:gd name="T88" fmla="*/ 405 w 405"/>
                    <a:gd name="T89" fmla="*/ 355 h 418"/>
                    <a:gd name="T90" fmla="*/ 405 w 405"/>
                    <a:gd name="T91" fmla="*/ 378 h 418"/>
                    <a:gd name="T92" fmla="*/ 400 w 405"/>
                    <a:gd name="T93" fmla="*/ 387 h 418"/>
                    <a:gd name="T94" fmla="*/ 396 w 405"/>
                    <a:gd name="T95" fmla="*/ 387 h 418"/>
                    <a:gd name="T96" fmla="*/ 373 w 405"/>
                    <a:gd name="T97" fmla="*/ 387 h 418"/>
                    <a:gd name="T98" fmla="*/ 332 w 405"/>
                    <a:gd name="T99" fmla="*/ 396 h 418"/>
                    <a:gd name="T100" fmla="*/ 264 w 405"/>
                    <a:gd name="T101" fmla="*/ 400 h 418"/>
                    <a:gd name="T102" fmla="*/ 200 w 405"/>
                    <a:gd name="T103" fmla="*/ 409 h 418"/>
                    <a:gd name="T104" fmla="*/ 182 w 405"/>
                    <a:gd name="T105" fmla="*/ 418 h 418"/>
                    <a:gd name="T106" fmla="*/ 177 w 405"/>
                    <a:gd name="T107" fmla="*/ 418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5" h="418">
                      <a:moveTo>
                        <a:pt x="177" y="418"/>
                      </a:moveTo>
                      <a:lnTo>
                        <a:pt x="155" y="414"/>
                      </a:lnTo>
                      <a:lnTo>
                        <a:pt x="141" y="409"/>
                      </a:lnTo>
                      <a:lnTo>
                        <a:pt x="123" y="405"/>
                      </a:lnTo>
                      <a:lnTo>
                        <a:pt x="109" y="405"/>
                      </a:lnTo>
                      <a:lnTo>
                        <a:pt x="95" y="387"/>
                      </a:lnTo>
                      <a:lnTo>
                        <a:pt x="86" y="364"/>
                      </a:lnTo>
                      <a:lnTo>
                        <a:pt x="77" y="341"/>
                      </a:lnTo>
                      <a:lnTo>
                        <a:pt x="59" y="328"/>
                      </a:lnTo>
                      <a:lnTo>
                        <a:pt x="32" y="318"/>
                      </a:lnTo>
                      <a:lnTo>
                        <a:pt x="13" y="305"/>
                      </a:lnTo>
                      <a:lnTo>
                        <a:pt x="4" y="282"/>
                      </a:lnTo>
                      <a:lnTo>
                        <a:pt x="0" y="250"/>
                      </a:lnTo>
                      <a:lnTo>
                        <a:pt x="4" y="237"/>
                      </a:lnTo>
                      <a:lnTo>
                        <a:pt x="18" y="232"/>
                      </a:lnTo>
                      <a:lnTo>
                        <a:pt x="27" y="223"/>
                      </a:lnTo>
                      <a:lnTo>
                        <a:pt x="32" y="214"/>
                      </a:lnTo>
                      <a:lnTo>
                        <a:pt x="32" y="209"/>
                      </a:lnTo>
                      <a:lnTo>
                        <a:pt x="27" y="200"/>
                      </a:lnTo>
                      <a:lnTo>
                        <a:pt x="22" y="196"/>
                      </a:lnTo>
                      <a:lnTo>
                        <a:pt x="22" y="187"/>
                      </a:lnTo>
                      <a:lnTo>
                        <a:pt x="27" y="164"/>
                      </a:lnTo>
                      <a:lnTo>
                        <a:pt x="36" y="137"/>
                      </a:lnTo>
                      <a:lnTo>
                        <a:pt x="50" y="114"/>
                      </a:lnTo>
                      <a:lnTo>
                        <a:pt x="63" y="105"/>
                      </a:lnTo>
                      <a:lnTo>
                        <a:pt x="73" y="105"/>
                      </a:lnTo>
                      <a:lnTo>
                        <a:pt x="82" y="109"/>
                      </a:lnTo>
                      <a:lnTo>
                        <a:pt x="86" y="119"/>
                      </a:lnTo>
                      <a:lnTo>
                        <a:pt x="100" y="119"/>
                      </a:lnTo>
                      <a:lnTo>
                        <a:pt x="104" y="114"/>
                      </a:lnTo>
                      <a:lnTo>
                        <a:pt x="123" y="96"/>
                      </a:lnTo>
                      <a:lnTo>
                        <a:pt x="136" y="82"/>
                      </a:lnTo>
                      <a:lnTo>
                        <a:pt x="150" y="73"/>
                      </a:lnTo>
                      <a:lnTo>
                        <a:pt x="155" y="69"/>
                      </a:lnTo>
                      <a:lnTo>
                        <a:pt x="155" y="64"/>
                      </a:lnTo>
                      <a:lnTo>
                        <a:pt x="155" y="59"/>
                      </a:lnTo>
                      <a:lnTo>
                        <a:pt x="155" y="55"/>
                      </a:lnTo>
                      <a:lnTo>
                        <a:pt x="155" y="50"/>
                      </a:lnTo>
                      <a:lnTo>
                        <a:pt x="155" y="46"/>
                      </a:lnTo>
                      <a:lnTo>
                        <a:pt x="155" y="46"/>
                      </a:lnTo>
                      <a:lnTo>
                        <a:pt x="155" y="41"/>
                      </a:lnTo>
                      <a:lnTo>
                        <a:pt x="159" y="28"/>
                      </a:lnTo>
                      <a:lnTo>
                        <a:pt x="177" y="14"/>
                      </a:lnTo>
                      <a:lnTo>
                        <a:pt x="196" y="9"/>
                      </a:lnTo>
                      <a:lnTo>
                        <a:pt x="214" y="5"/>
                      </a:lnTo>
                      <a:lnTo>
                        <a:pt x="227" y="5"/>
                      </a:lnTo>
                      <a:lnTo>
                        <a:pt x="241" y="9"/>
                      </a:lnTo>
                      <a:lnTo>
                        <a:pt x="250" y="14"/>
                      </a:lnTo>
                      <a:lnTo>
                        <a:pt x="264" y="14"/>
                      </a:lnTo>
                      <a:lnTo>
                        <a:pt x="277" y="14"/>
                      </a:lnTo>
                      <a:lnTo>
                        <a:pt x="287" y="9"/>
                      </a:lnTo>
                      <a:lnTo>
                        <a:pt x="296" y="5"/>
                      </a:lnTo>
                      <a:lnTo>
                        <a:pt x="305" y="0"/>
                      </a:lnTo>
                      <a:lnTo>
                        <a:pt x="300" y="9"/>
                      </a:lnTo>
                      <a:lnTo>
                        <a:pt x="300" y="14"/>
                      </a:lnTo>
                      <a:lnTo>
                        <a:pt x="300" y="23"/>
                      </a:lnTo>
                      <a:lnTo>
                        <a:pt x="296" y="32"/>
                      </a:lnTo>
                      <a:lnTo>
                        <a:pt x="291" y="41"/>
                      </a:lnTo>
                      <a:lnTo>
                        <a:pt x="287" y="46"/>
                      </a:lnTo>
                      <a:lnTo>
                        <a:pt x="277" y="50"/>
                      </a:lnTo>
                      <a:lnTo>
                        <a:pt x="277" y="59"/>
                      </a:lnTo>
                      <a:lnTo>
                        <a:pt x="282" y="64"/>
                      </a:lnTo>
                      <a:lnTo>
                        <a:pt x="287" y="64"/>
                      </a:lnTo>
                      <a:lnTo>
                        <a:pt x="296" y="64"/>
                      </a:lnTo>
                      <a:lnTo>
                        <a:pt x="305" y="64"/>
                      </a:lnTo>
                      <a:lnTo>
                        <a:pt x="323" y="69"/>
                      </a:lnTo>
                      <a:lnTo>
                        <a:pt x="341" y="73"/>
                      </a:lnTo>
                      <a:lnTo>
                        <a:pt x="355" y="82"/>
                      </a:lnTo>
                      <a:lnTo>
                        <a:pt x="364" y="91"/>
                      </a:lnTo>
                      <a:lnTo>
                        <a:pt x="369" y="105"/>
                      </a:lnTo>
                      <a:lnTo>
                        <a:pt x="369" y="119"/>
                      </a:lnTo>
                      <a:lnTo>
                        <a:pt x="369" y="132"/>
                      </a:lnTo>
                      <a:lnTo>
                        <a:pt x="373" y="146"/>
                      </a:lnTo>
                      <a:lnTo>
                        <a:pt x="378" y="150"/>
                      </a:lnTo>
                      <a:lnTo>
                        <a:pt x="387" y="155"/>
                      </a:lnTo>
                      <a:lnTo>
                        <a:pt x="391" y="159"/>
                      </a:lnTo>
                      <a:lnTo>
                        <a:pt x="396" y="169"/>
                      </a:lnTo>
                      <a:lnTo>
                        <a:pt x="396" y="178"/>
                      </a:lnTo>
                      <a:lnTo>
                        <a:pt x="391" y="182"/>
                      </a:lnTo>
                      <a:lnTo>
                        <a:pt x="382" y="191"/>
                      </a:lnTo>
                      <a:lnTo>
                        <a:pt x="382" y="209"/>
                      </a:lnTo>
                      <a:lnTo>
                        <a:pt x="382" y="228"/>
                      </a:lnTo>
                      <a:lnTo>
                        <a:pt x="387" y="246"/>
                      </a:lnTo>
                      <a:lnTo>
                        <a:pt x="391" y="264"/>
                      </a:lnTo>
                      <a:lnTo>
                        <a:pt x="396" y="278"/>
                      </a:lnTo>
                      <a:lnTo>
                        <a:pt x="396" y="291"/>
                      </a:lnTo>
                      <a:lnTo>
                        <a:pt x="400" y="309"/>
                      </a:lnTo>
                      <a:lnTo>
                        <a:pt x="405" y="328"/>
                      </a:lnTo>
                      <a:lnTo>
                        <a:pt x="405" y="346"/>
                      </a:lnTo>
                      <a:lnTo>
                        <a:pt x="405" y="355"/>
                      </a:lnTo>
                      <a:lnTo>
                        <a:pt x="405" y="368"/>
                      </a:lnTo>
                      <a:lnTo>
                        <a:pt x="405" y="378"/>
                      </a:lnTo>
                      <a:lnTo>
                        <a:pt x="400" y="387"/>
                      </a:lnTo>
                      <a:lnTo>
                        <a:pt x="400" y="387"/>
                      </a:lnTo>
                      <a:lnTo>
                        <a:pt x="396" y="387"/>
                      </a:lnTo>
                      <a:lnTo>
                        <a:pt x="396" y="387"/>
                      </a:lnTo>
                      <a:lnTo>
                        <a:pt x="391" y="387"/>
                      </a:lnTo>
                      <a:lnTo>
                        <a:pt x="373" y="387"/>
                      </a:lnTo>
                      <a:lnTo>
                        <a:pt x="350" y="391"/>
                      </a:lnTo>
                      <a:lnTo>
                        <a:pt x="332" y="396"/>
                      </a:lnTo>
                      <a:lnTo>
                        <a:pt x="309" y="400"/>
                      </a:lnTo>
                      <a:lnTo>
                        <a:pt x="264" y="400"/>
                      </a:lnTo>
                      <a:lnTo>
                        <a:pt x="227" y="405"/>
                      </a:lnTo>
                      <a:lnTo>
                        <a:pt x="200" y="409"/>
                      </a:lnTo>
                      <a:lnTo>
                        <a:pt x="182" y="418"/>
                      </a:lnTo>
                      <a:lnTo>
                        <a:pt x="182" y="418"/>
                      </a:lnTo>
                      <a:lnTo>
                        <a:pt x="177" y="418"/>
                      </a:lnTo>
                      <a:lnTo>
                        <a:pt x="177" y="418"/>
                      </a:lnTo>
                      <a:close/>
                    </a:path>
                  </a:pathLst>
                </a:custGeom>
                <a:grp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60" name="Freeform 273">
                  <a:extLst>
                    <a:ext uri="{FF2B5EF4-FFF2-40B4-BE49-F238E27FC236}">
                      <a16:creationId xmlns="" xmlns:a16="http://schemas.microsoft.com/office/drawing/2014/main" id="{C9B6284A-28E2-4B2B-9583-15F765ECCE22}"/>
                    </a:ext>
                  </a:extLst>
                </p:cNvPr>
                <p:cNvSpPr>
                  <a:spLocks noChangeAspect="1"/>
                </p:cNvSpPr>
                <p:nvPr/>
              </p:nvSpPr>
              <p:spPr bwMode="auto">
                <a:xfrm>
                  <a:off x="2492" y="1686"/>
                  <a:ext cx="424" cy="555"/>
                </a:xfrm>
                <a:custGeom>
                  <a:avLst/>
                  <a:gdLst>
                    <a:gd name="T0" fmla="*/ 142 w 424"/>
                    <a:gd name="T1" fmla="*/ 546 h 555"/>
                    <a:gd name="T2" fmla="*/ 128 w 424"/>
                    <a:gd name="T3" fmla="*/ 528 h 555"/>
                    <a:gd name="T4" fmla="*/ 128 w 424"/>
                    <a:gd name="T5" fmla="*/ 496 h 555"/>
                    <a:gd name="T6" fmla="*/ 119 w 424"/>
                    <a:gd name="T7" fmla="*/ 441 h 555"/>
                    <a:gd name="T8" fmla="*/ 110 w 424"/>
                    <a:gd name="T9" fmla="*/ 396 h 555"/>
                    <a:gd name="T10" fmla="*/ 105 w 424"/>
                    <a:gd name="T11" fmla="*/ 341 h 555"/>
                    <a:gd name="T12" fmla="*/ 119 w 424"/>
                    <a:gd name="T13" fmla="*/ 319 h 555"/>
                    <a:gd name="T14" fmla="*/ 101 w 424"/>
                    <a:gd name="T15" fmla="*/ 300 h 555"/>
                    <a:gd name="T16" fmla="*/ 92 w 424"/>
                    <a:gd name="T17" fmla="*/ 269 h 555"/>
                    <a:gd name="T18" fmla="*/ 78 w 424"/>
                    <a:gd name="T19" fmla="*/ 232 h 555"/>
                    <a:gd name="T20" fmla="*/ 28 w 424"/>
                    <a:gd name="T21" fmla="*/ 214 h 555"/>
                    <a:gd name="T22" fmla="*/ 5 w 424"/>
                    <a:gd name="T23" fmla="*/ 214 h 555"/>
                    <a:gd name="T24" fmla="*/ 10 w 424"/>
                    <a:gd name="T25" fmla="*/ 196 h 555"/>
                    <a:gd name="T26" fmla="*/ 23 w 424"/>
                    <a:gd name="T27" fmla="*/ 164 h 555"/>
                    <a:gd name="T28" fmla="*/ 51 w 424"/>
                    <a:gd name="T29" fmla="*/ 141 h 555"/>
                    <a:gd name="T30" fmla="*/ 78 w 424"/>
                    <a:gd name="T31" fmla="*/ 159 h 555"/>
                    <a:gd name="T32" fmla="*/ 105 w 424"/>
                    <a:gd name="T33" fmla="*/ 155 h 555"/>
                    <a:gd name="T34" fmla="*/ 101 w 424"/>
                    <a:gd name="T35" fmla="*/ 137 h 555"/>
                    <a:gd name="T36" fmla="*/ 101 w 424"/>
                    <a:gd name="T37" fmla="*/ 109 h 555"/>
                    <a:gd name="T38" fmla="*/ 137 w 424"/>
                    <a:gd name="T39" fmla="*/ 82 h 555"/>
                    <a:gd name="T40" fmla="*/ 128 w 424"/>
                    <a:gd name="T41" fmla="*/ 46 h 555"/>
                    <a:gd name="T42" fmla="*/ 114 w 424"/>
                    <a:gd name="T43" fmla="*/ 19 h 555"/>
                    <a:gd name="T44" fmla="*/ 133 w 424"/>
                    <a:gd name="T45" fmla="*/ 0 h 555"/>
                    <a:gd name="T46" fmla="*/ 174 w 424"/>
                    <a:gd name="T47" fmla="*/ 9 h 555"/>
                    <a:gd name="T48" fmla="*/ 224 w 424"/>
                    <a:gd name="T49" fmla="*/ 23 h 555"/>
                    <a:gd name="T50" fmla="*/ 278 w 424"/>
                    <a:gd name="T51" fmla="*/ 46 h 555"/>
                    <a:gd name="T52" fmla="*/ 342 w 424"/>
                    <a:gd name="T53" fmla="*/ 59 h 555"/>
                    <a:gd name="T54" fmla="*/ 360 w 424"/>
                    <a:gd name="T55" fmla="*/ 55 h 555"/>
                    <a:gd name="T56" fmla="*/ 369 w 424"/>
                    <a:gd name="T57" fmla="*/ 82 h 555"/>
                    <a:gd name="T58" fmla="*/ 369 w 424"/>
                    <a:gd name="T59" fmla="*/ 137 h 555"/>
                    <a:gd name="T60" fmla="*/ 392 w 424"/>
                    <a:gd name="T61" fmla="*/ 178 h 555"/>
                    <a:gd name="T62" fmla="*/ 397 w 424"/>
                    <a:gd name="T63" fmla="*/ 214 h 555"/>
                    <a:gd name="T64" fmla="*/ 410 w 424"/>
                    <a:gd name="T65" fmla="*/ 269 h 555"/>
                    <a:gd name="T66" fmla="*/ 424 w 424"/>
                    <a:gd name="T67" fmla="*/ 337 h 555"/>
                    <a:gd name="T68" fmla="*/ 406 w 424"/>
                    <a:gd name="T69" fmla="*/ 382 h 555"/>
                    <a:gd name="T70" fmla="*/ 397 w 424"/>
                    <a:gd name="T71" fmla="*/ 382 h 555"/>
                    <a:gd name="T72" fmla="*/ 379 w 424"/>
                    <a:gd name="T73" fmla="*/ 382 h 555"/>
                    <a:gd name="T74" fmla="*/ 342 w 424"/>
                    <a:gd name="T75" fmla="*/ 387 h 555"/>
                    <a:gd name="T76" fmla="*/ 297 w 424"/>
                    <a:gd name="T77" fmla="*/ 409 h 555"/>
                    <a:gd name="T78" fmla="*/ 260 w 424"/>
                    <a:gd name="T79" fmla="*/ 414 h 555"/>
                    <a:gd name="T80" fmla="*/ 265 w 424"/>
                    <a:gd name="T81" fmla="*/ 441 h 555"/>
                    <a:gd name="T82" fmla="*/ 265 w 424"/>
                    <a:gd name="T83" fmla="*/ 482 h 555"/>
                    <a:gd name="T84" fmla="*/ 219 w 424"/>
                    <a:gd name="T85" fmla="*/ 496 h 555"/>
                    <a:gd name="T86" fmla="*/ 164 w 424"/>
                    <a:gd name="T87" fmla="*/ 541 h 555"/>
                    <a:gd name="T88" fmla="*/ 155 w 424"/>
                    <a:gd name="T89" fmla="*/ 555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4" h="555">
                      <a:moveTo>
                        <a:pt x="155" y="555"/>
                      </a:moveTo>
                      <a:lnTo>
                        <a:pt x="146" y="550"/>
                      </a:lnTo>
                      <a:lnTo>
                        <a:pt x="142" y="546"/>
                      </a:lnTo>
                      <a:lnTo>
                        <a:pt x="133" y="541"/>
                      </a:lnTo>
                      <a:lnTo>
                        <a:pt x="123" y="537"/>
                      </a:lnTo>
                      <a:lnTo>
                        <a:pt x="128" y="528"/>
                      </a:lnTo>
                      <a:lnTo>
                        <a:pt x="128" y="518"/>
                      </a:lnTo>
                      <a:lnTo>
                        <a:pt x="128" y="505"/>
                      </a:lnTo>
                      <a:lnTo>
                        <a:pt x="128" y="496"/>
                      </a:lnTo>
                      <a:lnTo>
                        <a:pt x="128" y="478"/>
                      </a:lnTo>
                      <a:lnTo>
                        <a:pt x="123" y="459"/>
                      </a:lnTo>
                      <a:lnTo>
                        <a:pt x="119" y="441"/>
                      </a:lnTo>
                      <a:lnTo>
                        <a:pt x="119" y="428"/>
                      </a:lnTo>
                      <a:lnTo>
                        <a:pt x="114" y="414"/>
                      </a:lnTo>
                      <a:lnTo>
                        <a:pt x="110" y="396"/>
                      </a:lnTo>
                      <a:lnTo>
                        <a:pt x="105" y="378"/>
                      </a:lnTo>
                      <a:lnTo>
                        <a:pt x="105" y="359"/>
                      </a:lnTo>
                      <a:lnTo>
                        <a:pt x="105" y="341"/>
                      </a:lnTo>
                      <a:lnTo>
                        <a:pt x="114" y="332"/>
                      </a:lnTo>
                      <a:lnTo>
                        <a:pt x="119" y="328"/>
                      </a:lnTo>
                      <a:lnTo>
                        <a:pt x="119" y="319"/>
                      </a:lnTo>
                      <a:lnTo>
                        <a:pt x="114" y="309"/>
                      </a:lnTo>
                      <a:lnTo>
                        <a:pt x="110" y="305"/>
                      </a:lnTo>
                      <a:lnTo>
                        <a:pt x="101" y="300"/>
                      </a:lnTo>
                      <a:lnTo>
                        <a:pt x="96" y="296"/>
                      </a:lnTo>
                      <a:lnTo>
                        <a:pt x="92" y="282"/>
                      </a:lnTo>
                      <a:lnTo>
                        <a:pt x="92" y="269"/>
                      </a:lnTo>
                      <a:lnTo>
                        <a:pt x="92" y="255"/>
                      </a:lnTo>
                      <a:lnTo>
                        <a:pt x="87" y="241"/>
                      </a:lnTo>
                      <a:lnTo>
                        <a:pt x="78" y="232"/>
                      </a:lnTo>
                      <a:lnTo>
                        <a:pt x="64" y="223"/>
                      </a:lnTo>
                      <a:lnTo>
                        <a:pt x="46" y="219"/>
                      </a:lnTo>
                      <a:lnTo>
                        <a:pt x="28" y="214"/>
                      </a:lnTo>
                      <a:lnTo>
                        <a:pt x="19" y="214"/>
                      </a:lnTo>
                      <a:lnTo>
                        <a:pt x="10" y="214"/>
                      </a:lnTo>
                      <a:lnTo>
                        <a:pt x="5" y="214"/>
                      </a:lnTo>
                      <a:lnTo>
                        <a:pt x="0" y="209"/>
                      </a:lnTo>
                      <a:lnTo>
                        <a:pt x="0" y="200"/>
                      </a:lnTo>
                      <a:lnTo>
                        <a:pt x="10" y="196"/>
                      </a:lnTo>
                      <a:lnTo>
                        <a:pt x="14" y="191"/>
                      </a:lnTo>
                      <a:lnTo>
                        <a:pt x="19" y="182"/>
                      </a:lnTo>
                      <a:lnTo>
                        <a:pt x="23" y="164"/>
                      </a:lnTo>
                      <a:lnTo>
                        <a:pt x="28" y="155"/>
                      </a:lnTo>
                      <a:lnTo>
                        <a:pt x="32" y="146"/>
                      </a:lnTo>
                      <a:lnTo>
                        <a:pt x="51" y="141"/>
                      </a:lnTo>
                      <a:lnTo>
                        <a:pt x="64" y="146"/>
                      </a:lnTo>
                      <a:lnTo>
                        <a:pt x="73" y="150"/>
                      </a:lnTo>
                      <a:lnTo>
                        <a:pt x="78" y="159"/>
                      </a:lnTo>
                      <a:lnTo>
                        <a:pt x="92" y="164"/>
                      </a:lnTo>
                      <a:lnTo>
                        <a:pt x="101" y="159"/>
                      </a:lnTo>
                      <a:lnTo>
                        <a:pt x="105" y="155"/>
                      </a:lnTo>
                      <a:lnTo>
                        <a:pt x="101" y="146"/>
                      </a:lnTo>
                      <a:lnTo>
                        <a:pt x="101" y="141"/>
                      </a:lnTo>
                      <a:lnTo>
                        <a:pt x="101" y="137"/>
                      </a:lnTo>
                      <a:lnTo>
                        <a:pt x="101" y="128"/>
                      </a:lnTo>
                      <a:lnTo>
                        <a:pt x="101" y="119"/>
                      </a:lnTo>
                      <a:lnTo>
                        <a:pt x="101" y="109"/>
                      </a:lnTo>
                      <a:lnTo>
                        <a:pt x="105" y="100"/>
                      </a:lnTo>
                      <a:lnTo>
                        <a:pt x="123" y="91"/>
                      </a:lnTo>
                      <a:lnTo>
                        <a:pt x="137" y="82"/>
                      </a:lnTo>
                      <a:lnTo>
                        <a:pt x="142" y="69"/>
                      </a:lnTo>
                      <a:lnTo>
                        <a:pt x="137" y="55"/>
                      </a:lnTo>
                      <a:lnTo>
                        <a:pt x="128" y="46"/>
                      </a:lnTo>
                      <a:lnTo>
                        <a:pt x="119" y="37"/>
                      </a:lnTo>
                      <a:lnTo>
                        <a:pt x="114" y="23"/>
                      </a:lnTo>
                      <a:lnTo>
                        <a:pt x="114" y="19"/>
                      </a:lnTo>
                      <a:lnTo>
                        <a:pt x="123" y="9"/>
                      </a:lnTo>
                      <a:lnTo>
                        <a:pt x="128" y="5"/>
                      </a:lnTo>
                      <a:lnTo>
                        <a:pt x="133" y="0"/>
                      </a:lnTo>
                      <a:lnTo>
                        <a:pt x="146" y="5"/>
                      </a:lnTo>
                      <a:lnTo>
                        <a:pt x="160" y="5"/>
                      </a:lnTo>
                      <a:lnTo>
                        <a:pt x="174" y="9"/>
                      </a:lnTo>
                      <a:lnTo>
                        <a:pt x="187" y="14"/>
                      </a:lnTo>
                      <a:lnTo>
                        <a:pt x="205" y="19"/>
                      </a:lnTo>
                      <a:lnTo>
                        <a:pt x="224" y="23"/>
                      </a:lnTo>
                      <a:lnTo>
                        <a:pt x="242" y="32"/>
                      </a:lnTo>
                      <a:lnTo>
                        <a:pt x="260" y="37"/>
                      </a:lnTo>
                      <a:lnTo>
                        <a:pt x="278" y="46"/>
                      </a:lnTo>
                      <a:lnTo>
                        <a:pt x="301" y="55"/>
                      </a:lnTo>
                      <a:lnTo>
                        <a:pt x="319" y="59"/>
                      </a:lnTo>
                      <a:lnTo>
                        <a:pt x="342" y="59"/>
                      </a:lnTo>
                      <a:lnTo>
                        <a:pt x="347" y="59"/>
                      </a:lnTo>
                      <a:lnTo>
                        <a:pt x="351" y="55"/>
                      </a:lnTo>
                      <a:lnTo>
                        <a:pt x="360" y="55"/>
                      </a:lnTo>
                      <a:lnTo>
                        <a:pt x="360" y="55"/>
                      </a:lnTo>
                      <a:lnTo>
                        <a:pt x="365" y="69"/>
                      </a:lnTo>
                      <a:lnTo>
                        <a:pt x="369" y="82"/>
                      </a:lnTo>
                      <a:lnTo>
                        <a:pt x="365" y="100"/>
                      </a:lnTo>
                      <a:lnTo>
                        <a:pt x="365" y="119"/>
                      </a:lnTo>
                      <a:lnTo>
                        <a:pt x="369" y="137"/>
                      </a:lnTo>
                      <a:lnTo>
                        <a:pt x="374" y="150"/>
                      </a:lnTo>
                      <a:lnTo>
                        <a:pt x="383" y="164"/>
                      </a:lnTo>
                      <a:lnTo>
                        <a:pt x="392" y="178"/>
                      </a:lnTo>
                      <a:lnTo>
                        <a:pt x="397" y="191"/>
                      </a:lnTo>
                      <a:lnTo>
                        <a:pt x="397" y="200"/>
                      </a:lnTo>
                      <a:lnTo>
                        <a:pt x="397" y="214"/>
                      </a:lnTo>
                      <a:lnTo>
                        <a:pt x="397" y="228"/>
                      </a:lnTo>
                      <a:lnTo>
                        <a:pt x="401" y="250"/>
                      </a:lnTo>
                      <a:lnTo>
                        <a:pt x="410" y="269"/>
                      </a:lnTo>
                      <a:lnTo>
                        <a:pt x="420" y="287"/>
                      </a:lnTo>
                      <a:lnTo>
                        <a:pt x="424" y="314"/>
                      </a:lnTo>
                      <a:lnTo>
                        <a:pt x="424" y="337"/>
                      </a:lnTo>
                      <a:lnTo>
                        <a:pt x="420" y="355"/>
                      </a:lnTo>
                      <a:lnTo>
                        <a:pt x="410" y="369"/>
                      </a:lnTo>
                      <a:lnTo>
                        <a:pt x="406" y="382"/>
                      </a:lnTo>
                      <a:lnTo>
                        <a:pt x="401" y="382"/>
                      </a:lnTo>
                      <a:lnTo>
                        <a:pt x="401" y="382"/>
                      </a:lnTo>
                      <a:lnTo>
                        <a:pt x="397" y="382"/>
                      </a:lnTo>
                      <a:lnTo>
                        <a:pt x="392" y="382"/>
                      </a:lnTo>
                      <a:lnTo>
                        <a:pt x="383" y="382"/>
                      </a:lnTo>
                      <a:lnTo>
                        <a:pt x="379" y="382"/>
                      </a:lnTo>
                      <a:lnTo>
                        <a:pt x="369" y="382"/>
                      </a:lnTo>
                      <a:lnTo>
                        <a:pt x="360" y="382"/>
                      </a:lnTo>
                      <a:lnTo>
                        <a:pt x="342" y="387"/>
                      </a:lnTo>
                      <a:lnTo>
                        <a:pt x="324" y="396"/>
                      </a:lnTo>
                      <a:lnTo>
                        <a:pt x="310" y="405"/>
                      </a:lnTo>
                      <a:lnTo>
                        <a:pt x="297" y="409"/>
                      </a:lnTo>
                      <a:lnTo>
                        <a:pt x="283" y="409"/>
                      </a:lnTo>
                      <a:lnTo>
                        <a:pt x="269" y="409"/>
                      </a:lnTo>
                      <a:lnTo>
                        <a:pt x="260" y="414"/>
                      </a:lnTo>
                      <a:lnTo>
                        <a:pt x="256" y="423"/>
                      </a:lnTo>
                      <a:lnTo>
                        <a:pt x="256" y="432"/>
                      </a:lnTo>
                      <a:lnTo>
                        <a:pt x="265" y="441"/>
                      </a:lnTo>
                      <a:lnTo>
                        <a:pt x="269" y="455"/>
                      </a:lnTo>
                      <a:lnTo>
                        <a:pt x="269" y="464"/>
                      </a:lnTo>
                      <a:lnTo>
                        <a:pt x="265" y="482"/>
                      </a:lnTo>
                      <a:lnTo>
                        <a:pt x="251" y="487"/>
                      </a:lnTo>
                      <a:lnTo>
                        <a:pt x="237" y="491"/>
                      </a:lnTo>
                      <a:lnTo>
                        <a:pt x="219" y="496"/>
                      </a:lnTo>
                      <a:lnTo>
                        <a:pt x="196" y="505"/>
                      </a:lnTo>
                      <a:lnTo>
                        <a:pt x="178" y="523"/>
                      </a:lnTo>
                      <a:lnTo>
                        <a:pt x="164" y="541"/>
                      </a:lnTo>
                      <a:lnTo>
                        <a:pt x="155" y="555"/>
                      </a:lnTo>
                      <a:lnTo>
                        <a:pt x="155" y="555"/>
                      </a:lnTo>
                      <a:lnTo>
                        <a:pt x="155" y="555"/>
                      </a:lnTo>
                      <a:lnTo>
                        <a:pt x="155" y="555"/>
                      </a:lnTo>
                      <a:close/>
                    </a:path>
                  </a:pathLst>
                </a:custGeom>
                <a:grpFill/>
                <a:ln w="9525" cap="flat" cmpd="sng">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grpSp>
        </p:grpSp>
        <p:grpSp>
          <p:nvGrpSpPr>
            <p:cNvPr id="11" name="Group 274">
              <a:extLst>
                <a:ext uri="{FF2B5EF4-FFF2-40B4-BE49-F238E27FC236}">
                  <a16:creationId xmlns="" xmlns:a16="http://schemas.microsoft.com/office/drawing/2014/main" id="{CA3E484E-4EA9-4F70-9F46-7763C3BE9364}"/>
                </a:ext>
              </a:extLst>
            </p:cNvPr>
            <p:cNvGrpSpPr>
              <a:grpSpLocks noChangeAspect="1"/>
            </p:cNvGrpSpPr>
            <p:nvPr/>
          </p:nvGrpSpPr>
          <p:grpSpPr bwMode="auto">
            <a:xfrm>
              <a:off x="3161924" y="3607552"/>
              <a:ext cx="1866094" cy="1455809"/>
              <a:chOff x="3567" y="2283"/>
              <a:chExt cx="1205" cy="940"/>
            </a:xfrm>
            <a:solidFill>
              <a:schemeClr val="bg1">
                <a:lumMod val="20000"/>
                <a:lumOff val="80000"/>
              </a:schemeClr>
            </a:solidFill>
          </p:grpSpPr>
          <p:grpSp>
            <p:nvGrpSpPr>
              <p:cNvPr id="38" name="Group 275">
                <a:extLst>
                  <a:ext uri="{FF2B5EF4-FFF2-40B4-BE49-F238E27FC236}">
                    <a16:creationId xmlns="" xmlns:a16="http://schemas.microsoft.com/office/drawing/2014/main" id="{DFC13979-7264-42DA-8637-995985A489AA}"/>
                  </a:ext>
                </a:extLst>
              </p:cNvPr>
              <p:cNvGrpSpPr>
                <a:grpSpLocks noChangeAspect="1"/>
              </p:cNvGrpSpPr>
              <p:nvPr/>
            </p:nvGrpSpPr>
            <p:grpSpPr bwMode="auto">
              <a:xfrm>
                <a:off x="3567" y="2283"/>
                <a:ext cx="588" cy="775"/>
                <a:chOff x="2593" y="2068"/>
                <a:chExt cx="811" cy="986"/>
              </a:xfrm>
              <a:grpFill/>
            </p:grpSpPr>
            <p:sp>
              <p:nvSpPr>
                <p:cNvPr id="48" name="Freeform 276">
                  <a:extLst>
                    <a:ext uri="{FF2B5EF4-FFF2-40B4-BE49-F238E27FC236}">
                      <a16:creationId xmlns="" xmlns:a16="http://schemas.microsoft.com/office/drawing/2014/main" id="{2C11A3CA-32DF-4097-BFC6-F80FAA9943FD}"/>
                    </a:ext>
                  </a:extLst>
                </p:cNvPr>
                <p:cNvSpPr>
                  <a:spLocks noChangeAspect="1"/>
                </p:cNvSpPr>
                <p:nvPr/>
              </p:nvSpPr>
              <p:spPr bwMode="auto">
                <a:xfrm>
                  <a:off x="2593" y="2664"/>
                  <a:ext cx="414" cy="390"/>
                </a:xfrm>
                <a:custGeom>
                  <a:avLst/>
                  <a:gdLst>
                    <a:gd name="T0" fmla="*/ 309 w 414"/>
                    <a:gd name="T1" fmla="*/ 336 h 390"/>
                    <a:gd name="T2" fmla="*/ 332 w 414"/>
                    <a:gd name="T3" fmla="*/ 290 h 390"/>
                    <a:gd name="T4" fmla="*/ 355 w 414"/>
                    <a:gd name="T5" fmla="*/ 272 h 390"/>
                    <a:gd name="T6" fmla="*/ 378 w 414"/>
                    <a:gd name="T7" fmla="*/ 272 h 390"/>
                    <a:gd name="T8" fmla="*/ 396 w 414"/>
                    <a:gd name="T9" fmla="*/ 259 h 390"/>
                    <a:gd name="T10" fmla="*/ 401 w 414"/>
                    <a:gd name="T11" fmla="*/ 240 h 390"/>
                    <a:gd name="T12" fmla="*/ 414 w 414"/>
                    <a:gd name="T13" fmla="*/ 218 h 390"/>
                    <a:gd name="T14" fmla="*/ 410 w 414"/>
                    <a:gd name="T15" fmla="*/ 190 h 390"/>
                    <a:gd name="T16" fmla="*/ 405 w 414"/>
                    <a:gd name="T17" fmla="*/ 159 h 390"/>
                    <a:gd name="T18" fmla="*/ 387 w 414"/>
                    <a:gd name="T19" fmla="*/ 113 h 390"/>
                    <a:gd name="T20" fmla="*/ 360 w 414"/>
                    <a:gd name="T21" fmla="*/ 95 h 390"/>
                    <a:gd name="T22" fmla="*/ 328 w 414"/>
                    <a:gd name="T23" fmla="*/ 77 h 390"/>
                    <a:gd name="T24" fmla="*/ 314 w 414"/>
                    <a:gd name="T25" fmla="*/ 72 h 390"/>
                    <a:gd name="T26" fmla="*/ 300 w 414"/>
                    <a:gd name="T27" fmla="*/ 77 h 390"/>
                    <a:gd name="T28" fmla="*/ 273 w 414"/>
                    <a:gd name="T29" fmla="*/ 72 h 390"/>
                    <a:gd name="T30" fmla="*/ 255 w 414"/>
                    <a:gd name="T31" fmla="*/ 59 h 390"/>
                    <a:gd name="T32" fmla="*/ 232 w 414"/>
                    <a:gd name="T33" fmla="*/ 50 h 390"/>
                    <a:gd name="T34" fmla="*/ 214 w 414"/>
                    <a:gd name="T35" fmla="*/ 50 h 390"/>
                    <a:gd name="T36" fmla="*/ 196 w 414"/>
                    <a:gd name="T37" fmla="*/ 31 h 390"/>
                    <a:gd name="T38" fmla="*/ 177 w 414"/>
                    <a:gd name="T39" fmla="*/ 4 h 390"/>
                    <a:gd name="T40" fmla="*/ 150 w 414"/>
                    <a:gd name="T41" fmla="*/ 9 h 390"/>
                    <a:gd name="T42" fmla="*/ 136 w 414"/>
                    <a:gd name="T43" fmla="*/ 36 h 390"/>
                    <a:gd name="T44" fmla="*/ 118 w 414"/>
                    <a:gd name="T45" fmla="*/ 45 h 390"/>
                    <a:gd name="T46" fmla="*/ 109 w 414"/>
                    <a:gd name="T47" fmla="*/ 36 h 390"/>
                    <a:gd name="T48" fmla="*/ 100 w 414"/>
                    <a:gd name="T49" fmla="*/ 36 h 390"/>
                    <a:gd name="T50" fmla="*/ 50 w 414"/>
                    <a:gd name="T51" fmla="*/ 104 h 390"/>
                    <a:gd name="T52" fmla="*/ 50 w 414"/>
                    <a:gd name="T53" fmla="*/ 127 h 390"/>
                    <a:gd name="T54" fmla="*/ 45 w 414"/>
                    <a:gd name="T55" fmla="*/ 154 h 390"/>
                    <a:gd name="T56" fmla="*/ 27 w 414"/>
                    <a:gd name="T57" fmla="*/ 172 h 390"/>
                    <a:gd name="T58" fmla="*/ 13 w 414"/>
                    <a:gd name="T59" fmla="*/ 195 h 390"/>
                    <a:gd name="T60" fmla="*/ 13 w 414"/>
                    <a:gd name="T61" fmla="*/ 204 h 390"/>
                    <a:gd name="T62" fmla="*/ 13 w 414"/>
                    <a:gd name="T63" fmla="*/ 213 h 390"/>
                    <a:gd name="T64" fmla="*/ 9 w 414"/>
                    <a:gd name="T65" fmla="*/ 231 h 390"/>
                    <a:gd name="T66" fmla="*/ 0 w 414"/>
                    <a:gd name="T67" fmla="*/ 254 h 390"/>
                    <a:gd name="T68" fmla="*/ 13 w 414"/>
                    <a:gd name="T69" fmla="*/ 290 h 390"/>
                    <a:gd name="T70" fmla="*/ 27 w 414"/>
                    <a:gd name="T71" fmla="*/ 322 h 390"/>
                    <a:gd name="T72" fmla="*/ 22 w 414"/>
                    <a:gd name="T73" fmla="*/ 340 h 390"/>
                    <a:gd name="T74" fmla="*/ 18 w 414"/>
                    <a:gd name="T75" fmla="*/ 359 h 390"/>
                    <a:gd name="T76" fmla="*/ 22 w 414"/>
                    <a:gd name="T77" fmla="*/ 381 h 390"/>
                    <a:gd name="T78" fmla="*/ 36 w 414"/>
                    <a:gd name="T79" fmla="*/ 390 h 390"/>
                    <a:gd name="T80" fmla="*/ 54 w 414"/>
                    <a:gd name="T81" fmla="*/ 381 h 390"/>
                    <a:gd name="T82" fmla="*/ 68 w 414"/>
                    <a:gd name="T83" fmla="*/ 377 h 390"/>
                    <a:gd name="T84" fmla="*/ 82 w 414"/>
                    <a:gd name="T85" fmla="*/ 381 h 390"/>
                    <a:gd name="T86" fmla="*/ 95 w 414"/>
                    <a:gd name="T87" fmla="*/ 386 h 390"/>
                    <a:gd name="T88" fmla="*/ 118 w 414"/>
                    <a:gd name="T89" fmla="*/ 372 h 390"/>
                    <a:gd name="T90" fmla="*/ 132 w 414"/>
                    <a:gd name="T91" fmla="*/ 345 h 390"/>
                    <a:gd name="T92" fmla="*/ 164 w 414"/>
                    <a:gd name="T93" fmla="*/ 290 h 390"/>
                    <a:gd name="T94" fmla="*/ 214 w 414"/>
                    <a:gd name="T95" fmla="*/ 245 h 390"/>
                    <a:gd name="T96" fmla="*/ 227 w 414"/>
                    <a:gd name="T97" fmla="*/ 245 h 390"/>
                    <a:gd name="T98" fmla="*/ 227 w 414"/>
                    <a:gd name="T99" fmla="*/ 259 h 390"/>
                    <a:gd name="T100" fmla="*/ 223 w 414"/>
                    <a:gd name="T101" fmla="*/ 268 h 390"/>
                    <a:gd name="T102" fmla="*/ 218 w 414"/>
                    <a:gd name="T103" fmla="*/ 277 h 390"/>
                    <a:gd name="T104" fmla="*/ 227 w 414"/>
                    <a:gd name="T105" fmla="*/ 281 h 390"/>
                    <a:gd name="T106" fmla="*/ 246 w 414"/>
                    <a:gd name="T107" fmla="*/ 286 h 390"/>
                    <a:gd name="T108" fmla="*/ 273 w 414"/>
                    <a:gd name="T109" fmla="*/ 318 h 390"/>
                    <a:gd name="T110" fmla="*/ 305 w 414"/>
                    <a:gd name="T111" fmla="*/ 359 h 390"/>
                    <a:gd name="T112" fmla="*/ 305 w 414"/>
                    <a:gd name="T113" fmla="*/ 35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390">
                      <a:moveTo>
                        <a:pt x="305" y="359"/>
                      </a:moveTo>
                      <a:lnTo>
                        <a:pt x="309" y="336"/>
                      </a:lnTo>
                      <a:lnTo>
                        <a:pt x="319" y="313"/>
                      </a:lnTo>
                      <a:lnTo>
                        <a:pt x="332" y="290"/>
                      </a:lnTo>
                      <a:lnTo>
                        <a:pt x="346" y="277"/>
                      </a:lnTo>
                      <a:lnTo>
                        <a:pt x="355" y="272"/>
                      </a:lnTo>
                      <a:lnTo>
                        <a:pt x="369" y="272"/>
                      </a:lnTo>
                      <a:lnTo>
                        <a:pt x="378" y="272"/>
                      </a:lnTo>
                      <a:lnTo>
                        <a:pt x="387" y="268"/>
                      </a:lnTo>
                      <a:lnTo>
                        <a:pt x="396" y="259"/>
                      </a:lnTo>
                      <a:lnTo>
                        <a:pt x="396" y="250"/>
                      </a:lnTo>
                      <a:lnTo>
                        <a:pt x="401" y="240"/>
                      </a:lnTo>
                      <a:lnTo>
                        <a:pt x="414" y="231"/>
                      </a:lnTo>
                      <a:lnTo>
                        <a:pt x="414" y="218"/>
                      </a:lnTo>
                      <a:lnTo>
                        <a:pt x="414" y="204"/>
                      </a:lnTo>
                      <a:lnTo>
                        <a:pt x="410" y="190"/>
                      </a:lnTo>
                      <a:lnTo>
                        <a:pt x="410" y="177"/>
                      </a:lnTo>
                      <a:lnTo>
                        <a:pt x="405" y="159"/>
                      </a:lnTo>
                      <a:lnTo>
                        <a:pt x="396" y="136"/>
                      </a:lnTo>
                      <a:lnTo>
                        <a:pt x="387" y="113"/>
                      </a:lnTo>
                      <a:lnTo>
                        <a:pt x="373" y="100"/>
                      </a:lnTo>
                      <a:lnTo>
                        <a:pt x="360" y="95"/>
                      </a:lnTo>
                      <a:lnTo>
                        <a:pt x="346" y="86"/>
                      </a:lnTo>
                      <a:lnTo>
                        <a:pt x="328" y="77"/>
                      </a:lnTo>
                      <a:lnTo>
                        <a:pt x="323" y="68"/>
                      </a:lnTo>
                      <a:lnTo>
                        <a:pt x="314" y="72"/>
                      </a:lnTo>
                      <a:lnTo>
                        <a:pt x="309" y="72"/>
                      </a:lnTo>
                      <a:lnTo>
                        <a:pt x="300" y="77"/>
                      </a:lnTo>
                      <a:lnTo>
                        <a:pt x="291" y="77"/>
                      </a:lnTo>
                      <a:lnTo>
                        <a:pt x="273" y="72"/>
                      </a:lnTo>
                      <a:lnTo>
                        <a:pt x="264" y="68"/>
                      </a:lnTo>
                      <a:lnTo>
                        <a:pt x="255" y="59"/>
                      </a:lnTo>
                      <a:lnTo>
                        <a:pt x="241" y="54"/>
                      </a:lnTo>
                      <a:lnTo>
                        <a:pt x="232" y="50"/>
                      </a:lnTo>
                      <a:lnTo>
                        <a:pt x="223" y="50"/>
                      </a:lnTo>
                      <a:lnTo>
                        <a:pt x="214" y="50"/>
                      </a:lnTo>
                      <a:lnTo>
                        <a:pt x="205" y="45"/>
                      </a:lnTo>
                      <a:lnTo>
                        <a:pt x="196" y="31"/>
                      </a:lnTo>
                      <a:lnTo>
                        <a:pt x="186" y="18"/>
                      </a:lnTo>
                      <a:lnTo>
                        <a:pt x="177" y="4"/>
                      </a:lnTo>
                      <a:lnTo>
                        <a:pt x="164" y="0"/>
                      </a:lnTo>
                      <a:lnTo>
                        <a:pt x="150" y="9"/>
                      </a:lnTo>
                      <a:lnTo>
                        <a:pt x="145" y="22"/>
                      </a:lnTo>
                      <a:lnTo>
                        <a:pt x="136" y="36"/>
                      </a:lnTo>
                      <a:lnTo>
                        <a:pt x="123" y="45"/>
                      </a:lnTo>
                      <a:lnTo>
                        <a:pt x="118" y="45"/>
                      </a:lnTo>
                      <a:lnTo>
                        <a:pt x="114" y="40"/>
                      </a:lnTo>
                      <a:lnTo>
                        <a:pt x="109" y="36"/>
                      </a:lnTo>
                      <a:lnTo>
                        <a:pt x="100" y="36"/>
                      </a:lnTo>
                      <a:lnTo>
                        <a:pt x="100" y="36"/>
                      </a:lnTo>
                      <a:lnTo>
                        <a:pt x="50" y="104"/>
                      </a:lnTo>
                      <a:lnTo>
                        <a:pt x="50" y="104"/>
                      </a:lnTo>
                      <a:lnTo>
                        <a:pt x="50" y="118"/>
                      </a:lnTo>
                      <a:lnTo>
                        <a:pt x="50" y="127"/>
                      </a:lnTo>
                      <a:lnTo>
                        <a:pt x="50" y="140"/>
                      </a:lnTo>
                      <a:lnTo>
                        <a:pt x="45" y="154"/>
                      </a:lnTo>
                      <a:lnTo>
                        <a:pt x="36" y="163"/>
                      </a:lnTo>
                      <a:lnTo>
                        <a:pt x="27" y="172"/>
                      </a:lnTo>
                      <a:lnTo>
                        <a:pt x="18" y="181"/>
                      </a:lnTo>
                      <a:lnTo>
                        <a:pt x="13" y="195"/>
                      </a:lnTo>
                      <a:lnTo>
                        <a:pt x="13" y="200"/>
                      </a:lnTo>
                      <a:lnTo>
                        <a:pt x="13" y="204"/>
                      </a:lnTo>
                      <a:lnTo>
                        <a:pt x="13" y="209"/>
                      </a:lnTo>
                      <a:lnTo>
                        <a:pt x="13" y="213"/>
                      </a:lnTo>
                      <a:lnTo>
                        <a:pt x="13" y="222"/>
                      </a:lnTo>
                      <a:lnTo>
                        <a:pt x="9" y="231"/>
                      </a:lnTo>
                      <a:lnTo>
                        <a:pt x="0" y="245"/>
                      </a:lnTo>
                      <a:lnTo>
                        <a:pt x="0" y="254"/>
                      </a:lnTo>
                      <a:lnTo>
                        <a:pt x="4" y="277"/>
                      </a:lnTo>
                      <a:lnTo>
                        <a:pt x="13" y="290"/>
                      </a:lnTo>
                      <a:lnTo>
                        <a:pt x="22" y="304"/>
                      </a:lnTo>
                      <a:lnTo>
                        <a:pt x="27" y="322"/>
                      </a:lnTo>
                      <a:lnTo>
                        <a:pt x="27" y="331"/>
                      </a:lnTo>
                      <a:lnTo>
                        <a:pt x="22" y="340"/>
                      </a:lnTo>
                      <a:lnTo>
                        <a:pt x="18" y="350"/>
                      </a:lnTo>
                      <a:lnTo>
                        <a:pt x="18" y="359"/>
                      </a:lnTo>
                      <a:lnTo>
                        <a:pt x="18" y="368"/>
                      </a:lnTo>
                      <a:lnTo>
                        <a:pt x="22" y="381"/>
                      </a:lnTo>
                      <a:lnTo>
                        <a:pt x="27" y="386"/>
                      </a:lnTo>
                      <a:lnTo>
                        <a:pt x="36" y="390"/>
                      </a:lnTo>
                      <a:lnTo>
                        <a:pt x="45" y="390"/>
                      </a:lnTo>
                      <a:lnTo>
                        <a:pt x="54" y="381"/>
                      </a:lnTo>
                      <a:lnTo>
                        <a:pt x="59" y="377"/>
                      </a:lnTo>
                      <a:lnTo>
                        <a:pt x="68" y="377"/>
                      </a:lnTo>
                      <a:lnTo>
                        <a:pt x="77" y="377"/>
                      </a:lnTo>
                      <a:lnTo>
                        <a:pt x="82" y="381"/>
                      </a:lnTo>
                      <a:lnTo>
                        <a:pt x="91" y="386"/>
                      </a:lnTo>
                      <a:lnTo>
                        <a:pt x="95" y="386"/>
                      </a:lnTo>
                      <a:lnTo>
                        <a:pt x="109" y="381"/>
                      </a:lnTo>
                      <a:lnTo>
                        <a:pt x="118" y="372"/>
                      </a:lnTo>
                      <a:lnTo>
                        <a:pt x="123" y="359"/>
                      </a:lnTo>
                      <a:lnTo>
                        <a:pt x="132" y="345"/>
                      </a:lnTo>
                      <a:lnTo>
                        <a:pt x="145" y="318"/>
                      </a:lnTo>
                      <a:lnTo>
                        <a:pt x="164" y="290"/>
                      </a:lnTo>
                      <a:lnTo>
                        <a:pt x="186" y="268"/>
                      </a:lnTo>
                      <a:lnTo>
                        <a:pt x="214" y="245"/>
                      </a:lnTo>
                      <a:lnTo>
                        <a:pt x="214" y="245"/>
                      </a:lnTo>
                      <a:lnTo>
                        <a:pt x="227" y="245"/>
                      </a:lnTo>
                      <a:lnTo>
                        <a:pt x="227" y="259"/>
                      </a:lnTo>
                      <a:lnTo>
                        <a:pt x="227" y="259"/>
                      </a:lnTo>
                      <a:lnTo>
                        <a:pt x="223" y="263"/>
                      </a:lnTo>
                      <a:lnTo>
                        <a:pt x="223" y="268"/>
                      </a:lnTo>
                      <a:lnTo>
                        <a:pt x="218" y="272"/>
                      </a:lnTo>
                      <a:lnTo>
                        <a:pt x="218" y="277"/>
                      </a:lnTo>
                      <a:lnTo>
                        <a:pt x="223" y="281"/>
                      </a:lnTo>
                      <a:lnTo>
                        <a:pt x="227" y="281"/>
                      </a:lnTo>
                      <a:lnTo>
                        <a:pt x="237" y="286"/>
                      </a:lnTo>
                      <a:lnTo>
                        <a:pt x="246" y="286"/>
                      </a:lnTo>
                      <a:lnTo>
                        <a:pt x="259" y="300"/>
                      </a:lnTo>
                      <a:lnTo>
                        <a:pt x="273" y="318"/>
                      </a:lnTo>
                      <a:lnTo>
                        <a:pt x="287" y="340"/>
                      </a:lnTo>
                      <a:lnTo>
                        <a:pt x="305" y="359"/>
                      </a:lnTo>
                      <a:lnTo>
                        <a:pt x="305" y="359"/>
                      </a:lnTo>
                      <a:lnTo>
                        <a:pt x="305" y="359"/>
                      </a:lnTo>
                      <a:lnTo>
                        <a:pt x="305" y="359"/>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lIns="90000" rIns="18000" anchor="ctr"/>
                <a:lstStyle/>
                <a:p>
                  <a:pPr defTabSz="913204" fontAlgn="auto">
                    <a:spcBef>
                      <a:spcPts val="0"/>
                    </a:spcBef>
                    <a:spcAft>
                      <a:spcPts val="0"/>
                    </a:spcAft>
                    <a:defRPr/>
                  </a:pPr>
                  <a:endParaRPr lang="en-US">
                    <a:solidFill>
                      <a:srgbClr val="000000"/>
                    </a:solidFill>
                    <a:latin typeface="+mn-lt"/>
                    <a:cs typeface="+mn-cs"/>
                  </a:endParaRPr>
                </a:p>
              </p:txBody>
            </p:sp>
            <p:sp>
              <p:nvSpPr>
                <p:cNvPr id="49" name="Freeform 277">
                  <a:extLst>
                    <a:ext uri="{FF2B5EF4-FFF2-40B4-BE49-F238E27FC236}">
                      <a16:creationId xmlns="" xmlns:a16="http://schemas.microsoft.com/office/drawing/2014/main" id="{3A271652-AD3F-4073-9AE3-817F99AE973F}"/>
                    </a:ext>
                  </a:extLst>
                </p:cNvPr>
                <p:cNvSpPr>
                  <a:spLocks noChangeAspect="1"/>
                </p:cNvSpPr>
                <p:nvPr/>
              </p:nvSpPr>
              <p:spPr bwMode="auto">
                <a:xfrm>
                  <a:off x="2921" y="2695"/>
                  <a:ext cx="483" cy="300"/>
                </a:xfrm>
                <a:custGeom>
                  <a:avLst/>
                  <a:gdLst>
                    <a:gd name="T0" fmla="*/ 287 w 483"/>
                    <a:gd name="T1" fmla="*/ 282 h 300"/>
                    <a:gd name="T2" fmla="*/ 328 w 483"/>
                    <a:gd name="T3" fmla="*/ 255 h 300"/>
                    <a:gd name="T4" fmla="*/ 378 w 483"/>
                    <a:gd name="T5" fmla="*/ 228 h 300"/>
                    <a:gd name="T6" fmla="*/ 414 w 483"/>
                    <a:gd name="T7" fmla="*/ 191 h 300"/>
                    <a:gd name="T8" fmla="*/ 423 w 483"/>
                    <a:gd name="T9" fmla="*/ 159 h 300"/>
                    <a:gd name="T10" fmla="*/ 428 w 483"/>
                    <a:gd name="T11" fmla="*/ 132 h 300"/>
                    <a:gd name="T12" fmla="*/ 442 w 483"/>
                    <a:gd name="T13" fmla="*/ 119 h 300"/>
                    <a:gd name="T14" fmla="*/ 460 w 483"/>
                    <a:gd name="T15" fmla="*/ 114 h 300"/>
                    <a:gd name="T16" fmla="*/ 473 w 483"/>
                    <a:gd name="T17" fmla="*/ 100 h 300"/>
                    <a:gd name="T18" fmla="*/ 478 w 483"/>
                    <a:gd name="T19" fmla="*/ 87 h 300"/>
                    <a:gd name="T20" fmla="*/ 483 w 483"/>
                    <a:gd name="T21" fmla="*/ 78 h 300"/>
                    <a:gd name="T22" fmla="*/ 423 w 483"/>
                    <a:gd name="T23" fmla="*/ 55 h 300"/>
                    <a:gd name="T24" fmla="*/ 414 w 483"/>
                    <a:gd name="T25" fmla="*/ 28 h 300"/>
                    <a:gd name="T26" fmla="*/ 391 w 483"/>
                    <a:gd name="T27" fmla="*/ 14 h 300"/>
                    <a:gd name="T28" fmla="*/ 364 w 483"/>
                    <a:gd name="T29" fmla="*/ 19 h 300"/>
                    <a:gd name="T30" fmla="*/ 332 w 483"/>
                    <a:gd name="T31" fmla="*/ 23 h 300"/>
                    <a:gd name="T32" fmla="*/ 300 w 483"/>
                    <a:gd name="T33" fmla="*/ 14 h 300"/>
                    <a:gd name="T34" fmla="*/ 278 w 483"/>
                    <a:gd name="T35" fmla="*/ 0 h 300"/>
                    <a:gd name="T36" fmla="*/ 259 w 483"/>
                    <a:gd name="T37" fmla="*/ 19 h 300"/>
                    <a:gd name="T38" fmla="*/ 227 w 483"/>
                    <a:gd name="T39" fmla="*/ 28 h 300"/>
                    <a:gd name="T40" fmla="*/ 182 w 483"/>
                    <a:gd name="T41" fmla="*/ 23 h 300"/>
                    <a:gd name="T42" fmla="*/ 145 w 483"/>
                    <a:gd name="T43" fmla="*/ 9 h 300"/>
                    <a:gd name="T44" fmla="*/ 109 w 483"/>
                    <a:gd name="T45" fmla="*/ 9 h 300"/>
                    <a:gd name="T46" fmla="*/ 86 w 483"/>
                    <a:gd name="T47" fmla="*/ 9 h 300"/>
                    <a:gd name="T48" fmla="*/ 36 w 483"/>
                    <a:gd name="T49" fmla="*/ 14 h 300"/>
                    <a:gd name="T50" fmla="*/ 0 w 483"/>
                    <a:gd name="T51" fmla="*/ 37 h 300"/>
                    <a:gd name="T52" fmla="*/ 18 w 483"/>
                    <a:gd name="T53" fmla="*/ 55 h 300"/>
                    <a:gd name="T54" fmla="*/ 45 w 483"/>
                    <a:gd name="T55" fmla="*/ 69 h 300"/>
                    <a:gd name="T56" fmla="*/ 68 w 483"/>
                    <a:gd name="T57" fmla="*/ 105 h 300"/>
                    <a:gd name="T58" fmla="*/ 82 w 483"/>
                    <a:gd name="T59" fmla="*/ 146 h 300"/>
                    <a:gd name="T60" fmla="*/ 86 w 483"/>
                    <a:gd name="T61" fmla="*/ 173 h 300"/>
                    <a:gd name="T62" fmla="*/ 86 w 483"/>
                    <a:gd name="T63" fmla="*/ 200 h 300"/>
                    <a:gd name="T64" fmla="*/ 104 w 483"/>
                    <a:gd name="T65" fmla="*/ 219 h 300"/>
                    <a:gd name="T66" fmla="*/ 123 w 483"/>
                    <a:gd name="T67" fmla="*/ 241 h 300"/>
                    <a:gd name="T68" fmla="*/ 132 w 483"/>
                    <a:gd name="T69" fmla="*/ 264 h 300"/>
                    <a:gd name="T70" fmla="*/ 145 w 483"/>
                    <a:gd name="T71" fmla="*/ 278 h 300"/>
                    <a:gd name="T72" fmla="*/ 159 w 483"/>
                    <a:gd name="T73" fmla="*/ 264 h 300"/>
                    <a:gd name="T74" fmla="*/ 173 w 483"/>
                    <a:gd name="T75" fmla="*/ 255 h 300"/>
                    <a:gd name="T76" fmla="*/ 205 w 483"/>
                    <a:gd name="T77" fmla="*/ 264 h 300"/>
                    <a:gd name="T78" fmla="*/ 232 w 483"/>
                    <a:gd name="T79" fmla="*/ 273 h 300"/>
                    <a:gd name="T80" fmla="*/ 250 w 483"/>
                    <a:gd name="T81" fmla="*/ 287 h 300"/>
                    <a:gd name="T82" fmla="*/ 273 w 483"/>
                    <a:gd name="T83" fmla="*/ 300 h 300"/>
                    <a:gd name="T84" fmla="*/ 273 w 483"/>
                    <a:gd name="T85"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3" h="300">
                      <a:moveTo>
                        <a:pt x="273" y="300"/>
                      </a:moveTo>
                      <a:lnTo>
                        <a:pt x="287" y="282"/>
                      </a:lnTo>
                      <a:lnTo>
                        <a:pt x="305" y="269"/>
                      </a:lnTo>
                      <a:lnTo>
                        <a:pt x="328" y="255"/>
                      </a:lnTo>
                      <a:lnTo>
                        <a:pt x="355" y="241"/>
                      </a:lnTo>
                      <a:lnTo>
                        <a:pt x="378" y="228"/>
                      </a:lnTo>
                      <a:lnTo>
                        <a:pt x="396" y="209"/>
                      </a:lnTo>
                      <a:lnTo>
                        <a:pt x="414" y="191"/>
                      </a:lnTo>
                      <a:lnTo>
                        <a:pt x="423" y="169"/>
                      </a:lnTo>
                      <a:lnTo>
                        <a:pt x="423" y="159"/>
                      </a:lnTo>
                      <a:lnTo>
                        <a:pt x="423" y="146"/>
                      </a:lnTo>
                      <a:lnTo>
                        <a:pt x="428" y="132"/>
                      </a:lnTo>
                      <a:lnTo>
                        <a:pt x="432" y="123"/>
                      </a:lnTo>
                      <a:lnTo>
                        <a:pt x="442" y="119"/>
                      </a:lnTo>
                      <a:lnTo>
                        <a:pt x="451" y="119"/>
                      </a:lnTo>
                      <a:lnTo>
                        <a:pt x="460" y="114"/>
                      </a:lnTo>
                      <a:lnTo>
                        <a:pt x="469" y="109"/>
                      </a:lnTo>
                      <a:lnTo>
                        <a:pt x="473" y="100"/>
                      </a:lnTo>
                      <a:lnTo>
                        <a:pt x="478" y="91"/>
                      </a:lnTo>
                      <a:lnTo>
                        <a:pt x="478" y="87"/>
                      </a:lnTo>
                      <a:lnTo>
                        <a:pt x="483" y="78"/>
                      </a:lnTo>
                      <a:lnTo>
                        <a:pt x="483" y="78"/>
                      </a:lnTo>
                      <a:lnTo>
                        <a:pt x="423" y="55"/>
                      </a:lnTo>
                      <a:lnTo>
                        <a:pt x="423" y="55"/>
                      </a:lnTo>
                      <a:lnTo>
                        <a:pt x="419" y="41"/>
                      </a:lnTo>
                      <a:lnTo>
                        <a:pt x="414" y="28"/>
                      </a:lnTo>
                      <a:lnTo>
                        <a:pt x="410" y="19"/>
                      </a:lnTo>
                      <a:lnTo>
                        <a:pt x="391" y="14"/>
                      </a:lnTo>
                      <a:lnTo>
                        <a:pt x="378" y="14"/>
                      </a:lnTo>
                      <a:lnTo>
                        <a:pt x="364" y="19"/>
                      </a:lnTo>
                      <a:lnTo>
                        <a:pt x="350" y="23"/>
                      </a:lnTo>
                      <a:lnTo>
                        <a:pt x="332" y="23"/>
                      </a:lnTo>
                      <a:lnTo>
                        <a:pt x="314" y="19"/>
                      </a:lnTo>
                      <a:lnTo>
                        <a:pt x="300" y="14"/>
                      </a:lnTo>
                      <a:lnTo>
                        <a:pt x="282" y="9"/>
                      </a:lnTo>
                      <a:lnTo>
                        <a:pt x="278" y="0"/>
                      </a:lnTo>
                      <a:lnTo>
                        <a:pt x="268" y="9"/>
                      </a:lnTo>
                      <a:lnTo>
                        <a:pt x="259" y="19"/>
                      </a:lnTo>
                      <a:lnTo>
                        <a:pt x="246" y="23"/>
                      </a:lnTo>
                      <a:lnTo>
                        <a:pt x="227" y="28"/>
                      </a:lnTo>
                      <a:lnTo>
                        <a:pt x="205" y="28"/>
                      </a:lnTo>
                      <a:lnTo>
                        <a:pt x="182" y="23"/>
                      </a:lnTo>
                      <a:lnTo>
                        <a:pt x="164" y="14"/>
                      </a:lnTo>
                      <a:lnTo>
                        <a:pt x="145" y="9"/>
                      </a:lnTo>
                      <a:lnTo>
                        <a:pt x="127" y="9"/>
                      </a:lnTo>
                      <a:lnTo>
                        <a:pt x="109" y="9"/>
                      </a:lnTo>
                      <a:lnTo>
                        <a:pt x="100" y="9"/>
                      </a:lnTo>
                      <a:lnTo>
                        <a:pt x="86" y="9"/>
                      </a:lnTo>
                      <a:lnTo>
                        <a:pt x="63" y="9"/>
                      </a:lnTo>
                      <a:lnTo>
                        <a:pt x="36" y="14"/>
                      </a:lnTo>
                      <a:lnTo>
                        <a:pt x="9" y="23"/>
                      </a:lnTo>
                      <a:lnTo>
                        <a:pt x="0" y="37"/>
                      </a:lnTo>
                      <a:lnTo>
                        <a:pt x="4" y="46"/>
                      </a:lnTo>
                      <a:lnTo>
                        <a:pt x="18" y="55"/>
                      </a:lnTo>
                      <a:lnTo>
                        <a:pt x="36" y="64"/>
                      </a:lnTo>
                      <a:lnTo>
                        <a:pt x="45" y="69"/>
                      </a:lnTo>
                      <a:lnTo>
                        <a:pt x="59" y="82"/>
                      </a:lnTo>
                      <a:lnTo>
                        <a:pt x="68" y="105"/>
                      </a:lnTo>
                      <a:lnTo>
                        <a:pt x="77" y="128"/>
                      </a:lnTo>
                      <a:lnTo>
                        <a:pt x="82" y="146"/>
                      </a:lnTo>
                      <a:lnTo>
                        <a:pt x="82" y="159"/>
                      </a:lnTo>
                      <a:lnTo>
                        <a:pt x="86" y="173"/>
                      </a:lnTo>
                      <a:lnTo>
                        <a:pt x="86" y="187"/>
                      </a:lnTo>
                      <a:lnTo>
                        <a:pt x="86" y="200"/>
                      </a:lnTo>
                      <a:lnTo>
                        <a:pt x="95" y="209"/>
                      </a:lnTo>
                      <a:lnTo>
                        <a:pt x="104" y="219"/>
                      </a:lnTo>
                      <a:lnTo>
                        <a:pt x="114" y="232"/>
                      </a:lnTo>
                      <a:lnTo>
                        <a:pt x="123" y="241"/>
                      </a:lnTo>
                      <a:lnTo>
                        <a:pt x="127" y="255"/>
                      </a:lnTo>
                      <a:lnTo>
                        <a:pt x="132" y="264"/>
                      </a:lnTo>
                      <a:lnTo>
                        <a:pt x="136" y="273"/>
                      </a:lnTo>
                      <a:lnTo>
                        <a:pt x="145" y="278"/>
                      </a:lnTo>
                      <a:lnTo>
                        <a:pt x="155" y="273"/>
                      </a:lnTo>
                      <a:lnTo>
                        <a:pt x="159" y="264"/>
                      </a:lnTo>
                      <a:lnTo>
                        <a:pt x="168" y="259"/>
                      </a:lnTo>
                      <a:lnTo>
                        <a:pt x="173" y="255"/>
                      </a:lnTo>
                      <a:lnTo>
                        <a:pt x="186" y="255"/>
                      </a:lnTo>
                      <a:lnTo>
                        <a:pt x="205" y="264"/>
                      </a:lnTo>
                      <a:lnTo>
                        <a:pt x="223" y="269"/>
                      </a:lnTo>
                      <a:lnTo>
                        <a:pt x="232" y="273"/>
                      </a:lnTo>
                      <a:lnTo>
                        <a:pt x="241" y="278"/>
                      </a:lnTo>
                      <a:lnTo>
                        <a:pt x="250" y="287"/>
                      </a:lnTo>
                      <a:lnTo>
                        <a:pt x="259" y="296"/>
                      </a:lnTo>
                      <a:lnTo>
                        <a:pt x="273" y="300"/>
                      </a:lnTo>
                      <a:lnTo>
                        <a:pt x="273" y="300"/>
                      </a:lnTo>
                      <a:lnTo>
                        <a:pt x="273" y="300"/>
                      </a:lnTo>
                      <a:lnTo>
                        <a:pt x="273" y="300"/>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lIns="90000" rIns="18000" anchor="ctr"/>
                <a:lstStyle/>
                <a:p>
                  <a:pPr defTabSz="913204" fontAlgn="auto">
                    <a:spcBef>
                      <a:spcPts val="0"/>
                    </a:spcBef>
                    <a:spcAft>
                      <a:spcPts val="0"/>
                    </a:spcAft>
                    <a:defRPr/>
                  </a:pPr>
                  <a:endParaRPr lang="en-US">
                    <a:solidFill>
                      <a:srgbClr val="000000"/>
                    </a:solidFill>
                    <a:latin typeface="+mn-lt"/>
                    <a:cs typeface="+mn-cs"/>
                  </a:endParaRPr>
                </a:p>
              </p:txBody>
            </p:sp>
            <p:sp>
              <p:nvSpPr>
                <p:cNvPr id="50" name="Freeform 278">
                  <a:extLst>
                    <a:ext uri="{FF2B5EF4-FFF2-40B4-BE49-F238E27FC236}">
                      <a16:creationId xmlns="" xmlns:a16="http://schemas.microsoft.com/office/drawing/2014/main" id="{3DBD1D8B-6F52-4124-B8C4-8337A02047CF}"/>
                    </a:ext>
                  </a:extLst>
                </p:cNvPr>
                <p:cNvSpPr>
                  <a:spLocks noChangeAspect="1"/>
                </p:cNvSpPr>
                <p:nvPr/>
              </p:nvSpPr>
              <p:spPr bwMode="auto">
                <a:xfrm>
                  <a:off x="2716" y="2309"/>
                  <a:ext cx="501" cy="432"/>
                </a:xfrm>
                <a:custGeom>
                  <a:avLst/>
                  <a:gdLst>
                    <a:gd name="T0" fmla="*/ 419 w 501"/>
                    <a:gd name="T1" fmla="*/ 132 h 432"/>
                    <a:gd name="T2" fmla="*/ 410 w 501"/>
                    <a:gd name="T3" fmla="*/ 145 h 432"/>
                    <a:gd name="T4" fmla="*/ 410 w 501"/>
                    <a:gd name="T5" fmla="*/ 159 h 432"/>
                    <a:gd name="T6" fmla="*/ 410 w 501"/>
                    <a:gd name="T7" fmla="*/ 173 h 432"/>
                    <a:gd name="T8" fmla="*/ 423 w 501"/>
                    <a:gd name="T9" fmla="*/ 205 h 432"/>
                    <a:gd name="T10" fmla="*/ 437 w 501"/>
                    <a:gd name="T11" fmla="*/ 255 h 432"/>
                    <a:gd name="T12" fmla="*/ 464 w 501"/>
                    <a:gd name="T13" fmla="*/ 286 h 432"/>
                    <a:gd name="T14" fmla="*/ 496 w 501"/>
                    <a:gd name="T15" fmla="*/ 314 h 432"/>
                    <a:gd name="T16" fmla="*/ 496 w 501"/>
                    <a:gd name="T17" fmla="*/ 350 h 432"/>
                    <a:gd name="T18" fmla="*/ 487 w 501"/>
                    <a:gd name="T19" fmla="*/ 377 h 432"/>
                    <a:gd name="T20" fmla="*/ 473 w 501"/>
                    <a:gd name="T21" fmla="*/ 395 h 432"/>
                    <a:gd name="T22" fmla="*/ 451 w 501"/>
                    <a:gd name="T23" fmla="*/ 409 h 432"/>
                    <a:gd name="T24" fmla="*/ 410 w 501"/>
                    <a:gd name="T25" fmla="*/ 414 h 432"/>
                    <a:gd name="T26" fmla="*/ 369 w 501"/>
                    <a:gd name="T27" fmla="*/ 400 h 432"/>
                    <a:gd name="T28" fmla="*/ 332 w 501"/>
                    <a:gd name="T29" fmla="*/ 395 h 432"/>
                    <a:gd name="T30" fmla="*/ 305 w 501"/>
                    <a:gd name="T31" fmla="*/ 395 h 432"/>
                    <a:gd name="T32" fmla="*/ 268 w 501"/>
                    <a:gd name="T33" fmla="*/ 395 h 432"/>
                    <a:gd name="T34" fmla="*/ 209 w 501"/>
                    <a:gd name="T35" fmla="*/ 409 h 432"/>
                    <a:gd name="T36" fmla="*/ 191 w 501"/>
                    <a:gd name="T37" fmla="*/ 427 h 432"/>
                    <a:gd name="T38" fmla="*/ 177 w 501"/>
                    <a:gd name="T39" fmla="*/ 432 h 432"/>
                    <a:gd name="T40" fmla="*/ 150 w 501"/>
                    <a:gd name="T41" fmla="*/ 427 h 432"/>
                    <a:gd name="T42" fmla="*/ 132 w 501"/>
                    <a:gd name="T43" fmla="*/ 414 h 432"/>
                    <a:gd name="T44" fmla="*/ 109 w 501"/>
                    <a:gd name="T45" fmla="*/ 405 h 432"/>
                    <a:gd name="T46" fmla="*/ 91 w 501"/>
                    <a:gd name="T47" fmla="*/ 405 h 432"/>
                    <a:gd name="T48" fmla="*/ 73 w 501"/>
                    <a:gd name="T49" fmla="*/ 386 h 432"/>
                    <a:gd name="T50" fmla="*/ 54 w 501"/>
                    <a:gd name="T51" fmla="*/ 359 h 432"/>
                    <a:gd name="T52" fmla="*/ 36 w 501"/>
                    <a:gd name="T53" fmla="*/ 355 h 432"/>
                    <a:gd name="T54" fmla="*/ 27 w 501"/>
                    <a:gd name="T55" fmla="*/ 355 h 432"/>
                    <a:gd name="T56" fmla="*/ 22 w 501"/>
                    <a:gd name="T57" fmla="*/ 341 h 432"/>
                    <a:gd name="T58" fmla="*/ 18 w 501"/>
                    <a:gd name="T59" fmla="*/ 305 h 432"/>
                    <a:gd name="T60" fmla="*/ 13 w 501"/>
                    <a:gd name="T61" fmla="*/ 264 h 432"/>
                    <a:gd name="T62" fmla="*/ 0 w 501"/>
                    <a:gd name="T63" fmla="*/ 218 h 432"/>
                    <a:gd name="T64" fmla="*/ 4 w 501"/>
                    <a:gd name="T65" fmla="*/ 168 h 432"/>
                    <a:gd name="T66" fmla="*/ 22 w 501"/>
                    <a:gd name="T67" fmla="*/ 141 h 432"/>
                    <a:gd name="T68" fmla="*/ 27 w 501"/>
                    <a:gd name="T69" fmla="*/ 118 h 432"/>
                    <a:gd name="T70" fmla="*/ 41 w 501"/>
                    <a:gd name="T71" fmla="*/ 100 h 432"/>
                    <a:gd name="T72" fmla="*/ 41 w 501"/>
                    <a:gd name="T73" fmla="*/ 77 h 432"/>
                    <a:gd name="T74" fmla="*/ 41 w 501"/>
                    <a:gd name="T75" fmla="*/ 59 h 432"/>
                    <a:gd name="T76" fmla="*/ 68 w 501"/>
                    <a:gd name="T77" fmla="*/ 36 h 432"/>
                    <a:gd name="T78" fmla="*/ 104 w 501"/>
                    <a:gd name="T79" fmla="*/ 5 h 432"/>
                    <a:gd name="T80" fmla="*/ 150 w 501"/>
                    <a:gd name="T81" fmla="*/ 9 h 432"/>
                    <a:gd name="T82" fmla="*/ 168 w 501"/>
                    <a:gd name="T83" fmla="*/ 50 h 432"/>
                    <a:gd name="T84" fmla="*/ 196 w 501"/>
                    <a:gd name="T85" fmla="*/ 73 h 432"/>
                    <a:gd name="T86" fmla="*/ 237 w 501"/>
                    <a:gd name="T87" fmla="*/ 91 h 432"/>
                    <a:gd name="T88" fmla="*/ 259 w 501"/>
                    <a:gd name="T89" fmla="*/ 100 h 432"/>
                    <a:gd name="T90" fmla="*/ 337 w 501"/>
                    <a:gd name="T91" fmla="*/ 100 h 432"/>
                    <a:gd name="T92" fmla="*/ 378 w 501"/>
                    <a:gd name="T93" fmla="*/ 114 h 432"/>
                    <a:gd name="T94" fmla="*/ 419 w 501"/>
                    <a:gd name="T95" fmla="*/ 123 h 432"/>
                    <a:gd name="T96" fmla="*/ 423 w 501"/>
                    <a:gd name="T97" fmla="*/ 12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1" h="432">
                      <a:moveTo>
                        <a:pt x="423" y="127"/>
                      </a:moveTo>
                      <a:lnTo>
                        <a:pt x="419" y="132"/>
                      </a:lnTo>
                      <a:lnTo>
                        <a:pt x="414" y="136"/>
                      </a:lnTo>
                      <a:lnTo>
                        <a:pt x="410" y="145"/>
                      </a:lnTo>
                      <a:lnTo>
                        <a:pt x="410" y="150"/>
                      </a:lnTo>
                      <a:lnTo>
                        <a:pt x="410" y="159"/>
                      </a:lnTo>
                      <a:lnTo>
                        <a:pt x="410" y="168"/>
                      </a:lnTo>
                      <a:lnTo>
                        <a:pt x="410" y="173"/>
                      </a:lnTo>
                      <a:lnTo>
                        <a:pt x="414" y="182"/>
                      </a:lnTo>
                      <a:lnTo>
                        <a:pt x="423" y="205"/>
                      </a:lnTo>
                      <a:lnTo>
                        <a:pt x="428" y="232"/>
                      </a:lnTo>
                      <a:lnTo>
                        <a:pt x="437" y="255"/>
                      </a:lnTo>
                      <a:lnTo>
                        <a:pt x="446" y="273"/>
                      </a:lnTo>
                      <a:lnTo>
                        <a:pt x="464" y="286"/>
                      </a:lnTo>
                      <a:lnTo>
                        <a:pt x="483" y="295"/>
                      </a:lnTo>
                      <a:lnTo>
                        <a:pt x="496" y="314"/>
                      </a:lnTo>
                      <a:lnTo>
                        <a:pt x="501" y="332"/>
                      </a:lnTo>
                      <a:lnTo>
                        <a:pt x="496" y="350"/>
                      </a:lnTo>
                      <a:lnTo>
                        <a:pt x="492" y="364"/>
                      </a:lnTo>
                      <a:lnTo>
                        <a:pt x="487" y="377"/>
                      </a:lnTo>
                      <a:lnTo>
                        <a:pt x="483" y="386"/>
                      </a:lnTo>
                      <a:lnTo>
                        <a:pt x="473" y="395"/>
                      </a:lnTo>
                      <a:lnTo>
                        <a:pt x="464" y="405"/>
                      </a:lnTo>
                      <a:lnTo>
                        <a:pt x="451" y="409"/>
                      </a:lnTo>
                      <a:lnTo>
                        <a:pt x="432" y="414"/>
                      </a:lnTo>
                      <a:lnTo>
                        <a:pt x="410" y="414"/>
                      </a:lnTo>
                      <a:lnTo>
                        <a:pt x="387" y="409"/>
                      </a:lnTo>
                      <a:lnTo>
                        <a:pt x="369" y="400"/>
                      </a:lnTo>
                      <a:lnTo>
                        <a:pt x="350" y="395"/>
                      </a:lnTo>
                      <a:lnTo>
                        <a:pt x="332" y="395"/>
                      </a:lnTo>
                      <a:lnTo>
                        <a:pt x="314" y="395"/>
                      </a:lnTo>
                      <a:lnTo>
                        <a:pt x="305" y="395"/>
                      </a:lnTo>
                      <a:lnTo>
                        <a:pt x="291" y="395"/>
                      </a:lnTo>
                      <a:lnTo>
                        <a:pt x="268" y="395"/>
                      </a:lnTo>
                      <a:lnTo>
                        <a:pt x="237" y="400"/>
                      </a:lnTo>
                      <a:lnTo>
                        <a:pt x="209" y="409"/>
                      </a:lnTo>
                      <a:lnTo>
                        <a:pt x="200" y="423"/>
                      </a:lnTo>
                      <a:lnTo>
                        <a:pt x="191" y="427"/>
                      </a:lnTo>
                      <a:lnTo>
                        <a:pt x="186" y="427"/>
                      </a:lnTo>
                      <a:lnTo>
                        <a:pt x="177" y="432"/>
                      </a:lnTo>
                      <a:lnTo>
                        <a:pt x="168" y="432"/>
                      </a:lnTo>
                      <a:lnTo>
                        <a:pt x="150" y="427"/>
                      </a:lnTo>
                      <a:lnTo>
                        <a:pt x="141" y="423"/>
                      </a:lnTo>
                      <a:lnTo>
                        <a:pt x="132" y="414"/>
                      </a:lnTo>
                      <a:lnTo>
                        <a:pt x="118" y="409"/>
                      </a:lnTo>
                      <a:lnTo>
                        <a:pt x="109" y="405"/>
                      </a:lnTo>
                      <a:lnTo>
                        <a:pt x="100" y="405"/>
                      </a:lnTo>
                      <a:lnTo>
                        <a:pt x="91" y="405"/>
                      </a:lnTo>
                      <a:lnTo>
                        <a:pt x="82" y="400"/>
                      </a:lnTo>
                      <a:lnTo>
                        <a:pt x="73" y="386"/>
                      </a:lnTo>
                      <a:lnTo>
                        <a:pt x="63" y="373"/>
                      </a:lnTo>
                      <a:lnTo>
                        <a:pt x="54" y="359"/>
                      </a:lnTo>
                      <a:lnTo>
                        <a:pt x="41" y="355"/>
                      </a:lnTo>
                      <a:lnTo>
                        <a:pt x="36" y="355"/>
                      </a:lnTo>
                      <a:lnTo>
                        <a:pt x="32" y="355"/>
                      </a:lnTo>
                      <a:lnTo>
                        <a:pt x="27" y="355"/>
                      </a:lnTo>
                      <a:lnTo>
                        <a:pt x="27" y="359"/>
                      </a:lnTo>
                      <a:lnTo>
                        <a:pt x="22" y="341"/>
                      </a:lnTo>
                      <a:lnTo>
                        <a:pt x="22" y="323"/>
                      </a:lnTo>
                      <a:lnTo>
                        <a:pt x="18" y="305"/>
                      </a:lnTo>
                      <a:lnTo>
                        <a:pt x="13" y="295"/>
                      </a:lnTo>
                      <a:lnTo>
                        <a:pt x="13" y="264"/>
                      </a:lnTo>
                      <a:lnTo>
                        <a:pt x="9" y="241"/>
                      </a:lnTo>
                      <a:lnTo>
                        <a:pt x="0" y="218"/>
                      </a:lnTo>
                      <a:lnTo>
                        <a:pt x="0" y="191"/>
                      </a:lnTo>
                      <a:lnTo>
                        <a:pt x="4" y="168"/>
                      </a:lnTo>
                      <a:lnTo>
                        <a:pt x="13" y="155"/>
                      </a:lnTo>
                      <a:lnTo>
                        <a:pt x="22" y="141"/>
                      </a:lnTo>
                      <a:lnTo>
                        <a:pt x="27" y="127"/>
                      </a:lnTo>
                      <a:lnTo>
                        <a:pt x="27" y="118"/>
                      </a:lnTo>
                      <a:lnTo>
                        <a:pt x="36" y="109"/>
                      </a:lnTo>
                      <a:lnTo>
                        <a:pt x="41" y="100"/>
                      </a:lnTo>
                      <a:lnTo>
                        <a:pt x="41" y="86"/>
                      </a:lnTo>
                      <a:lnTo>
                        <a:pt x="41" y="77"/>
                      </a:lnTo>
                      <a:lnTo>
                        <a:pt x="36" y="68"/>
                      </a:lnTo>
                      <a:lnTo>
                        <a:pt x="41" y="59"/>
                      </a:lnTo>
                      <a:lnTo>
                        <a:pt x="45" y="45"/>
                      </a:lnTo>
                      <a:lnTo>
                        <a:pt x="68" y="36"/>
                      </a:lnTo>
                      <a:lnTo>
                        <a:pt x="86" y="18"/>
                      </a:lnTo>
                      <a:lnTo>
                        <a:pt x="104" y="5"/>
                      </a:lnTo>
                      <a:lnTo>
                        <a:pt x="136" y="0"/>
                      </a:lnTo>
                      <a:lnTo>
                        <a:pt x="150" y="9"/>
                      </a:lnTo>
                      <a:lnTo>
                        <a:pt x="159" y="27"/>
                      </a:lnTo>
                      <a:lnTo>
                        <a:pt x="168" y="50"/>
                      </a:lnTo>
                      <a:lnTo>
                        <a:pt x="177" y="64"/>
                      </a:lnTo>
                      <a:lnTo>
                        <a:pt x="196" y="73"/>
                      </a:lnTo>
                      <a:lnTo>
                        <a:pt x="218" y="82"/>
                      </a:lnTo>
                      <a:lnTo>
                        <a:pt x="237" y="91"/>
                      </a:lnTo>
                      <a:lnTo>
                        <a:pt x="259" y="100"/>
                      </a:lnTo>
                      <a:lnTo>
                        <a:pt x="259" y="100"/>
                      </a:lnTo>
                      <a:lnTo>
                        <a:pt x="337" y="100"/>
                      </a:lnTo>
                      <a:lnTo>
                        <a:pt x="337" y="100"/>
                      </a:lnTo>
                      <a:lnTo>
                        <a:pt x="360" y="109"/>
                      </a:lnTo>
                      <a:lnTo>
                        <a:pt x="378" y="114"/>
                      </a:lnTo>
                      <a:lnTo>
                        <a:pt x="401" y="118"/>
                      </a:lnTo>
                      <a:lnTo>
                        <a:pt x="419" y="123"/>
                      </a:lnTo>
                      <a:lnTo>
                        <a:pt x="419" y="123"/>
                      </a:lnTo>
                      <a:lnTo>
                        <a:pt x="423" y="127"/>
                      </a:lnTo>
                      <a:lnTo>
                        <a:pt x="423" y="127"/>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lIns="90000" rIns="18000" anchor="ctr"/>
                <a:lstStyle/>
                <a:p>
                  <a:pPr defTabSz="913204" fontAlgn="auto">
                    <a:spcBef>
                      <a:spcPts val="0"/>
                    </a:spcBef>
                    <a:spcAft>
                      <a:spcPts val="0"/>
                    </a:spcAft>
                    <a:defRPr/>
                  </a:pPr>
                  <a:endParaRPr lang="en-US">
                    <a:solidFill>
                      <a:srgbClr val="000000"/>
                    </a:solidFill>
                    <a:latin typeface="+mn-lt"/>
                    <a:cs typeface="+mn-cs"/>
                  </a:endParaRPr>
                </a:p>
              </p:txBody>
            </p:sp>
            <p:sp>
              <p:nvSpPr>
                <p:cNvPr id="51" name="Freeform 279">
                  <a:extLst>
                    <a:ext uri="{FF2B5EF4-FFF2-40B4-BE49-F238E27FC236}">
                      <a16:creationId xmlns="" xmlns:a16="http://schemas.microsoft.com/office/drawing/2014/main" id="{7DFB916B-8653-4651-8690-95710F37CBD8}"/>
                    </a:ext>
                  </a:extLst>
                </p:cNvPr>
                <p:cNvSpPr>
                  <a:spLocks noChangeAspect="1"/>
                </p:cNvSpPr>
                <p:nvPr/>
              </p:nvSpPr>
              <p:spPr bwMode="auto">
                <a:xfrm>
                  <a:off x="2647" y="2068"/>
                  <a:ext cx="570" cy="368"/>
                </a:xfrm>
                <a:custGeom>
                  <a:avLst/>
                  <a:gdLst>
                    <a:gd name="T0" fmla="*/ 497 w 570"/>
                    <a:gd name="T1" fmla="*/ 364 h 368"/>
                    <a:gd name="T2" fmla="*/ 506 w 570"/>
                    <a:gd name="T3" fmla="*/ 350 h 368"/>
                    <a:gd name="T4" fmla="*/ 506 w 570"/>
                    <a:gd name="T5" fmla="*/ 323 h 368"/>
                    <a:gd name="T6" fmla="*/ 492 w 570"/>
                    <a:gd name="T7" fmla="*/ 286 h 368"/>
                    <a:gd name="T8" fmla="*/ 492 w 570"/>
                    <a:gd name="T9" fmla="*/ 259 h 368"/>
                    <a:gd name="T10" fmla="*/ 506 w 570"/>
                    <a:gd name="T11" fmla="*/ 246 h 368"/>
                    <a:gd name="T12" fmla="*/ 529 w 570"/>
                    <a:gd name="T13" fmla="*/ 227 h 368"/>
                    <a:gd name="T14" fmla="*/ 561 w 570"/>
                    <a:gd name="T15" fmla="*/ 214 h 368"/>
                    <a:gd name="T16" fmla="*/ 570 w 570"/>
                    <a:gd name="T17" fmla="*/ 182 h 368"/>
                    <a:gd name="T18" fmla="*/ 561 w 570"/>
                    <a:gd name="T19" fmla="*/ 141 h 368"/>
                    <a:gd name="T20" fmla="*/ 542 w 570"/>
                    <a:gd name="T21" fmla="*/ 114 h 368"/>
                    <a:gd name="T22" fmla="*/ 497 w 570"/>
                    <a:gd name="T23" fmla="*/ 100 h 368"/>
                    <a:gd name="T24" fmla="*/ 470 w 570"/>
                    <a:gd name="T25" fmla="*/ 73 h 368"/>
                    <a:gd name="T26" fmla="*/ 447 w 570"/>
                    <a:gd name="T27" fmla="*/ 32 h 368"/>
                    <a:gd name="T28" fmla="*/ 424 w 570"/>
                    <a:gd name="T29" fmla="*/ 18 h 368"/>
                    <a:gd name="T30" fmla="*/ 401 w 570"/>
                    <a:gd name="T31" fmla="*/ 32 h 368"/>
                    <a:gd name="T32" fmla="*/ 374 w 570"/>
                    <a:gd name="T33" fmla="*/ 32 h 368"/>
                    <a:gd name="T34" fmla="*/ 360 w 570"/>
                    <a:gd name="T35" fmla="*/ 23 h 368"/>
                    <a:gd name="T36" fmla="*/ 342 w 570"/>
                    <a:gd name="T37" fmla="*/ 18 h 368"/>
                    <a:gd name="T38" fmla="*/ 319 w 570"/>
                    <a:gd name="T39" fmla="*/ 27 h 368"/>
                    <a:gd name="T40" fmla="*/ 287 w 570"/>
                    <a:gd name="T41" fmla="*/ 23 h 368"/>
                    <a:gd name="T42" fmla="*/ 255 w 570"/>
                    <a:gd name="T43" fmla="*/ 5 h 368"/>
                    <a:gd name="T44" fmla="*/ 228 w 570"/>
                    <a:gd name="T45" fmla="*/ 0 h 368"/>
                    <a:gd name="T46" fmla="*/ 214 w 570"/>
                    <a:gd name="T47" fmla="*/ 0 h 368"/>
                    <a:gd name="T48" fmla="*/ 187 w 570"/>
                    <a:gd name="T49" fmla="*/ 5 h 368"/>
                    <a:gd name="T50" fmla="*/ 155 w 570"/>
                    <a:gd name="T51" fmla="*/ 23 h 368"/>
                    <a:gd name="T52" fmla="*/ 128 w 570"/>
                    <a:gd name="T53" fmla="*/ 27 h 368"/>
                    <a:gd name="T54" fmla="*/ 105 w 570"/>
                    <a:gd name="T55" fmla="*/ 32 h 368"/>
                    <a:gd name="T56" fmla="*/ 101 w 570"/>
                    <a:gd name="T57" fmla="*/ 50 h 368"/>
                    <a:gd name="T58" fmla="*/ 114 w 570"/>
                    <a:gd name="T59" fmla="*/ 73 h 368"/>
                    <a:gd name="T60" fmla="*/ 110 w 570"/>
                    <a:gd name="T61" fmla="*/ 100 h 368"/>
                    <a:gd name="T62" fmla="*/ 82 w 570"/>
                    <a:gd name="T63" fmla="*/ 109 h 368"/>
                    <a:gd name="T64" fmla="*/ 41 w 570"/>
                    <a:gd name="T65" fmla="*/ 123 h 368"/>
                    <a:gd name="T66" fmla="*/ 9 w 570"/>
                    <a:gd name="T67" fmla="*/ 159 h 368"/>
                    <a:gd name="T68" fmla="*/ 5 w 570"/>
                    <a:gd name="T69" fmla="*/ 191 h 368"/>
                    <a:gd name="T70" fmla="*/ 41 w 570"/>
                    <a:gd name="T71" fmla="*/ 223 h 368"/>
                    <a:gd name="T72" fmla="*/ 78 w 570"/>
                    <a:gd name="T73" fmla="*/ 246 h 368"/>
                    <a:gd name="T74" fmla="*/ 96 w 570"/>
                    <a:gd name="T75" fmla="*/ 277 h 368"/>
                    <a:gd name="T76" fmla="*/ 137 w 570"/>
                    <a:gd name="T77" fmla="*/ 277 h 368"/>
                    <a:gd name="T78" fmla="*/ 173 w 570"/>
                    <a:gd name="T79" fmla="*/ 246 h 368"/>
                    <a:gd name="T80" fmla="*/ 219 w 570"/>
                    <a:gd name="T81" fmla="*/ 250 h 368"/>
                    <a:gd name="T82" fmla="*/ 237 w 570"/>
                    <a:gd name="T83" fmla="*/ 291 h 368"/>
                    <a:gd name="T84" fmla="*/ 265 w 570"/>
                    <a:gd name="T85" fmla="*/ 314 h 368"/>
                    <a:gd name="T86" fmla="*/ 306 w 570"/>
                    <a:gd name="T87" fmla="*/ 332 h 368"/>
                    <a:gd name="T88" fmla="*/ 328 w 570"/>
                    <a:gd name="T89" fmla="*/ 341 h 368"/>
                    <a:gd name="T90" fmla="*/ 406 w 570"/>
                    <a:gd name="T91" fmla="*/ 341 h 368"/>
                    <a:gd name="T92" fmla="*/ 447 w 570"/>
                    <a:gd name="T93" fmla="*/ 355 h 368"/>
                    <a:gd name="T94" fmla="*/ 488 w 570"/>
                    <a:gd name="T95" fmla="*/ 364 h 368"/>
                    <a:gd name="T96" fmla="*/ 492 w 570"/>
                    <a:gd name="T97"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0" h="368">
                      <a:moveTo>
                        <a:pt x="492" y="368"/>
                      </a:moveTo>
                      <a:lnTo>
                        <a:pt x="497" y="364"/>
                      </a:lnTo>
                      <a:lnTo>
                        <a:pt x="501" y="355"/>
                      </a:lnTo>
                      <a:lnTo>
                        <a:pt x="506" y="350"/>
                      </a:lnTo>
                      <a:lnTo>
                        <a:pt x="506" y="341"/>
                      </a:lnTo>
                      <a:lnTo>
                        <a:pt x="506" y="323"/>
                      </a:lnTo>
                      <a:lnTo>
                        <a:pt x="501" y="305"/>
                      </a:lnTo>
                      <a:lnTo>
                        <a:pt x="492" y="286"/>
                      </a:lnTo>
                      <a:lnTo>
                        <a:pt x="492" y="268"/>
                      </a:lnTo>
                      <a:lnTo>
                        <a:pt x="492" y="259"/>
                      </a:lnTo>
                      <a:lnTo>
                        <a:pt x="497" y="250"/>
                      </a:lnTo>
                      <a:lnTo>
                        <a:pt x="506" y="246"/>
                      </a:lnTo>
                      <a:lnTo>
                        <a:pt x="520" y="241"/>
                      </a:lnTo>
                      <a:lnTo>
                        <a:pt x="529" y="227"/>
                      </a:lnTo>
                      <a:lnTo>
                        <a:pt x="547" y="218"/>
                      </a:lnTo>
                      <a:lnTo>
                        <a:pt x="561" y="214"/>
                      </a:lnTo>
                      <a:lnTo>
                        <a:pt x="570" y="200"/>
                      </a:lnTo>
                      <a:lnTo>
                        <a:pt x="570" y="182"/>
                      </a:lnTo>
                      <a:lnTo>
                        <a:pt x="565" y="159"/>
                      </a:lnTo>
                      <a:lnTo>
                        <a:pt x="561" y="141"/>
                      </a:lnTo>
                      <a:lnTo>
                        <a:pt x="556" y="127"/>
                      </a:lnTo>
                      <a:lnTo>
                        <a:pt x="542" y="114"/>
                      </a:lnTo>
                      <a:lnTo>
                        <a:pt x="520" y="109"/>
                      </a:lnTo>
                      <a:lnTo>
                        <a:pt x="497" y="100"/>
                      </a:lnTo>
                      <a:lnTo>
                        <a:pt x="483" y="91"/>
                      </a:lnTo>
                      <a:lnTo>
                        <a:pt x="470" y="73"/>
                      </a:lnTo>
                      <a:lnTo>
                        <a:pt x="456" y="55"/>
                      </a:lnTo>
                      <a:lnTo>
                        <a:pt x="447" y="32"/>
                      </a:lnTo>
                      <a:lnTo>
                        <a:pt x="442" y="14"/>
                      </a:lnTo>
                      <a:lnTo>
                        <a:pt x="424" y="18"/>
                      </a:lnTo>
                      <a:lnTo>
                        <a:pt x="415" y="23"/>
                      </a:lnTo>
                      <a:lnTo>
                        <a:pt x="401" y="32"/>
                      </a:lnTo>
                      <a:lnTo>
                        <a:pt x="388" y="37"/>
                      </a:lnTo>
                      <a:lnTo>
                        <a:pt x="374" y="32"/>
                      </a:lnTo>
                      <a:lnTo>
                        <a:pt x="369" y="27"/>
                      </a:lnTo>
                      <a:lnTo>
                        <a:pt x="360" y="23"/>
                      </a:lnTo>
                      <a:lnTo>
                        <a:pt x="351" y="18"/>
                      </a:lnTo>
                      <a:lnTo>
                        <a:pt x="342" y="18"/>
                      </a:lnTo>
                      <a:lnTo>
                        <a:pt x="333" y="23"/>
                      </a:lnTo>
                      <a:lnTo>
                        <a:pt x="319" y="27"/>
                      </a:lnTo>
                      <a:lnTo>
                        <a:pt x="310" y="27"/>
                      </a:lnTo>
                      <a:lnTo>
                        <a:pt x="287" y="23"/>
                      </a:lnTo>
                      <a:lnTo>
                        <a:pt x="269" y="14"/>
                      </a:lnTo>
                      <a:lnTo>
                        <a:pt x="255" y="5"/>
                      </a:lnTo>
                      <a:lnTo>
                        <a:pt x="237" y="0"/>
                      </a:lnTo>
                      <a:lnTo>
                        <a:pt x="228" y="0"/>
                      </a:lnTo>
                      <a:lnTo>
                        <a:pt x="224" y="0"/>
                      </a:lnTo>
                      <a:lnTo>
                        <a:pt x="214" y="0"/>
                      </a:lnTo>
                      <a:lnTo>
                        <a:pt x="205" y="0"/>
                      </a:lnTo>
                      <a:lnTo>
                        <a:pt x="187" y="5"/>
                      </a:lnTo>
                      <a:lnTo>
                        <a:pt x="169" y="14"/>
                      </a:lnTo>
                      <a:lnTo>
                        <a:pt x="155" y="23"/>
                      </a:lnTo>
                      <a:lnTo>
                        <a:pt x="142" y="27"/>
                      </a:lnTo>
                      <a:lnTo>
                        <a:pt x="128" y="27"/>
                      </a:lnTo>
                      <a:lnTo>
                        <a:pt x="114" y="27"/>
                      </a:lnTo>
                      <a:lnTo>
                        <a:pt x="105" y="32"/>
                      </a:lnTo>
                      <a:lnTo>
                        <a:pt x="101" y="41"/>
                      </a:lnTo>
                      <a:lnTo>
                        <a:pt x="101" y="50"/>
                      </a:lnTo>
                      <a:lnTo>
                        <a:pt x="110" y="59"/>
                      </a:lnTo>
                      <a:lnTo>
                        <a:pt x="114" y="73"/>
                      </a:lnTo>
                      <a:lnTo>
                        <a:pt x="114" y="82"/>
                      </a:lnTo>
                      <a:lnTo>
                        <a:pt x="110" y="100"/>
                      </a:lnTo>
                      <a:lnTo>
                        <a:pt x="96" y="105"/>
                      </a:lnTo>
                      <a:lnTo>
                        <a:pt x="82" y="109"/>
                      </a:lnTo>
                      <a:lnTo>
                        <a:pt x="64" y="114"/>
                      </a:lnTo>
                      <a:lnTo>
                        <a:pt x="41" y="123"/>
                      </a:lnTo>
                      <a:lnTo>
                        <a:pt x="23" y="141"/>
                      </a:lnTo>
                      <a:lnTo>
                        <a:pt x="9" y="159"/>
                      </a:lnTo>
                      <a:lnTo>
                        <a:pt x="0" y="173"/>
                      </a:lnTo>
                      <a:lnTo>
                        <a:pt x="5" y="191"/>
                      </a:lnTo>
                      <a:lnTo>
                        <a:pt x="19" y="209"/>
                      </a:lnTo>
                      <a:lnTo>
                        <a:pt x="41" y="223"/>
                      </a:lnTo>
                      <a:lnTo>
                        <a:pt x="60" y="232"/>
                      </a:lnTo>
                      <a:lnTo>
                        <a:pt x="78" y="246"/>
                      </a:lnTo>
                      <a:lnTo>
                        <a:pt x="87" y="264"/>
                      </a:lnTo>
                      <a:lnTo>
                        <a:pt x="96" y="277"/>
                      </a:lnTo>
                      <a:lnTo>
                        <a:pt x="114" y="286"/>
                      </a:lnTo>
                      <a:lnTo>
                        <a:pt x="137" y="277"/>
                      </a:lnTo>
                      <a:lnTo>
                        <a:pt x="155" y="259"/>
                      </a:lnTo>
                      <a:lnTo>
                        <a:pt x="173" y="246"/>
                      </a:lnTo>
                      <a:lnTo>
                        <a:pt x="205" y="241"/>
                      </a:lnTo>
                      <a:lnTo>
                        <a:pt x="219" y="250"/>
                      </a:lnTo>
                      <a:lnTo>
                        <a:pt x="228" y="268"/>
                      </a:lnTo>
                      <a:lnTo>
                        <a:pt x="237" y="291"/>
                      </a:lnTo>
                      <a:lnTo>
                        <a:pt x="246" y="305"/>
                      </a:lnTo>
                      <a:lnTo>
                        <a:pt x="265" y="314"/>
                      </a:lnTo>
                      <a:lnTo>
                        <a:pt x="287" y="323"/>
                      </a:lnTo>
                      <a:lnTo>
                        <a:pt x="306" y="332"/>
                      </a:lnTo>
                      <a:lnTo>
                        <a:pt x="328" y="341"/>
                      </a:lnTo>
                      <a:lnTo>
                        <a:pt x="328" y="341"/>
                      </a:lnTo>
                      <a:lnTo>
                        <a:pt x="406" y="341"/>
                      </a:lnTo>
                      <a:lnTo>
                        <a:pt x="406" y="341"/>
                      </a:lnTo>
                      <a:lnTo>
                        <a:pt x="429" y="350"/>
                      </a:lnTo>
                      <a:lnTo>
                        <a:pt x="447" y="355"/>
                      </a:lnTo>
                      <a:lnTo>
                        <a:pt x="470" y="359"/>
                      </a:lnTo>
                      <a:lnTo>
                        <a:pt x="488" y="364"/>
                      </a:lnTo>
                      <a:lnTo>
                        <a:pt x="488" y="364"/>
                      </a:lnTo>
                      <a:lnTo>
                        <a:pt x="492" y="368"/>
                      </a:lnTo>
                      <a:lnTo>
                        <a:pt x="492" y="368"/>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lIns="90000" rIns="18000" anchor="ctr"/>
                <a:lstStyle/>
                <a:p>
                  <a:pPr defTabSz="913204" fontAlgn="auto">
                    <a:spcBef>
                      <a:spcPts val="0"/>
                    </a:spcBef>
                    <a:spcAft>
                      <a:spcPts val="0"/>
                    </a:spcAft>
                    <a:defRPr/>
                  </a:pPr>
                  <a:endParaRPr lang="en-US">
                    <a:solidFill>
                      <a:srgbClr val="000000"/>
                    </a:solidFill>
                    <a:latin typeface="+mn-lt"/>
                    <a:cs typeface="+mn-cs"/>
                  </a:endParaRPr>
                </a:p>
              </p:txBody>
            </p:sp>
          </p:grpSp>
          <p:grpSp>
            <p:nvGrpSpPr>
              <p:cNvPr id="39" name="Group 280">
                <a:extLst>
                  <a:ext uri="{FF2B5EF4-FFF2-40B4-BE49-F238E27FC236}">
                    <a16:creationId xmlns="" xmlns:a16="http://schemas.microsoft.com/office/drawing/2014/main" id="{3AAF4D50-2D36-4AF8-A33F-1B9E014E76C7}"/>
                  </a:ext>
                </a:extLst>
              </p:cNvPr>
              <p:cNvGrpSpPr>
                <a:grpSpLocks noChangeAspect="1"/>
              </p:cNvGrpSpPr>
              <p:nvPr/>
            </p:nvGrpSpPr>
            <p:grpSpPr bwMode="auto">
              <a:xfrm>
                <a:off x="3954" y="2355"/>
                <a:ext cx="818" cy="868"/>
                <a:chOff x="3126" y="2160"/>
                <a:chExt cx="1129" cy="1104"/>
              </a:xfrm>
              <a:grpFill/>
            </p:grpSpPr>
            <p:sp>
              <p:nvSpPr>
                <p:cNvPr id="40" name="Freeform 281">
                  <a:extLst>
                    <a:ext uri="{FF2B5EF4-FFF2-40B4-BE49-F238E27FC236}">
                      <a16:creationId xmlns="" xmlns:a16="http://schemas.microsoft.com/office/drawing/2014/main" id="{242D5954-D74A-40C3-B21F-1BAEB8FF3390}"/>
                    </a:ext>
                  </a:extLst>
                </p:cNvPr>
                <p:cNvSpPr>
                  <a:spLocks noChangeAspect="1"/>
                </p:cNvSpPr>
                <p:nvPr/>
              </p:nvSpPr>
              <p:spPr bwMode="auto">
                <a:xfrm>
                  <a:off x="3189" y="2709"/>
                  <a:ext cx="328" cy="505"/>
                </a:xfrm>
                <a:custGeom>
                  <a:avLst/>
                  <a:gdLst>
                    <a:gd name="T0" fmla="*/ 55 w 328"/>
                    <a:gd name="T1" fmla="*/ 423 h 505"/>
                    <a:gd name="T2" fmla="*/ 69 w 328"/>
                    <a:gd name="T3" fmla="*/ 441 h 505"/>
                    <a:gd name="T4" fmla="*/ 73 w 328"/>
                    <a:gd name="T5" fmla="*/ 473 h 505"/>
                    <a:gd name="T6" fmla="*/ 105 w 328"/>
                    <a:gd name="T7" fmla="*/ 500 h 505"/>
                    <a:gd name="T8" fmla="*/ 137 w 328"/>
                    <a:gd name="T9" fmla="*/ 500 h 505"/>
                    <a:gd name="T10" fmla="*/ 151 w 328"/>
                    <a:gd name="T11" fmla="*/ 482 h 505"/>
                    <a:gd name="T12" fmla="*/ 169 w 328"/>
                    <a:gd name="T13" fmla="*/ 477 h 505"/>
                    <a:gd name="T14" fmla="*/ 183 w 328"/>
                    <a:gd name="T15" fmla="*/ 491 h 505"/>
                    <a:gd name="T16" fmla="*/ 201 w 328"/>
                    <a:gd name="T17" fmla="*/ 486 h 505"/>
                    <a:gd name="T18" fmla="*/ 219 w 328"/>
                    <a:gd name="T19" fmla="*/ 468 h 505"/>
                    <a:gd name="T20" fmla="*/ 237 w 328"/>
                    <a:gd name="T21" fmla="*/ 464 h 505"/>
                    <a:gd name="T22" fmla="*/ 260 w 328"/>
                    <a:gd name="T23" fmla="*/ 468 h 505"/>
                    <a:gd name="T24" fmla="*/ 265 w 328"/>
                    <a:gd name="T25" fmla="*/ 468 h 505"/>
                    <a:gd name="T26" fmla="*/ 260 w 328"/>
                    <a:gd name="T27" fmla="*/ 464 h 505"/>
                    <a:gd name="T28" fmla="*/ 265 w 328"/>
                    <a:gd name="T29" fmla="*/ 423 h 505"/>
                    <a:gd name="T30" fmla="*/ 283 w 328"/>
                    <a:gd name="T31" fmla="*/ 355 h 505"/>
                    <a:gd name="T32" fmla="*/ 292 w 328"/>
                    <a:gd name="T33" fmla="*/ 327 h 505"/>
                    <a:gd name="T34" fmla="*/ 292 w 328"/>
                    <a:gd name="T35" fmla="*/ 300 h 505"/>
                    <a:gd name="T36" fmla="*/ 292 w 328"/>
                    <a:gd name="T37" fmla="*/ 273 h 505"/>
                    <a:gd name="T38" fmla="*/ 315 w 328"/>
                    <a:gd name="T39" fmla="*/ 236 h 505"/>
                    <a:gd name="T40" fmla="*/ 328 w 328"/>
                    <a:gd name="T41" fmla="*/ 191 h 505"/>
                    <a:gd name="T42" fmla="*/ 319 w 328"/>
                    <a:gd name="T43" fmla="*/ 141 h 505"/>
                    <a:gd name="T44" fmla="*/ 310 w 328"/>
                    <a:gd name="T45" fmla="*/ 95 h 505"/>
                    <a:gd name="T46" fmla="*/ 315 w 328"/>
                    <a:gd name="T47" fmla="*/ 77 h 505"/>
                    <a:gd name="T48" fmla="*/ 315 w 328"/>
                    <a:gd name="T49" fmla="*/ 55 h 505"/>
                    <a:gd name="T50" fmla="*/ 315 w 328"/>
                    <a:gd name="T51" fmla="*/ 41 h 505"/>
                    <a:gd name="T52" fmla="*/ 315 w 328"/>
                    <a:gd name="T53" fmla="*/ 32 h 505"/>
                    <a:gd name="T54" fmla="*/ 315 w 328"/>
                    <a:gd name="T55" fmla="*/ 27 h 505"/>
                    <a:gd name="T56" fmla="*/ 315 w 328"/>
                    <a:gd name="T57" fmla="*/ 23 h 505"/>
                    <a:gd name="T58" fmla="*/ 306 w 328"/>
                    <a:gd name="T59" fmla="*/ 14 h 505"/>
                    <a:gd name="T60" fmla="*/ 297 w 328"/>
                    <a:gd name="T61" fmla="*/ 0 h 505"/>
                    <a:gd name="T62" fmla="*/ 233 w 328"/>
                    <a:gd name="T63" fmla="*/ 36 h 505"/>
                    <a:gd name="T64" fmla="*/ 201 w 328"/>
                    <a:gd name="T65" fmla="*/ 95 h 505"/>
                    <a:gd name="T66" fmla="*/ 183 w 328"/>
                    <a:gd name="T67" fmla="*/ 105 h 505"/>
                    <a:gd name="T68" fmla="*/ 164 w 328"/>
                    <a:gd name="T69" fmla="*/ 109 h 505"/>
                    <a:gd name="T70" fmla="*/ 155 w 328"/>
                    <a:gd name="T71" fmla="*/ 132 h 505"/>
                    <a:gd name="T72" fmla="*/ 155 w 328"/>
                    <a:gd name="T73" fmla="*/ 155 h 505"/>
                    <a:gd name="T74" fmla="*/ 123 w 328"/>
                    <a:gd name="T75" fmla="*/ 200 h 505"/>
                    <a:gd name="T76" fmla="*/ 73 w 328"/>
                    <a:gd name="T77" fmla="*/ 236 h 505"/>
                    <a:gd name="T78" fmla="*/ 23 w 328"/>
                    <a:gd name="T79" fmla="*/ 268 h 505"/>
                    <a:gd name="T80" fmla="*/ 0 w 328"/>
                    <a:gd name="T81" fmla="*/ 309 h 505"/>
                    <a:gd name="T82" fmla="*/ 23 w 328"/>
                    <a:gd name="T83" fmla="*/ 364 h 505"/>
                    <a:gd name="T84" fmla="*/ 41 w 328"/>
                    <a:gd name="T85" fmla="*/ 423 h 505"/>
                    <a:gd name="T86" fmla="*/ 41 w 328"/>
                    <a:gd name="T87" fmla="*/ 423 h 505"/>
                    <a:gd name="T88" fmla="*/ 46 w 328"/>
                    <a:gd name="T89" fmla="*/ 418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8" h="505">
                      <a:moveTo>
                        <a:pt x="46" y="418"/>
                      </a:moveTo>
                      <a:lnTo>
                        <a:pt x="55" y="423"/>
                      </a:lnTo>
                      <a:lnTo>
                        <a:pt x="64" y="427"/>
                      </a:lnTo>
                      <a:lnTo>
                        <a:pt x="69" y="441"/>
                      </a:lnTo>
                      <a:lnTo>
                        <a:pt x="69" y="455"/>
                      </a:lnTo>
                      <a:lnTo>
                        <a:pt x="73" y="473"/>
                      </a:lnTo>
                      <a:lnTo>
                        <a:pt x="87" y="486"/>
                      </a:lnTo>
                      <a:lnTo>
                        <a:pt x="105" y="500"/>
                      </a:lnTo>
                      <a:lnTo>
                        <a:pt x="123" y="505"/>
                      </a:lnTo>
                      <a:lnTo>
                        <a:pt x="137" y="500"/>
                      </a:lnTo>
                      <a:lnTo>
                        <a:pt x="142" y="491"/>
                      </a:lnTo>
                      <a:lnTo>
                        <a:pt x="151" y="482"/>
                      </a:lnTo>
                      <a:lnTo>
                        <a:pt x="160" y="477"/>
                      </a:lnTo>
                      <a:lnTo>
                        <a:pt x="169" y="477"/>
                      </a:lnTo>
                      <a:lnTo>
                        <a:pt x="178" y="482"/>
                      </a:lnTo>
                      <a:lnTo>
                        <a:pt x="183" y="491"/>
                      </a:lnTo>
                      <a:lnTo>
                        <a:pt x="192" y="491"/>
                      </a:lnTo>
                      <a:lnTo>
                        <a:pt x="201" y="486"/>
                      </a:lnTo>
                      <a:lnTo>
                        <a:pt x="210" y="477"/>
                      </a:lnTo>
                      <a:lnTo>
                        <a:pt x="219" y="468"/>
                      </a:lnTo>
                      <a:lnTo>
                        <a:pt x="228" y="464"/>
                      </a:lnTo>
                      <a:lnTo>
                        <a:pt x="237" y="464"/>
                      </a:lnTo>
                      <a:lnTo>
                        <a:pt x="251" y="468"/>
                      </a:lnTo>
                      <a:lnTo>
                        <a:pt x="260" y="468"/>
                      </a:lnTo>
                      <a:lnTo>
                        <a:pt x="269" y="473"/>
                      </a:lnTo>
                      <a:lnTo>
                        <a:pt x="265" y="468"/>
                      </a:lnTo>
                      <a:lnTo>
                        <a:pt x="265" y="464"/>
                      </a:lnTo>
                      <a:lnTo>
                        <a:pt x="260" y="464"/>
                      </a:lnTo>
                      <a:lnTo>
                        <a:pt x="260" y="459"/>
                      </a:lnTo>
                      <a:lnTo>
                        <a:pt x="265" y="423"/>
                      </a:lnTo>
                      <a:lnTo>
                        <a:pt x="274" y="391"/>
                      </a:lnTo>
                      <a:lnTo>
                        <a:pt x="283" y="355"/>
                      </a:lnTo>
                      <a:lnTo>
                        <a:pt x="292" y="327"/>
                      </a:lnTo>
                      <a:lnTo>
                        <a:pt x="292" y="327"/>
                      </a:lnTo>
                      <a:lnTo>
                        <a:pt x="292" y="300"/>
                      </a:lnTo>
                      <a:lnTo>
                        <a:pt x="292" y="300"/>
                      </a:lnTo>
                      <a:lnTo>
                        <a:pt x="292" y="273"/>
                      </a:lnTo>
                      <a:lnTo>
                        <a:pt x="292" y="273"/>
                      </a:lnTo>
                      <a:lnTo>
                        <a:pt x="306" y="255"/>
                      </a:lnTo>
                      <a:lnTo>
                        <a:pt x="315" y="236"/>
                      </a:lnTo>
                      <a:lnTo>
                        <a:pt x="324" y="214"/>
                      </a:lnTo>
                      <a:lnTo>
                        <a:pt x="328" y="191"/>
                      </a:lnTo>
                      <a:lnTo>
                        <a:pt x="324" y="168"/>
                      </a:lnTo>
                      <a:lnTo>
                        <a:pt x="319" y="141"/>
                      </a:lnTo>
                      <a:lnTo>
                        <a:pt x="315" y="118"/>
                      </a:lnTo>
                      <a:lnTo>
                        <a:pt x="310" y="95"/>
                      </a:lnTo>
                      <a:lnTo>
                        <a:pt x="310" y="86"/>
                      </a:lnTo>
                      <a:lnTo>
                        <a:pt x="315" y="77"/>
                      </a:lnTo>
                      <a:lnTo>
                        <a:pt x="315" y="68"/>
                      </a:lnTo>
                      <a:lnTo>
                        <a:pt x="315" y="55"/>
                      </a:lnTo>
                      <a:lnTo>
                        <a:pt x="315" y="50"/>
                      </a:lnTo>
                      <a:lnTo>
                        <a:pt x="315" y="41"/>
                      </a:lnTo>
                      <a:lnTo>
                        <a:pt x="315" y="36"/>
                      </a:lnTo>
                      <a:lnTo>
                        <a:pt x="315" y="32"/>
                      </a:lnTo>
                      <a:lnTo>
                        <a:pt x="315" y="27"/>
                      </a:lnTo>
                      <a:lnTo>
                        <a:pt x="315" y="27"/>
                      </a:lnTo>
                      <a:lnTo>
                        <a:pt x="315" y="27"/>
                      </a:lnTo>
                      <a:lnTo>
                        <a:pt x="315" y="23"/>
                      </a:lnTo>
                      <a:lnTo>
                        <a:pt x="310" y="18"/>
                      </a:lnTo>
                      <a:lnTo>
                        <a:pt x="306" y="14"/>
                      </a:lnTo>
                      <a:lnTo>
                        <a:pt x="301" y="9"/>
                      </a:lnTo>
                      <a:lnTo>
                        <a:pt x="297" y="0"/>
                      </a:lnTo>
                      <a:lnTo>
                        <a:pt x="260" y="14"/>
                      </a:lnTo>
                      <a:lnTo>
                        <a:pt x="233" y="36"/>
                      </a:lnTo>
                      <a:lnTo>
                        <a:pt x="215" y="64"/>
                      </a:lnTo>
                      <a:lnTo>
                        <a:pt x="201" y="95"/>
                      </a:lnTo>
                      <a:lnTo>
                        <a:pt x="192" y="100"/>
                      </a:lnTo>
                      <a:lnTo>
                        <a:pt x="183" y="105"/>
                      </a:lnTo>
                      <a:lnTo>
                        <a:pt x="174" y="105"/>
                      </a:lnTo>
                      <a:lnTo>
                        <a:pt x="164" y="109"/>
                      </a:lnTo>
                      <a:lnTo>
                        <a:pt x="160" y="118"/>
                      </a:lnTo>
                      <a:lnTo>
                        <a:pt x="155" y="132"/>
                      </a:lnTo>
                      <a:lnTo>
                        <a:pt x="155" y="145"/>
                      </a:lnTo>
                      <a:lnTo>
                        <a:pt x="155" y="155"/>
                      </a:lnTo>
                      <a:lnTo>
                        <a:pt x="146" y="182"/>
                      </a:lnTo>
                      <a:lnTo>
                        <a:pt x="123" y="200"/>
                      </a:lnTo>
                      <a:lnTo>
                        <a:pt x="101" y="218"/>
                      </a:lnTo>
                      <a:lnTo>
                        <a:pt x="73" y="236"/>
                      </a:lnTo>
                      <a:lnTo>
                        <a:pt x="46" y="250"/>
                      </a:lnTo>
                      <a:lnTo>
                        <a:pt x="23" y="268"/>
                      </a:lnTo>
                      <a:lnTo>
                        <a:pt x="5" y="286"/>
                      </a:lnTo>
                      <a:lnTo>
                        <a:pt x="0" y="309"/>
                      </a:lnTo>
                      <a:lnTo>
                        <a:pt x="5" y="336"/>
                      </a:lnTo>
                      <a:lnTo>
                        <a:pt x="23" y="364"/>
                      </a:lnTo>
                      <a:lnTo>
                        <a:pt x="37" y="386"/>
                      </a:lnTo>
                      <a:lnTo>
                        <a:pt x="41" y="423"/>
                      </a:lnTo>
                      <a:lnTo>
                        <a:pt x="41" y="423"/>
                      </a:lnTo>
                      <a:lnTo>
                        <a:pt x="41" y="423"/>
                      </a:lnTo>
                      <a:lnTo>
                        <a:pt x="46" y="418"/>
                      </a:lnTo>
                      <a:lnTo>
                        <a:pt x="46" y="418"/>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41" name="Freeform 282">
                  <a:extLst>
                    <a:ext uri="{FF2B5EF4-FFF2-40B4-BE49-F238E27FC236}">
                      <a16:creationId xmlns="" xmlns:a16="http://schemas.microsoft.com/office/drawing/2014/main" id="{8C2AB4E1-91E1-4FA6-9A69-C49597DC8FF3}"/>
                    </a:ext>
                  </a:extLst>
                </p:cNvPr>
                <p:cNvSpPr>
                  <a:spLocks noChangeAspect="1"/>
                </p:cNvSpPr>
                <p:nvPr/>
              </p:nvSpPr>
              <p:spPr bwMode="auto">
                <a:xfrm>
                  <a:off x="3449" y="2723"/>
                  <a:ext cx="355" cy="541"/>
                </a:xfrm>
                <a:custGeom>
                  <a:avLst/>
                  <a:gdLst>
                    <a:gd name="T0" fmla="*/ 73 w 355"/>
                    <a:gd name="T1" fmla="*/ 4 h 541"/>
                    <a:gd name="T2" fmla="*/ 114 w 355"/>
                    <a:gd name="T3" fmla="*/ 4 h 541"/>
                    <a:gd name="T4" fmla="*/ 160 w 355"/>
                    <a:gd name="T5" fmla="*/ 36 h 541"/>
                    <a:gd name="T6" fmla="*/ 173 w 355"/>
                    <a:gd name="T7" fmla="*/ 54 h 541"/>
                    <a:gd name="T8" fmla="*/ 169 w 355"/>
                    <a:gd name="T9" fmla="*/ 72 h 541"/>
                    <a:gd name="T10" fmla="*/ 160 w 355"/>
                    <a:gd name="T11" fmla="*/ 100 h 541"/>
                    <a:gd name="T12" fmla="*/ 182 w 355"/>
                    <a:gd name="T13" fmla="*/ 127 h 541"/>
                    <a:gd name="T14" fmla="*/ 228 w 355"/>
                    <a:gd name="T15" fmla="*/ 113 h 541"/>
                    <a:gd name="T16" fmla="*/ 269 w 355"/>
                    <a:gd name="T17" fmla="*/ 141 h 541"/>
                    <a:gd name="T18" fmla="*/ 269 w 355"/>
                    <a:gd name="T19" fmla="*/ 191 h 541"/>
                    <a:gd name="T20" fmla="*/ 273 w 355"/>
                    <a:gd name="T21" fmla="*/ 231 h 541"/>
                    <a:gd name="T22" fmla="*/ 305 w 355"/>
                    <a:gd name="T23" fmla="*/ 250 h 541"/>
                    <a:gd name="T24" fmla="*/ 337 w 355"/>
                    <a:gd name="T25" fmla="*/ 268 h 541"/>
                    <a:gd name="T26" fmla="*/ 351 w 355"/>
                    <a:gd name="T27" fmla="*/ 295 h 541"/>
                    <a:gd name="T28" fmla="*/ 314 w 355"/>
                    <a:gd name="T29" fmla="*/ 331 h 541"/>
                    <a:gd name="T30" fmla="*/ 324 w 355"/>
                    <a:gd name="T31" fmla="*/ 350 h 541"/>
                    <a:gd name="T32" fmla="*/ 319 w 355"/>
                    <a:gd name="T33" fmla="*/ 372 h 541"/>
                    <a:gd name="T34" fmla="*/ 305 w 355"/>
                    <a:gd name="T35" fmla="*/ 381 h 541"/>
                    <a:gd name="T36" fmla="*/ 269 w 355"/>
                    <a:gd name="T37" fmla="*/ 381 h 541"/>
                    <a:gd name="T38" fmla="*/ 278 w 355"/>
                    <a:gd name="T39" fmla="*/ 400 h 541"/>
                    <a:gd name="T40" fmla="*/ 264 w 355"/>
                    <a:gd name="T41" fmla="*/ 413 h 541"/>
                    <a:gd name="T42" fmla="*/ 296 w 355"/>
                    <a:gd name="T43" fmla="*/ 436 h 541"/>
                    <a:gd name="T44" fmla="*/ 324 w 355"/>
                    <a:gd name="T45" fmla="*/ 454 h 541"/>
                    <a:gd name="T46" fmla="*/ 333 w 355"/>
                    <a:gd name="T47" fmla="*/ 477 h 541"/>
                    <a:gd name="T48" fmla="*/ 346 w 355"/>
                    <a:gd name="T49" fmla="*/ 486 h 541"/>
                    <a:gd name="T50" fmla="*/ 346 w 355"/>
                    <a:gd name="T51" fmla="*/ 495 h 541"/>
                    <a:gd name="T52" fmla="*/ 342 w 355"/>
                    <a:gd name="T53" fmla="*/ 513 h 541"/>
                    <a:gd name="T54" fmla="*/ 314 w 355"/>
                    <a:gd name="T55" fmla="*/ 522 h 541"/>
                    <a:gd name="T56" fmla="*/ 296 w 355"/>
                    <a:gd name="T57" fmla="*/ 541 h 541"/>
                    <a:gd name="T58" fmla="*/ 260 w 355"/>
                    <a:gd name="T59" fmla="*/ 518 h 541"/>
                    <a:gd name="T60" fmla="*/ 228 w 355"/>
                    <a:gd name="T61" fmla="*/ 504 h 541"/>
                    <a:gd name="T62" fmla="*/ 210 w 355"/>
                    <a:gd name="T63" fmla="*/ 495 h 541"/>
                    <a:gd name="T64" fmla="*/ 178 w 355"/>
                    <a:gd name="T65" fmla="*/ 491 h 541"/>
                    <a:gd name="T66" fmla="*/ 164 w 355"/>
                    <a:gd name="T67" fmla="*/ 472 h 541"/>
                    <a:gd name="T68" fmla="*/ 137 w 355"/>
                    <a:gd name="T69" fmla="*/ 477 h 541"/>
                    <a:gd name="T70" fmla="*/ 123 w 355"/>
                    <a:gd name="T71" fmla="*/ 463 h 541"/>
                    <a:gd name="T72" fmla="*/ 128 w 355"/>
                    <a:gd name="T73" fmla="*/ 431 h 541"/>
                    <a:gd name="T74" fmla="*/ 128 w 355"/>
                    <a:gd name="T75" fmla="*/ 422 h 541"/>
                    <a:gd name="T76" fmla="*/ 105 w 355"/>
                    <a:gd name="T77" fmla="*/ 418 h 541"/>
                    <a:gd name="T78" fmla="*/ 91 w 355"/>
                    <a:gd name="T79" fmla="*/ 445 h 541"/>
                    <a:gd name="T80" fmla="*/ 105 w 355"/>
                    <a:gd name="T81" fmla="*/ 468 h 541"/>
                    <a:gd name="T82" fmla="*/ 105 w 355"/>
                    <a:gd name="T83" fmla="*/ 491 h 541"/>
                    <a:gd name="T84" fmla="*/ 78 w 355"/>
                    <a:gd name="T85" fmla="*/ 500 h 541"/>
                    <a:gd name="T86" fmla="*/ 46 w 355"/>
                    <a:gd name="T87" fmla="*/ 468 h 541"/>
                    <a:gd name="T88" fmla="*/ 5 w 355"/>
                    <a:gd name="T89" fmla="*/ 459 h 541"/>
                    <a:gd name="T90" fmla="*/ 14 w 355"/>
                    <a:gd name="T91" fmla="*/ 377 h 541"/>
                    <a:gd name="T92" fmla="*/ 32 w 355"/>
                    <a:gd name="T93" fmla="*/ 313 h 541"/>
                    <a:gd name="T94" fmla="*/ 32 w 355"/>
                    <a:gd name="T95" fmla="*/ 259 h 541"/>
                    <a:gd name="T96" fmla="*/ 55 w 355"/>
                    <a:gd name="T97" fmla="*/ 222 h 541"/>
                    <a:gd name="T98" fmla="*/ 64 w 355"/>
                    <a:gd name="T99" fmla="*/ 154 h 541"/>
                    <a:gd name="T100" fmla="*/ 50 w 355"/>
                    <a:gd name="T101" fmla="*/ 81 h 541"/>
                    <a:gd name="T102" fmla="*/ 55 w 355"/>
                    <a:gd name="T103" fmla="*/ 54 h 541"/>
                    <a:gd name="T104" fmla="*/ 55 w 355"/>
                    <a:gd name="T105" fmla="*/ 27 h 541"/>
                    <a:gd name="T106" fmla="*/ 55 w 355"/>
                    <a:gd name="T107" fmla="*/ 13 h 541"/>
                    <a:gd name="T108" fmla="*/ 55 w 355"/>
                    <a:gd name="T109" fmla="*/ 9 h 541"/>
                    <a:gd name="T110" fmla="*/ 55 w 355"/>
                    <a:gd name="T111" fmla="*/ 9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55" h="541">
                      <a:moveTo>
                        <a:pt x="55" y="9"/>
                      </a:moveTo>
                      <a:lnTo>
                        <a:pt x="64" y="9"/>
                      </a:lnTo>
                      <a:lnTo>
                        <a:pt x="73" y="4"/>
                      </a:lnTo>
                      <a:lnTo>
                        <a:pt x="82" y="0"/>
                      </a:lnTo>
                      <a:lnTo>
                        <a:pt x="91" y="0"/>
                      </a:lnTo>
                      <a:lnTo>
                        <a:pt x="114" y="4"/>
                      </a:lnTo>
                      <a:lnTo>
                        <a:pt x="132" y="13"/>
                      </a:lnTo>
                      <a:lnTo>
                        <a:pt x="146" y="22"/>
                      </a:lnTo>
                      <a:lnTo>
                        <a:pt x="160" y="36"/>
                      </a:lnTo>
                      <a:lnTo>
                        <a:pt x="164" y="41"/>
                      </a:lnTo>
                      <a:lnTo>
                        <a:pt x="169" y="45"/>
                      </a:lnTo>
                      <a:lnTo>
                        <a:pt x="173" y="54"/>
                      </a:lnTo>
                      <a:lnTo>
                        <a:pt x="173" y="59"/>
                      </a:lnTo>
                      <a:lnTo>
                        <a:pt x="173" y="63"/>
                      </a:lnTo>
                      <a:lnTo>
                        <a:pt x="169" y="72"/>
                      </a:lnTo>
                      <a:lnTo>
                        <a:pt x="160" y="77"/>
                      </a:lnTo>
                      <a:lnTo>
                        <a:pt x="160" y="86"/>
                      </a:lnTo>
                      <a:lnTo>
                        <a:pt x="160" y="100"/>
                      </a:lnTo>
                      <a:lnTo>
                        <a:pt x="164" y="113"/>
                      </a:lnTo>
                      <a:lnTo>
                        <a:pt x="173" y="122"/>
                      </a:lnTo>
                      <a:lnTo>
                        <a:pt x="182" y="127"/>
                      </a:lnTo>
                      <a:lnTo>
                        <a:pt x="201" y="127"/>
                      </a:lnTo>
                      <a:lnTo>
                        <a:pt x="214" y="118"/>
                      </a:lnTo>
                      <a:lnTo>
                        <a:pt x="228" y="113"/>
                      </a:lnTo>
                      <a:lnTo>
                        <a:pt x="246" y="113"/>
                      </a:lnTo>
                      <a:lnTo>
                        <a:pt x="264" y="122"/>
                      </a:lnTo>
                      <a:lnTo>
                        <a:pt x="269" y="141"/>
                      </a:lnTo>
                      <a:lnTo>
                        <a:pt x="269" y="163"/>
                      </a:lnTo>
                      <a:lnTo>
                        <a:pt x="269" y="181"/>
                      </a:lnTo>
                      <a:lnTo>
                        <a:pt x="269" y="191"/>
                      </a:lnTo>
                      <a:lnTo>
                        <a:pt x="269" y="209"/>
                      </a:lnTo>
                      <a:lnTo>
                        <a:pt x="269" y="222"/>
                      </a:lnTo>
                      <a:lnTo>
                        <a:pt x="273" y="231"/>
                      </a:lnTo>
                      <a:lnTo>
                        <a:pt x="283" y="241"/>
                      </a:lnTo>
                      <a:lnTo>
                        <a:pt x="292" y="250"/>
                      </a:lnTo>
                      <a:lnTo>
                        <a:pt x="305" y="250"/>
                      </a:lnTo>
                      <a:lnTo>
                        <a:pt x="319" y="254"/>
                      </a:lnTo>
                      <a:lnTo>
                        <a:pt x="328" y="259"/>
                      </a:lnTo>
                      <a:lnTo>
                        <a:pt x="337" y="268"/>
                      </a:lnTo>
                      <a:lnTo>
                        <a:pt x="342" y="277"/>
                      </a:lnTo>
                      <a:lnTo>
                        <a:pt x="355" y="281"/>
                      </a:lnTo>
                      <a:lnTo>
                        <a:pt x="351" y="295"/>
                      </a:lnTo>
                      <a:lnTo>
                        <a:pt x="337" y="304"/>
                      </a:lnTo>
                      <a:lnTo>
                        <a:pt x="319" y="313"/>
                      </a:lnTo>
                      <a:lnTo>
                        <a:pt x="314" y="331"/>
                      </a:lnTo>
                      <a:lnTo>
                        <a:pt x="314" y="336"/>
                      </a:lnTo>
                      <a:lnTo>
                        <a:pt x="319" y="345"/>
                      </a:lnTo>
                      <a:lnTo>
                        <a:pt x="324" y="350"/>
                      </a:lnTo>
                      <a:lnTo>
                        <a:pt x="324" y="359"/>
                      </a:lnTo>
                      <a:lnTo>
                        <a:pt x="324" y="368"/>
                      </a:lnTo>
                      <a:lnTo>
                        <a:pt x="319" y="372"/>
                      </a:lnTo>
                      <a:lnTo>
                        <a:pt x="314" y="377"/>
                      </a:lnTo>
                      <a:lnTo>
                        <a:pt x="305" y="381"/>
                      </a:lnTo>
                      <a:lnTo>
                        <a:pt x="305" y="381"/>
                      </a:lnTo>
                      <a:lnTo>
                        <a:pt x="278" y="377"/>
                      </a:lnTo>
                      <a:lnTo>
                        <a:pt x="269" y="377"/>
                      </a:lnTo>
                      <a:lnTo>
                        <a:pt x="269" y="381"/>
                      </a:lnTo>
                      <a:lnTo>
                        <a:pt x="278" y="395"/>
                      </a:lnTo>
                      <a:lnTo>
                        <a:pt x="278" y="395"/>
                      </a:lnTo>
                      <a:lnTo>
                        <a:pt x="278" y="400"/>
                      </a:lnTo>
                      <a:lnTo>
                        <a:pt x="273" y="404"/>
                      </a:lnTo>
                      <a:lnTo>
                        <a:pt x="269" y="413"/>
                      </a:lnTo>
                      <a:lnTo>
                        <a:pt x="264" y="413"/>
                      </a:lnTo>
                      <a:lnTo>
                        <a:pt x="273" y="422"/>
                      </a:lnTo>
                      <a:lnTo>
                        <a:pt x="283" y="431"/>
                      </a:lnTo>
                      <a:lnTo>
                        <a:pt x="296" y="436"/>
                      </a:lnTo>
                      <a:lnTo>
                        <a:pt x="310" y="441"/>
                      </a:lnTo>
                      <a:lnTo>
                        <a:pt x="314" y="445"/>
                      </a:lnTo>
                      <a:lnTo>
                        <a:pt x="324" y="454"/>
                      </a:lnTo>
                      <a:lnTo>
                        <a:pt x="328" y="463"/>
                      </a:lnTo>
                      <a:lnTo>
                        <a:pt x="333" y="472"/>
                      </a:lnTo>
                      <a:lnTo>
                        <a:pt x="333" y="477"/>
                      </a:lnTo>
                      <a:lnTo>
                        <a:pt x="337" y="477"/>
                      </a:lnTo>
                      <a:lnTo>
                        <a:pt x="342" y="481"/>
                      </a:lnTo>
                      <a:lnTo>
                        <a:pt x="346" y="486"/>
                      </a:lnTo>
                      <a:lnTo>
                        <a:pt x="346" y="491"/>
                      </a:lnTo>
                      <a:lnTo>
                        <a:pt x="346" y="491"/>
                      </a:lnTo>
                      <a:lnTo>
                        <a:pt x="346" y="495"/>
                      </a:lnTo>
                      <a:lnTo>
                        <a:pt x="346" y="500"/>
                      </a:lnTo>
                      <a:lnTo>
                        <a:pt x="346" y="509"/>
                      </a:lnTo>
                      <a:lnTo>
                        <a:pt x="342" y="513"/>
                      </a:lnTo>
                      <a:lnTo>
                        <a:pt x="333" y="518"/>
                      </a:lnTo>
                      <a:lnTo>
                        <a:pt x="319" y="518"/>
                      </a:lnTo>
                      <a:lnTo>
                        <a:pt x="314" y="522"/>
                      </a:lnTo>
                      <a:lnTo>
                        <a:pt x="310" y="527"/>
                      </a:lnTo>
                      <a:lnTo>
                        <a:pt x="305" y="536"/>
                      </a:lnTo>
                      <a:lnTo>
                        <a:pt x="296" y="541"/>
                      </a:lnTo>
                      <a:lnTo>
                        <a:pt x="283" y="536"/>
                      </a:lnTo>
                      <a:lnTo>
                        <a:pt x="269" y="527"/>
                      </a:lnTo>
                      <a:lnTo>
                        <a:pt x="260" y="518"/>
                      </a:lnTo>
                      <a:lnTo>
                        <a:pt x="246" y="509"/>
                      </a:lnTo>
                      <a:lnTo>
                        <a:pt x="237" y="504"/>
                      </a:lnTo>
                      <a:lnTo>
                        <a:pt x="228" y="504"/>
                      </a:lnTo>
                      <a:lnTo>
                        <a:pt x="223" y="500"/>
                      </a:lnTo>
                      <a:lnTo>
                        <a:pt x="210" y="495"/>
                      </a:lnTo>
                      <a:lnTo>
                        <a:pt x="210" y="495"/>
                      </a:lnTo>
                      <a:lnTo>
                        <a:pt x="182" y="495"/>
                      </a:lnTo>
                      <a:lnTo>
                        <a:pt x="182" y="495"/>
                      </a:lnTo>
                      <a:lnTo>
                        <a:pt x="178" y="491"/>
                      </a:lnTo>
                      <a:lnTo>
                        <a:pt x="178" y="481"/>
                      </a:lnTo>
                      <a:lnTo>
                        <a:pt x="173" y="477"/>
                      </a:lnTo>
                      <a:lnTo>
                        <a:pt x="164" y="472"/>
                      </a:lnTo>
                      <a:lnTo>
                        <a:pt x="164" y="472"/>
                      </a:lnTo>
                      <a:lnTo>
                        <a:pt x="137" y="477"/>
                      </a:lnTo>
                      <a:lnTo>
                        <a:pt x="137" y="477"/>
                      </a:lnTo>
                      <a:lnTo>
                        <a:pt x="132" y="477"/>
                      </a:lnTo>
                      <a:lnTo>
                        <a:pt x="128" y="472"/>
                      </a:lnTo>
                      <a:lnTo>
                        <a:pt x="123" y="463"/>
                      </a:lnTo>
                      <a:lnTo>
                        <a:pt x="123" y="459"/>
                      </a:lnTo>
                      <a:lnTo>
                        <a:pt x="123" y="459"/>
                      </a:lnTo>
                      <a:lnTo>
                        <a:pt x="128" y="431"/>
                      </a:lnTo>
                      <a:lnTo>
                        <a:pt x="128" y="431"/>
                      </a:lnTo>
                      <a:lnTo>
                        <a:pt x="128" y="427"/>
                      </a:lnTo>
                      <a:lnTo>
                        <a:pt x="128" y="422"/>
                      </a:lnTo>
                      <a:lnTo>
                        <a:pt x="123" y="418"/>
                      </a:lnTo>
                      <a:lnTo>
                        <a:pt x="114" y="418"/>
                      </a:lnTo>
                      <a:lnTo>
                        <a:pt x="105" y="418"/>
                      </a:lnTo>
                      <a:lnTo>
                        <a:pt x="96" y="422"/>
                      </a:lnTo>
                      <a:lnTo>
                        <a:pt x="91" y="431"/>
                      </a:lnTo>
                      <a:lnTo>
                        <a:pt x="91" y="445"/>
                      </a:lnTo>
                      <a:lnTo>
                        <a:pt x="91" y="454"/>
                      </a:lnTo>
                      <a:lnTo>
                        <a:pt x="100" y="459"/>
                      </a:lnTo>
                      <a:lnTo>
                        <a:pt x="105" y="468"/>
                      </a:lnTo>
                      <a:lnTo>
                        <a:pt x="105" y="477"/>
                      </a:lnTo>
                      <a:lnTo>
                        <a:pt x="105" y="481"/>
                      </a:lnTo>
                      <a:lnTo>
                        <a:pt x="105" y="491"/>
                      </a:lnTo>
                      <a:lnTo>
                        <a:pt x="100" y="495"/>
                      </a:lnTo>
                      <a:lnTo>
                        <a:pt x="91" y="500"/>
                      </a:lnTo>
                      <a:lnTo>
                        <a:pt x="78" y="500"/>
                      </a:lnTo>
                      <a:lnTo>
                        <a:pt x="68" y="491"/>
                      </a:lnTo>
                      <a:lnTo>
                        <a:pt x="59" y="481"/>
                      </a:lnTo>
                      <a:lnTo>
                        <a:pt x="46" y="468"/>
                      </a:lnTo>
                      <a:lnTo>
                        <a:pt x="37" y="463"/>
                      </a:lnTo>
                      <a:lnTo>
                        <a:pt x="18" y="463"/>
                      </a:lnTo>
                      <a:lnTo>
                        <a:pt x="5" y="459"/>
                      </a:lnTo>
                      <a:lnTo>
                        <a:pt x="0" y="445"/>
                      </a:lnTo>
                      <a:lnTo>
                        <a:pt x="5" y="409"/>
                      </a:lnTo>
                      <a:lnTo>
                        <a:pt x="14" y="377"/>
                      </a:lnTo>
                      <a:lnTo>
                        <a:pt x="23" y="341"/>
                      </a:lnTo>
                      <a:lnTo>
                        <a:pt x="32" y="313"/>
                      </a:lnTo>
                      <a:lnTo>
                        <a:pt x="32" y="313"/>
                      </a:lnTo>
                      <a:lnTo>
                        <a:pt x="32" y="286"/>
                      </a:lnTo>
                      <a:lnTo>
                        <a:pt x="32" y="286"/>
                      </a:lnTo>
                      <a:lnTo>
                        <a:pt x="32" y="259"/>
                      </a:lnTo>
                      <a:lnTo>
                        <a:pt x="32" y="259"/>
                      </a:lnTo>
                      <a:lnTo>
                        <a:pt x="46" y="241"/>
                      </a:lnTo>
                      <a:lnTo>
                        <a:pt x="55" y="222"/>
                      </a:lnTo>
                      <a:lnTo>
                        <a:pt x="64" y="200"/>
                      </a:lnTo>
                      <a:lnTo>
                        <a:pt x="68" y="177"/>
                      </a:lnTo>
                      <a:lnTo>
                        <a:pt x="64" y="154"/>
                      </a:lnTo>
                      <a:lnTo>
                        <a:pt x="59" y="127"/>
                      </a:lnTo>
                      <a:lnTo>
                        <a:pt x="55" y="104"/>
                      </a:lnTo>
                      <a:lnTo>
                        <a:pt x="50" y="81"/>
                      </a:lnTo>
                      <a:lnTo>
                        <a:pt x="50" y="72"/>
                      </a:lnTo>
                      <a:lnTo>
                        <a:pt x="55" y="63"/>
                      </a:lnTo>
                      <a:lnTo>
                        <a:pt x="55" y="54"/>
                      </a:lnTo>
                      <a:lnTo>
                        <a:pt x="55" y="41"/>
                      </a:lnTo>
                      <a:lnTo>
                        <a:pt x="55" y="36"/>
                      </a:lnTo>
                      <a:lnTo>
                        <a:pt x="55" y="27"/>
                      </a:lnTo>
                      <a:lnTo>
                        <a:pt x="55" y="22"/>
                      </a:lnTo>
                      <a:lnTo>
                        <a:pt x="55" y="18"/>
                      </a:lnTo>
                      <a:lnTo>
                        <a:pt x="55" y="13"/>
                      </a:lnTo>
                      <a:lnTo>
                        <a:pt x="55" y="13"/>
                      </a:lnTo>
                      <a:lnTo>
                        <a:pt x="55" y="13"/>
                      </a:lnTo>
                      <a:lnTo>
                        <a:pt x="55" y="9"/>
                      </a:lnTo>
                      <a:lnTo>
                        <a:pt x="55" y="9"/>
                      </a:lnTo>
                      <a:lnTo>
                        <a:pt x="55" y="9"/>
                      </a:lnTo>
                      <a:lnTo>
                        <a:pt x="55" y="9"/>
                      </a:lnTo>
                      <a:close/>
                    </a:path>
                  </a:pathLst>
                </a:custGeom>
                <a:solidFill>
                  <a:schemeClr val="accent2"/>
                </a:solid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42" name="Freeform 283">
                  <a:extLst>
                    <a:ext uri="{FF2B5EF4-FFF2-40B4-BE49-F238E27FC236}">
                      <a16:creationId xmlns="" xmlns:a16="http://schemas.microsoft.com/office/drawing/2014/main" id="{97DAF687-7BD2-46C8-AC71-B234FE941917}"/>
                    </a:ext>
                  </a:extLst>
                </p:cNvPr>
                <p:cNvSpPr>
                  <a:spLocks noChangeAspect="1"/>
                </p:cNvSpPr>
                <p:nvPr/>
              </p:nvSpPr>
              <p:spPr bwMode="auto">
                <a:xfrm>
                  <a:off x="3792" y="2160"/>
                  <a:ext cx="401" cy="382"/>
                </a:xfrm>
                <a:custGeom>
                  <a:avLst/>
                  <a:gdLst>
                    <a:gd name="T0" fmla="*/ 327 w 401"/>
                    <a:gd name="T1" fmla="*/ 336 h 382"/>
                    <a:gd name="T2" fmla="*/ 327 w 401"/>
                    <a:gd name="T3" fmla="*/ 327 h 382"/>
                    <a:gd name="T4" fmla="*/ 336 w 401"/>
                    <a:gd name="T5" fmla="*/ 304 h 382"/>
                    <a:gd name="T6" fmla="*/ 378 w 401"/>
                    <a:gd name="T7" fmla="*/ 290 h 382"/>
                    <a:gd name="T8" fmla="*/ 387 w 401"/>
                    <a:gd name="T9" fmla="*/ 271 h 382"/>
                    <a:gd name="T10" fmla="*/ 387 w 401"/>
                    <a:gd name="T11" fmla="*/ 262 h 382"/>
                    <a:gd name="T12" fmla="*/ 387 w 401"/>
                    <a:gd name="T13" fmla="*/ 248 h 382"/>
                    <a:gd name="T14" fmla="*/ 401 w 401"/>
                    <a:gd name="T15" fmla="*/ 239 h 382"/>
                    <a:gd name="T16" fmla="*/ 396 w 401"/>
                    <a:gd name="T17" fmla="*/ 212 h 382"/>
                    <a:gd name="T18" fmla="*/ 364 w 401"/>
                    <a:gd name="T19" fmla="*/ 198 h 382"/>
                    <a:gd name="T20" fmla="*/ 341 w 401"/>
                    <a:gd name="T21" fmla="*/ 175 h 382"/>
                    <a:gd name="T22" fmla="*/ 327 w 401"/>
                    <a:gd name="T23" fmla="*/ 138 h 382"/>
                    <a:gd name="T24" fmla="*/ 323 w 401"/>
                    <a:gd name="T25" fmla="*/ 115 h 382"/>
                    <a:gd name="T26" fmla="*/ 327 w 401"/>
                    <a:gd name="T27" fmla="*/ 102 h 382"/>
                    <a:gd name="T28" fmla="*/ 323 w 401"/>
                    <a:gd name="T29" fmla="*/ 69 h 382"/>
                    <a:gd name="T30" fmla="*/ 295 w 401"/>
                    <a:gd name="T31" fmla="*/ 10 h 382"/>
                    <a:gd name="T32" fmla="*/ 230 w 401"/>
                    <a:gd name="T33" fmla="*/ 5 h 382"/>
                    <a:gd name="T34" fmla="*/ 157 w 401"/>
                    <a:gd name="T35" fmla="*/ 37 h 382"/>
                    <a:gd name="T36" fmla="*/ 143 w 401"/>
                    <a:gd name="T37" fmla="*/ 83 h 382"/>
                    <a:gd name="T38" fmla="*/ 157 w 401"/>
                    <a:gd name="T39" fmla="*/ 97 h 382"/>
                    <a:gd name="T40" fmla="*/ 148 w 401"/>
                    <a:gd name="T41" fmla="*/ 124 h 382"/>
                    <a:gd name="T42" fmla="*/ 83 w 401"/>
                    <a:gd name="T43" fmla="*/ 166 h 382"/>
                    <a:gd name="T44" fmla="*/ 56 w 401"/>
                    <a:gd name="T45" fmla="*/ 170 h 382"/>
                    <a:gd name="T46" fmla="*/ 51 w 401"/>
                    <a:gd name="T47" fmla="*/ 170 h 382"/>
                    <a:gd name="T48" fmla="*/ 37 w 401"/>
                    <a:gd name="T49" fmla="*/ 175 h 382"/>
                    <a:gd name="T50" fmla="*/ 5 w 401"/>
                    <a:gd name="T51" fmla="*/ 193 h 382"/>
                    <a:gd name="T52" fmla="*/ 0 w 401"/>
                    <a:gd name="T53" fmla="*/ 216 h 382"/>
                    <a:gd name="T54" fmla="*/ 9 w 401"/>
                    <a:gd name="T55" fmla="*/ 235 h 382"/>
                    <a:gd name="T56" fmla="*/ 9 w 401"/>
                    <a:gd name="T57" fmla="*/ 248 h 382"/>
                    <a:gd name="T58" fmla="*/ 5 w 401"/>
                    <a:gd name="T59" fmla="*/ 262 h 382"/>
                    <a:gd name="T60" fmla="*/ 5 w 401"/>
                    <a:gd name="T61" fmla="*/ 267 h 382"/>
                    <a:gd name="T62" fmla="*/ 19 w 401"/>
                    <a:gd name="T63" fmla="*/ 281 h 382"/>
                    <a:gd name="T64" fmla="*/ 51 w 401"/>
                    <a:gd name="T65" fmla="*/ 317 h 382"/>
                    <a:gd name="T66" fmla="*/ 79 w 401"/>
                    <a:gd name="T67" fmla="*/ 345 h 382"/>
                    <a:gd name="T68" fmla="*/ 97 w 401"/>
                    <a:gd name="T69" fmla="*/ 354 h 382"/>
                    <a:gd name="T70" fmla="*/ 120 w 401"/>
                    <a:gd name="T71" fmla="*/ 359 h 382"/>
                    <a:gd name="T72" fmla="*/ 138 w 401"/>
                    <a:gd name="T73" fmla="*/ 373 h 382"/>
                    <a:gd name="T74" fmla="*/ 161 w 401"/>
                    <a:gd name="T75" fmla="*/ 382 h 382"/>
                    <a:gd name="T76" fmla="*/ 203 w 401"/>
                    <a:gd name="T77" fmla="*/ 327 h 382"/>
                    <a:gd name="T78" fmla="*/ 240 w 401"/>
                    <a:gd name="T79" fmla="*/ 276 h 382"/>
                    <a:gd name="T80" fmla="*/ 249 w 401"/>
                    <a:gd name="T81" fmla="*/ 281 h 382"/>
                    <a:gd name="T82" fmla="*/ 249 w 401"/>
                    <a:gd name="T83" fmla="*/ 294 h 382"/>
                    <a:gd name="T84" fmla="*/ 249 w 401"/>
                    <a:gd name="T85" fmla="*/ 304 h 382"/>
                    <a:gd name="T86" fmla="*/ 249 w 401"/>
                    <a:gd name="T87" fmla="*/ 313 h 382"/>
                    <a:gd name="T88" fmla="*/ 267 w 401"/>
                    <a:gd name="T89" fmla="*/ 340 h 382"/>
                    <a:gd name="T90" fmla="*/ 300 w 401"/>
                    <a:gd name="T91" fmla="*/ 359 h 382"/>
                    <a:gd name="T92" fmla="*/ 323 w 401"/>
                    <a:gd name="T93" fmla="*/ 354 h 382"/>
                    <a:gd name="T94" fmla="*/ 332 w 401"/>
                    <a:gd name="T95" fmla="*/ 340 h 382"/>
                    <a:gd name="T96" fmla="*/ 332 w 401"/>
                    <a:gd name="T97" fmla="*/ 34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1" h="382">
                      <a:moveTo>
                        <a:pt x="332" y="340"/>
                      </a:moveTo>
                      <a:lnTo>
                        <a:pt x="327" y="336"/>
                      </a:lnTo>
                      <a:lnTo>
                        <a:pt x="327" y="331"/>
                      </a:lnTo>
                      <a:lnTo>
                        <a:pt x="327" y="327"/>
                      </a:lnTo>
                      <a:lnTo>
                        <a:pt x="327" y="322"/>
                      </a:lnTo>
                      <a:lnTo>
                        <a:pt x="336" y="304"/>
                      </a:lnTo>
                      <a:lnTo>
                        <a:pt x="359" y="299"/>
                      </a:lnTo>
                      <a:lnTo>
                        <a:pt x="378" y="290"/>
                      </a:lnTo>
                      <a:lnTo>
                        <a:pt x="387" y="276"/>
                      </a:lnTo>
                      <a:lnTo>
                        <a:pt x="387" y="271"/>
                      </a:lnTo>
                      <a:lnTo>
                        <a:pt x="387" y="267"/>
                      </a:lnTo>
                      <a:lnTo>
                        <a:pt x="387" y="262"/>
                      </a:lnTo>
                      <a:lnTo>
                        <a:pt x="387" y="258"/>
                      </a:lnTo>
                      <a:lnTo>
                        <a:pt x="387" y="248"/>
                      </a:lnTo>
                      <a:lnTo>
                        <a:pt x="396" y="244"/>
                      </a:lnTo>
                      <a:lnTo>
                        <a:pt x="401" y="239"/>
                      </a:lnTo>
                      <a:lnTo>
                        <a:pt x="401" y="230"/>
                      </a:lnTo>
                      <a:lnTo>
                        <a:pt x="396" y="212"/>
                      </a:lnTo>
                      <a:lnTo>
                        <a:pt x="382" y="203"/>
                      </a:lnTo>
                      <a:lnTo>
                        <a:pt x="364" y="198"/>
                      </a:lnTo>
                      <a:lnTo>
                        <a:pt x="350" y="189"/>
                      </a:lnTo>
                      <a:lnTo>
                        <a:pt x="341" y="175"/>
                      </a:lnTo>
                      <a:lnTo>
                        <a:pt x="332" y="157"/>
                      </a:lnTo>
                      <a:lnTo>
                        <a:pt x="327" y="138"/>
                      </a:lnTo>
                      <a:lnTo>
                        <a:pt x="323" y="124"/>
                      </a:lnTo>
                      <a:lnTo>
                        <a:pt x="323" y="115"/>
                      </a:lnTo>
                      <a:lnTo>
                        <a:pt x="327" y="106"/>
                      </a:lnTo>
                      <a:lnTo>
                        <a:pt x="327" y="102"/>
                      </a:lnTo>
                      <a:lnTo>
                        <a:pt x="327" y="92"/>
                      </a:lnTo>
                      <a:lnTo>
                        <a:pt x="323" y="69"/>
                      </a:lnTo>
                      <a:lnTo>
                        <a:pt x="313" y="37"/>
                      </a:lnTo>
                      <a:lnTo>
                        <a:pt x="295" y="10"/>
                      </a:lnTo>
                      <a:lnTo>
                        <a:pt x="276" y="0"/>
                      </a:lnTo>
                      <a:lnTo>
                        <a:pt x="230" y="5"/>
                      </a:lnTo>
                      <a:lnTo>
                        <a:pt x="189" y="14"/>
                      </a:lnTo>
                      <a:lnTo>
                        <a:pt x="157" y="37"/>
                      </a:lnTo>
                      <a:lnTo>
                        <a:pt x="143" y="74"/>
                      </a:lnTo>
                      <a:lnTo>
                        <a:pt x="143" y="83"/>
                      </a:lnTo>
                      <a:lnTo>
                        <a:pt x="152" y="88"/>
                      </a:lnTo>
                      <a:lnTo>
                        <a:pt x="157" y="97"/>
                      </a:lnTo>
                      <a:lnTo>
                        <a:pt x="157" y="106"/>
                      </a:lnTo>
                      <a:lnTo>
                        <a:pt x="148" y="124"/>
                      </a:lnTo>
                      <a:lnTo>
                        <a:pt x="120" y="147"/>
                      </a:lnTo>
                      <a:lnTo>
                        <a:pt x="83" y="166"/>
                      </a:lnTo>
                      <a:lnTo>
                        <a:pt x="56" y="170"/>
                      </a:lnTo>
                      <a:lnTo>
                        <a:pt x="56" y="170"/>
                      </a:lnTo>
                      <a:lnTo>
                        <a:pt x="51" y="170"/>
                      </a:lnTo>
                      <a:lnTo>
                        <a:pt x="51" y="170"/>
                      </a:lnTo>
                      <a:lnTo>
                        <a:pt x="46" y="166"/>
                      </a:lnTo>
                      <a:lnTo>
                        <a:pt x="37" y="175"/>
                      </a:lnTo>
                      <a:lnTo>
                        <a:pt x="19" y="184"/>
                      </a:lnTo>
                      <a:lnTo>
                        <a:pt x="5" y="193"/>
                      </a:lnTo>
                      <a:lnTo>
                        <a:pt x="0" y="207"/>
                      </a:lnTo>
                      <a:lnTo>
                        <a:pt x="0" y="216"/>
                      </a:lnTo>
                      <a:lnTo>
                        <a:pt x="5" y="226"/>
                      </a:lnTo>
                      <a:lnTo>
                        <a:pt x="9" y="235"/>
                      </a:lnTo>
                      <a:lnTo>
                        <a:pt x="9" y="244"/>
                      </a:lnTo>
                      <a:lnTo>
                        <a:pt x="9" y="248"/>
                      </a:lnTo>
                      <a:lnTo>
                        <a:pt x="9" y="258"/>
                      </a:lnTo>
                      <a:lnTo>
                        <a:pt x="5" y="262"/>
                      </a:lnTo>
                      <a:lnTo>
                        <a:pt x="5" y="267"/>
                      </a:lnTo>
                      <a:lnTo>
                        <a:pt x="5" y="267"/>
                      </a:lnTo>
                      <a:lnTo>
                        <a:pt x="19" y="281"/>
                      </a:lnTo>
                      <a:lnTo>
                        <a:pt x="19" y="281"/>
                      </a:lnTo>
                      <a:lnTo>
                        <a:pt x="33" y="299"/>
                      </a:lnTo>
                      <a:lnTo>
                        <a:pt x="51" y="317"/>
                      </a:lnTo>
                      <a:lnTo>
                        <a:pt x="65" y="331"/>
                      </a:lnTo>
                      <a:lnTo>
                        <a:pt x="79" y="345"/>
                      </a:lnTo>
                      <a:lnTo>
                        <a:pt x="88" y="354"/>
                      </a:lnTo>
                      <a:lnTo>
                        <a:pt x="97" y="354"/>
                      </a:lnTo>
                      <a:lnTo>
                        <a:pt x="111" y="359"/>
                      </a:lnTo>
                      <a:lnTo>
                        <a:pt x="120" y="359"/>
                      </a:lnTo>
                      <a:lnTo>
                        <a:pt x="129" y="363"/>
                      </a:lnTo>
                      <a:lnTo>
                        <a:pt x="138" y="373"/>
                      </a:lnTo>
                      <a:lnTo>
                        <a:pt x="148" y="377"/>
                      </a:lnTo>
                      <a:lnTo>
                        <a:pt x="161" y="382"/>
                      </a:lnTo>
                      <a:lnTo>
                        <a:pt x="189" y="363"/>
                      </a:lnTo>
                      <a:lnTo>
                        <a:pt x="203" y="327"/>
                      </a:lnTo>
                      <a:lnTo>
                        <a:pt x="212" y="294"/>
                      </a:lnTo>
                      <a:lnTo>
                        <a:pt x="240" y="276"/>
                      </a:lnTo>
                      <a:lnTo>
                        <a:pt x="244" y="276"/>
                      </a:lnTo>
                      <a:lnTo>
                        <a:pt x="249" y="281"/>
                      </a:lnTo>
                      <a:lnTo>
                        <a:pt x="249" y="290"/>
                      </a:lnTo>
                      <a:lnTo>
                        <a:pt x="249" y="294"/>
                      </a:lnTo>
                      <a:lnTo>
                        <a:pt x="249" y="299"/>
                      </a:lnTo>
                      <a:lnTo>
                        <a:pt x="249" y="304"/>
                      </a:lnTo>
                      <a:lnTo>
                        <a:pt x="249" y="308"/>
                      </a:lnTo>
                      <a:lnTo>
                        <a:pt x="249" y="313"/>
                      </a:lnTo>
                      <a:lnTo>
                        <a:pt x="253" y="327"/>
                      </a:lnTo>
                      <a:lnTo>
                        <a:pt x="267" y="340"/>
                      </a:lnTo>
                      <a:lnTo>
                        <a:pt x="281" y="354"/>
                      </a:lnTo>
                      <a:lnTo>
                        <a:pt x="300" y="359"/>
                      </a:lnTo>
                      <a:lnTo>
                        <a:pt x="313" y="359"/>
                      </a:lnTo>
                      <a:lnTo>
                        <a:pt x="323" y="354"/>
                      </a:lnTo>
                      <a:lnTo>
                        <a:pt x="327" y="345"/>
                      </a:lnTo>
                      <a:lnTo>
                        <a:pt x="332" y="340"/>
                      </a:lnTo>
                      <a:lnTo>
                        <a:pt x="332" y="340"/>
                      </a:lnTo>
                      <a:lnTo>
                        <a:pt x="332" y="340"/>
                      </a:lnTo>
                      <a:lnTo>
                        <a:pt x="332" y="340"/>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43" name="Freeform 284">
                  <a:extLst>
                    <a:ext uri="{FF2B5EF4-FFF2-40B4-BE49-F238E27FC236}">
                      <a16:creationId xmlns="" xmlns:a16="http://schemas.microsoft.com/office/drawing/2014/main" id="{FEE02F36-02A0-4598-8FEC-1A1D2547AEE0}"/>
                    </a:ext>
                  </a:extLst>
                </p:cNvPr>
                <p:cNvSpPr>
                  <a:spLocks noChangeAspect="1"/>
                </p:cNvSpPr>
                <p:nvPr/>
              </p:nvSpPr>
              <p:spPr bwMode="auto">
                <a:xfrm>
                  <a:off x="3456" y="2193"/>
                  <a:ext cx="438" cy="376"/>
                </a:xfrm>
                <a:custGeom>
                  <a:avLst/>
                  <a:gdLst>
                    <a:gd name="T0" fmla="*/ 410 w 438"/>
                    <a:gd name="T1" fmla="*/ 32 h 376"/>
                    <a:gd name="T2" fmla="*/ 350 w 438"/>
                    <a:gd name="T3" fmla="*/ 82 h 376"/>
                    <a:gd name="T4" fmla="*/ 318 w 438"/>
                    <a:gd name="T5" fmla="*/ 91 h 376"/>
                    <a:gd name="T6" fmla="*/ 309 w 438"/>
                    <a:gd name="T7" fmla="*/ 78 h 376"/>
                    <a:gd name="T8" fmla="*/ 304 w 438"/>
                    <a:gd name="T9" fmla="*/ 64 h 376"/>
                    <a:gd name="T10" fmla="*/ 295 w 438"/>
                    <a:gd name="T11" fmla="*/ 50 h 376"/>
                    <a:gd name="T12" fmla="*/ 276 w 438"/>
                    <a:gd name="T13" fmla="*/ 50 h 376"/>
                    <a:gd name="T14" fmla="*/ 267 w 438"/>
                    <a:gd name="T15" fmla="*/ 59 h 376"/>
                    <a:gd name="T16" fmla="*/ 263 w 438"/>
                    <a:gd name="T17" fmla="*/ 69 h 376"/>
                    <a:gd name="T18" fmla="*/ 240 w 438"/>
                    <a:gd name="T19" fmla="*/ 82 h 376"/>
                    <a:gd name="T20" fmla="*/ 207 w 438"/>
                    <a:gd name="T21" fmla="*/ 59 h 376"/>
                    <a:gd name="T22" fmla="*/ 175 w 438"/>
                    <a:gd name="T23" fmla="*/ 13 h 376"/>
                    <a:gd name="T24" fmla="*/ 134 w 438"/>
                    <a:gd name="T25" fmla="*/ 4 h 376"/>
                    <a:gd name="T26" fmla="*/ 92 w 438"/>
                    <a:gd name="T27" fmla="*/ 0 h 376"/>
                    <a:gd name="T28" fmla="*/ 83 w 438"/>
                    <a:gd name="T29" fmla="*/ 0 h 376"/>
                    <a:gd name="T30" fmla="*/ 74 w 438"/>
                    <a:gd name="T31" fmla="*/ 0 h 376"/>
                    <a:gd name="T32" fmla="*/ 46 w 438"/>
                    <a:gd name="T33" fmla="*/ 23 h 376"/>
                    <a:gd name="T34" fmla="*/ 28 w 438"/>
                    <a:gd name="T35" fmla="*/ 59 h 376"/>
                    <a:gd name="T36" fmla="*/ 19 w 438"/>
                    <a:gd name="T37" fmla="*/ 82 h 376"/>
                    <a:gd name="T38" fmla="*/ 9 w 438"/>
                    <a:gd name="T39" fmla="*/ 110 h 376"/>
                    <a:gd name="T40" fmla="*/ 9 w 438"/>
                    <a:gd name="T41" fmla="*/ 124 h 376"/>
                    <a:gd name="T42" fmla="*/ 5 w 438"/>
                    <a:gd name="T43" fmla="*/ 133 h 376"/>
                    <a:gd name="T44" fmla="*/ 9 w 438"/>
                    <a:gd name="T45" fmla="*/ 147 h 376"/>
                    <a:gd name="T46" fmla="*/ 9 w 438"/>
                    <a:gd name="T47" fmla="*/ 165 h 376"/>
                    <a:gd name="T48" fmla="*/ 5 w 438"/>
                    <a:gd name="T49" fmla="*/ 193 h 376"/>
                    <a:gd name="T50" fmla="*/ 0 w 438"/>
                    <a:gd name="T51" fmla="*/ 225 h 376"/>
                    <a:gd name="T52" fmla="*/ 14 w 438"/>
                    <a:gd name="T53" fmla="*/ 284 h 376"/>
                    <a:gd name="T54" fmla="*/ 55 w 438"/>
                    <a:gd name="T55" fmla="*/ 321 h 376"/>
                    <a:gd name="T56" fmla="*/ 74 w 438"/>
                    <a:gd name="T57" fmla="*/ 317 h 376"/>
                    <a:gd name="T58" fmla="*/ 92 w 438"/>
                    <a:gd name="T59" fmla="*/ 312 h 376"/>
                    <a:gd name="T60" fmla="*/ 115 w 438"/>
                    <a:gd name="T61" fmla="*/ 321 h 376"/>
                    <a:gd name="T62" fmla="*/ 143 w 438"/>
                    <a:gd name="T63" fmla="*/ 330 h 376"/>
                    <a:gd name="T64" fmla="*/ 166 w 438"/>
                    <a:gd name="T65" fmla="*/ 317 h 376"/>
                    <a:gd name="T66" fmla="*/ 189 w 438"/>
                    <a:gd name="T67" fmla="*/ 294 h 376"/>
                    <a:gd name="T68" fmla="*/ 194 w 438"/>
                    <a:gd name="T69" fmla="*/ 284 h 376"/>
                    <a:gd name="T70" fmla="*/ 203 w 438"/>
                    <a:gd name="T71" fmla="*/ 275 h 376"/>
                    <a:gd name="T72" fmla="*/ 221 w 438"/>
                    <a:gd name="T73" fmla="*/ 284 h 376"/>
                    <a:gd name="T74" fmla="*/ 221 w 438"/>
                    <a:gd name="T75" fmla="*/ 303 h 376"/>
                    <a:gd name="T76" fmla="*/ 244 w 438"/>
                    <a:gd name="T77" fmla="*/ 317 h 376"/>
                    <a:gd name="T78" fmla="*/ 267 w 438"/>
                    <a:gd name="T79" fmla="*/ 335 h 376"/>
                    <a:gd name="T80" fmla="*/ 276 w 438"/>
                    <a:gd name="T81" fmla="*/ 362 h 376"/>
                    <a:gd name="T82" fmla="*/ 295 w 438"/>
                    <a:gd name="T83" fmla="*/ 376 h 376"/>
                    <a:gd name="T84" fmla="*/ 318 w 438"/>
                    <a:gd name="T85" fmla="*/ 358 h 376"/>
                    <a:gd name="T86" fmla="*/ 327 w 438"/>
                    <a:gd name="T87" fmla="*/ 340 h 376"/>
                    <a:gd name="T88" fmla="*/ 327 w 438"/>
                    <a:gd name="T89" fmla="*/ 289 h 376"/>
                    <a:gd name="T90" fmla="*/ 332 w 438"/>
                    <a:gd name="T91" fmla="*/ 280 h 376"/>
                    <a:gd name="T92" fmla="*/ 336 w 438"/>
                    <a:gd name="T93" fmla="*/ 261 h 376"/>
                    <a:gd name="T94" fmla="*/ 336 w 438"/>
                    <a:gd name="T95" fmla="*/ 243 h 376"/>
                    <a:gd name="T96" fmla="*/ 345 w 438"/>
                    <a:gd name="T97" fmla="*/ 220 h 376"/>
                    <a:gd name="T98" fmla="*/ 345 w 438"/>
                    <a:gd name="T99" fmla="*/ 202 h 376"/>
                    <a:gd name="T100" fmla="*/ 336 w 438"/>
                    <a:gd name="T101" fmla="*/ 183 h 376"/>
                    <a:gd name="T102" fmla="*/ 341 w 438"/>
                    <a:gd name="T103" fmla="*/ 160 h 376"/>
                    <a:gd name="T104" fmla="*/ 373 w 438"/>
                    <a:gd name="T105" fmla="*/ 142 h 376"/>
                    <a:gd name="T106" fmla="*/ 378 w 438"/>
                    <a:gd name="T107" fmla="*/ 133 h 376"/>
                    <a:gd name="T108" fmla="*/ 373 w 438"/>
                    <a:gd name="T109" fmla="*/ 128 h 376"/>
                    <a:gd name="T110" fmla="*/ 382 w 438"/>
                    <a:gd name="T111" fmla="*/ 105 h 376"/>
                    <a:gd name="T112" fmla="*/ 419 w 438"/>
                    <a:gd name="T113" fmla="*/ 87 h 376"/>
                    <a:gd name="T114" fmla="*/ 428 w 438"/>
                    <a:gd name="T115" fmla="*/ 59 h 376"/>
                    <a:gd name="T116" fmla="*/ 438 w 438"/>
                    <a:gd name="T117" fmla="*/ 32 h 376"/>
                    <a:gd name="T118" fmla="*/ 438 w 438"/>
                    <a:gd name="T119" fmla="*/ 18 h 376"/>
                    <a:gd name="T120" fmla="*/ 433 w 438"/>
                    <a:gd name="T121" fmla="*/ 9 h 376"/>
                    <a:gd name="T122" fmla="*/ 428 w 438"/>
                    <a:gd name="T123" fmla="*/ 4 h 376"/>
                    <a:gd name="T124" fmla="*/ 428 w 438"/>
                    <a:gd name="T125" fmla="*/ 9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8" h="376">
                      <a:moveTo>
                        <a:pt x="428" y="9"/>
                      </a:moveTo>
                      <a:lnTo>
                        <a:pt x="410" y="32"/>
                      </a:lnTo>
                      <a:lnTo>
                        <a:pt x="382" y="59"/>
                      </a:lnTo>
                      <a:lnTo>
                        <a:pt x="350" y="82"/>
                      </a:lnTo>
                      <a:lnTo>
                        <a:pt x="322" y="91"/>
                      </a:lnTo>
                      <a:lnTo>
                        <a:pt x="318" y="91"/>
                      </a:lnTo>
                      <a:lnTo>
                        <a:pt x="313" y="87"/>
                      </a:lnTo>
                      <a:lnTo>
                        <a:pt x="309" y="78"/>
                      </a:lnTo>
                      <a:lnTo>
                        <a:pt x="304" y="73"/>
                      </a:lnTo>
                      <a:lnTo>
                        <a:pt x="304" y="64"/>
                      </a:lnTo>
                      <a:lnTo>
                        <a:pt x="299" y="59"/>
                      </a:lnTo>
                      <a:lnTo>
                        <a:pt x="295" y="50"/>
                      </a:lnTo>
                      <a:lnTo>
                        <a:pt x="286" y="50"/>
                      </a:lnTo>
                      <a:lnTo>
                        <a:pt x="276" y="50"/>
                      </a:lnTo>
                      <a:lnTo>
                        <a:pt x="272" y="55"/>
                      </a:lnTo>
                      <a:lnTo>
                        <a:pt x="267" y="59"/>
                      </a:lnTo>
                      <a:lnTo>
                        <a:pt x="263" y="69"/>
                      </a:lnTo>
                      <a:lnTo>
                        <a:pt x="263" y="69"/>
                      </a:lnTo>
                      <a:lnTo>
                        <a:pt x="240" y="82"/>
                      </a:lnTo>
                      <a:lnTo>
                        <a:pt x="240" y="82"/>
                      </a:lnTo>
                      <a:lnTo>
                        <a:pt x="226" y="73"/>
                      </a:lnTo>
                      <a:lnTo>
                        <a:pt x="207" y="59"/>
                      </a:lnTo>
                      <a:lnTo>
                        <a:pt x="189" y="41"/>
                      </a:lnTo>
                      <a:lnTo>
                        <a:pt x="175" y="13"/>
                      </a:lnTo>
                      <a:lnTo>
                        <a:pt x="152" y="13"/>
                      </a:lnTo>
                      <a:lnTo>
                        <a:pt x="134" y="4"/>
                      </a:lnTo>
                      <a:lnTo>
                        <a:pt x="115" y="0"/>
                      </a:lnTo>
                      <a:lnTo>
                        <a:pt x="92" y="0"/>
                      </a:lnTo>
                      <a:lnTo>
                        <a:pt x="88" y="0"/>
                      </a:lnTo>
                      <a:lnTo>
                        <a:pt x="83" y="0"/>
                      </a:lnTo>
                      <a:lnTo>
                        <a:pt x="78" y="0"/>
                      </a:lnTo>
                      <a:lnTo>
                        <a:pt x="74" y="0"/>
                      </a:lnTo>
                      <a:lnTo>
                        <a:pt x="60" y="9"/>
                      </a:lnTo>
                      <a:lnTo>
                        <a:pt x="46" y="23"/>
                      </a:lnTo>
                      <a:lnTo>
                        <a:pt x="32" y="46"/>
                      </a:lnTo>
                      <a:lnTo>
                        <a:pt x="28" y="59"/>
                      </a:lnTo>
                      <a:lnTo>
                        <a:pt x="23" y="69"/>
                      </a:lnTo>
                      <a:lnTo>
                        <a:pt x="19" y="82"/>
                      </a:lnTo>
                      <a:lnTo>
                        <a:pt x="9" y="96"/>
                      </a:lnTo>
                      <a:lnTo>
                        <a:pt x="9" y="110"/>
                      </a:lnTo>
                      <a:lnTo>
                        <a:pt x="9" y="114"/>
                      </a:lnTo>
                      <a:lnTo>
                        <a:pt x="9" y="124"/>
                      </a:lnTo>
                      <a:lnTo>
                        <a:pt x="9" y="128"/>
                      </a:lnTo>
                      <a:lnTo>
                        <a:pt x="5" y="133"/>
                      </a:lnTo>
                      <a:lnTo>
                        <a:pt x="5" y="137"/>
                      </a:lnTo>
                      <a:lnTo>
                        <a:pt x="9" y="147"/>
                      </a:lnTo>
                      <a:lnTo>
                        <a:pt x="9" y="156"/>
                      </a:lnTo>
                      <a:lnTo>
                        <a:pt x="9" y="165"/>
                      </a:lnTo>
                      <a:lnTo>
                        <a:pt x="9" y="179"/>
                      </a:lnTo>
                      <a:lnTo>
                        <a:pt x="5" y="193"/>
                      </a:lnTo>
                      <a:lnTo>
                        <a:pt x="0" y="211"/>
                      </a:lnTo>
                      <a:lnTo>
                        <a:pt x="0" y="225"/>
                      </a:lnTo>
                      <a:lnTo>
                        <a:pt x="5" y="257"/>
                      </a:lnTo>
                      <a:lnTo>
                        <a:pt x="14" y="284"/>
                      </a:lnTo>
                      <a:lnTo>
                        <a:pt x="32" y="312"/>
                      </a:lnTo>
                      <a:lnTo>
                        <a:pt x="55" y="321"/>
                      </a:lnTo>
                      <a:lnTo>
                        <a:pt x="65" y="321"/>
                      </a:lnTo>
                      <a:lnTo>
                        <a:pt x="74" y="317"/>
                      </a:lnTo>
                      <a:lnTo>
                        <a:pt x="83" y="312"/>
                      </a:lnTo>
                      <a:lnTo>
                        <a:pt x="92" y="312"/>
                      </a:lnTo>
                      <a:lnTo>
                        <a:pt x="106" y="317"/>
                      </a:lnTo>
                      <a:lnTo>
                        <a:pt x="115" y="321"/>
                      </a:lnTo>
                      <a:lnTo>
                        <a:pt x="129" y="326"/>
                      </a:lnTo>
                      <a:lnTo>
                        <a:pt x="143" y="330"/>
                      </a:lnTo>
                      <a:lnTo>
                        <a:pt x="157" y="326"/>
                      </a:lnTo>
                      <a:lnTo>
                        <a:pt x="166" y="317"/>
                      </a:lnTo>
                      <a:lnTo>
                        <a:pt x="180" y="303"/>
                      </a:lnTo>
                      <a:lnTo>
                        <a:pt x="189" y="294"/>
                      </a:lnTo>
                      <a:lnTo>
                        <a:pt x="194" y="289"/>
                      </a:lnTo>
                      <a:lnTo>
                        <a:pt x="194" y="284"/>
                      </a:lnTo>
                      <a:lnTo>
                        <a:pt x="198" y="275"/>
                      </a:lnTo>
                      <a:lnTo>
                        <a:pt x="203" y="275"/>
                      </a:lnTo>
                      <a:lnTo>
                        <a:pt x="217" y="280"/>
                      </a:lnTo>
                      <a:lnTo>
                        <a:pt x="221" y="284"/>
                      </a:lnTo>
                      <a:lnTo>
                        <a:pt x="221" y="294"/>
                      </a:lnTo>
                      <a:lnTo>
                        <a:pt x="221" y="303"/>
                      </a:lnTo>
                      <a:lnTo>
                        <a:pt x="230" y="312"/>
                      </a:lnTo>
                      <a:lnTo>
                        <a:pt x="244" y="317"/>
                      </a:lnTo>
                      <a:lnTo>
                        <a:pt x="253" y="321"/>
                      </a:lnTo>
                      <a:lnTo>
                        <a:pt x="267" y="335"/>
                      </a:lnTo>
                      <a:lnTo>
                        <a:pt x="272" y="349"/>
                      </a:lnTo>
                      <a:lnTo>
                        <a:pt x="276" y="362"/>
                      </a:lnTo>
                      <a:lnTo>
                        <a:pt x="286" y="372"/>
                      </a:lnTo>
                      <a:lnTo>
                        <a:pt x="295" y="376"/>
                      </a:lnTo>
                      <a:lnTo>
                        <a:pt x="309" y="372"/>
                      </a:lnTo>
                      <a:lnTo>
                        <a:pt x="318" y="358"/>
                      </a:lnTo>
                      <a:lnTo>
                        <a:pt x="322" y="349"/>
                      </a:lnTo>
                      <a:lnTo>
                        <a:pt x="327" y="340"/>
                      </a:lnTo>
                      <a:lnTo>
                        <a:pt x="327" y="340"/>
                      </a:lnTo>
                      <a:lnTo>
                        <a:pt x="327" y="289"/>
                      </a:lnTo>
                      <a:lnTo>
                        <a:pt x="327" y="289"/>
                      </a:lnTo>
                      <a:lnTo>
                        <a:pt x="332" y="280"/>
                      </a:lnTo>
                      <a:lnTo>
                        <a:pt x="336" y="271"/>
                      </a:lnTo>
                      <a:lnTo>
                        <a:pt x="336" y="261"/>
                      </a:lnTo>
                      <a:lnTo>
                        <a:pt x="336" y="252"/>
                      </a:lnTo>
                      <a:lnTo>
                        <a:pt x="336" y="243"/>
                      </a:lnTo>
                      <a:lnTo>
                        <a:pt x="341" y="229"/>
                      </a:lnTo>
                      <a:lnTo>
                        <a:pt x="345" y="220"/>
                      </a:lnTo>
                      <a:lnTo>
                        <a:pt x="345" y="211"/>
                      </a:lnTo>
                      <a:lnTo>
                        <a:pt x="345" y="202"/>
                      </a:lnTo>
                      <a:lnTo>
                        <a:pt x="341" y="193"/>
                      </a:lnTo>
                      <a:lnTo>
                        <a:pt x="336" y="183"/>
                      </a:lnTo>
                      <a:lnTo>
                        <a:pt x="336" y="174"/>
                      </a:lnTo>
                      <a:lnTo>
                        <a:pt x="341" y="160"/>
                      </a:lnTo>
                      <a:lnTo>
                        <a:pt x="355" y="151"/>
                      </a:lnTo>
                      <a:lnTo>
                        <a:pt x="373" y="142"/>
                      </a:lnTo>
                      <a:lnTo>
                        <a:pt x="382" y="133"/>
                      </a:lnTo>
                      <a:lnTo>
                        <a:pt x="378" y="133"/>
                      </a:lnTo>
                      <a:lnTo>
                        <a:pt x="378" y="128"/>
                      </a:lnTo>
                      <a:lnTo>
                        <a:pt x="373" y="128"/>
                      </a:lnTo>
                      <a:lnTo>
                        <a:pt x="373" y="124"/>
                      </a:lnTo>
                      <a:lnTo>
                        <a:pt x="382" y="105"/>
                      </a:lnTo>
                      <a:lnTo>
                        <a:pt x="401" y="96"/>
                      </a:lnTo>
                      <a:lnTo>
                        <a:pt x="419" y="87"/>
                      </a:lnTo>
                      <a:lnTo>
                        <a:pt x="428" y="73"/>
                      </a:lnTo>
                      <a:lnTo>
                        <a:pt x="428" y="59"/>
                      </a:lnTo>
                      <a:lnTo>
                        <a:pt x="433" y="46"/>
                      </a:lnTo>
                      <a:lnTo>
                        <a:pt x="438" y="32"/>
                      </a:lnTo>
                      <a:lnTo>
                        <a:pt x="438" y="23"/>
                      </a:lnTo>
                      <a:lnTo>
                        <a:pt x="438" y="18"/>
                      </a:lnTo>
                      <a:lnTo>
                        <a:pt x="433" y="13"/>
                      </a:lnTo>
                      <a:lnTo>
                        <a:pt x="433" y="9"/>
                      </a:lnTo>
                      <a:lnTo>
                        <a:pt x="428" y="4"/>
                      </a:lnTo>
                      <a:lnTo>
                        <a:pt x="428" y="4"/>
                      </a:lnTo>
                      <a:lnTo>
                        <a:pt x="428" y="9"/>
                      </a:lnTo>
                      <a:lnTo>
                        <a:pt x="428" y="9"/>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44" name="Freeform 285">
                  <a:extLst>
                    <a:ext uri="{FF2B5EF4-FFF2-40B4-BE49-F238E27FC236}">
                      <a16:creationId xmlns="" xmlns:a16="http://schemas.microsoft.com/office/drawing/2014/main" id="{3B42A8E0-CA49-4FD9-8EDC-66329C279B32}"/>
                    </a:ext>
                  </a:extLst>
                </p:cNvPr>
                <p:cNvSpPr>
                  <a:spLocks noChangeAspect="1"/>
                </p:cNvSpPr>
                <p:nvPr/>
              </p:nvSpPr>
              <p:spPr bwMode="auto">
                <a:xfrm>
                  <a:off x="3126" y="2309"/>
                  <a:ext cx="355" cy="464"/>
                </a:xfrm>
                <a:custGeom>
                  <a:avLst/>
                  <a:gdLst>
                    <a:gd name="T0" fmla="*/ 214 w 355"/>
                    <a:gd name="T1" fmla="*/ 27 h 464"/>
                    <a:gd name="T2" fmla="*/ 214 w 355"/>
                    <a:gd name="T3" fmla="*/ 32 h 464"/>
                    <a:gd name="T4" fmla="*/ 209 w 355"/>
                    <a:gd name="T5" fmla="*/ 55 h 464"/>
                    <a:gd name="T6" fmla="*/ 186 w 355"/>
                    <a:gd name="T7" fmla="*/ 86 h 464"/>
                    <a:gd name="T8" fmla="*/ 186 w 355"/>
                    <a:gd name="T9" fmla="*/ 123 h 464"/>
                    <a:gd name="T10" fmla="*/ 205 w 355"/>
                    <a:gd name="T11" fmla="*/ 145 h 464"/>
                    <a:gd name="T12" fmla="*/ 223 w 355"/>
                    <a:gd name="T13" fmla="*/ 182 h 464"/>
                    <a:gd name="T14" fmla="*/ 232 w 355"/>
                    <a:gd name="T15" fmla="*/ 236 h 464"/>
                    <a:gd name="T16" fmla="*/ 241 w 355"/>
                    <a:gd name="T17" fmla="*/ 282 h 464"/>
                    <a:gd name="T18" fmla="*/ 287 w 355"/>
                    <a:gd name="T19" fmla="*/ 314 h 464"/>
                    <a:gd name="T20" fmla="*/ 305 w 355"/>
                    <a:gd name="T21" fmla="*/ 323 h 464"/>
                    <a:gd name="T22" fmla="*/ 314 w 355"/>
                    <a:gd name="T23" fmla="*/ 336 h 464"/>
                    <a:gd name="T24" fmla="*/ 323 w 355"/>
                    <a:gd name="T25" fmla="*/ 350 h 464"/>
                    <a:gd name="T26" fmla="*/ 341 w 355"/>
                    <a:gd name="T27" fmla="*/ 364 h 464"/>
                    <a:gd name="T28" fmla="*/ 350 w 355"/>
                    <a:gd name="T29" fmla="*/ 368 h 464"/>
                    <a:gd name="T30" fmla="*/ 350 w 355"/>
                    <a:gd name="T31" fmla="*/ 373 h 464"/>
                    <a:gd name="T32" fmla="*/ 350 w 355"/>
                    <a:gd name="T33" fmla="*/ 377 h 464"/>
                    <a:gd name="T34" fmla="*/ 355 w 355"/>
                    <a:gd name="T35" fmla="*/ 391 h 464"/>
                    <a:gd name="T36" fmla="*/ 328 w 355"/>
                    <a:gd name="T37" fmla="*/ 409 h 464"/>
                    <a:gd name="T38" fmla="*/ 291 w 355"/>
                    <a:gd name="T39" fmla="*/ 441 h 464"/>
                    <a:gd name="T40" fmla="*/ 278 w 355"/>
                    <a:gd name="T41" fmla="*/ 464 h 464"/>
                    <a:gd name="T42" fmla="*/ 218 w 355"/>
                    <a:gd name="T43" fmla="*/ 441 h 464"/>
                    <a:gd name="T44" fmla="*/ 209 w 355"/>
                    <a:gd name="T45" fmla="*/ 414 h 464"/>
                    <a:gd name="T46" fmla="*/ 186 w 355"/>
                    <a:gd name="T47" fmla="*/ 400 h 464"/>
                    <a:gd name="T48" fmla="*/ 159 w 355"/>
                    <a:gd name="T49" fmla="*/ 405 h 464"/>
                    <a:gd name="T50" fmla="*/ 127 w 355"/>
                    <a:gd name="T51" fmla="*/ 409 h 464"/>
                    <a:gd name="T52" fmla="*/ 95 w 355"/>
                    <a:gd name="T53" fmla="*/ 400 h 464"/>
                    <a:gd name="T54" fmla="*/ 73 w 355"/>
                    <a:gd name="T55" fmla="*/ 386 h 464"/>
                    <a:gd name="T56" fmla="*/ 82 w 355"/>
                    <a:gd name="T57" fmla="*/ 364 h 464"/>
                    <a:gd name="T58" fmla="*/ 91 w 355"/>
                    <a:gd name="T59" fmla="*/ 332 h 464"/>
                    <a:gd name="T60" fmla="*/ 73 w 355"/>
                    <a:gd name="T61" fmla="*/ 295 h 464"/>
                    <a:gd name="T62" fmla="*/ 36 w 355"/>
                    <a:gd name="T63" fmla="*/ 273 h 464"/>
                    <a:gd name="T64" fmla="*/ 18 w 355"/>
                    <a:gd name="T65" fmla="*/ 232 h 464"/>
                    <a:gd name="T66" fmla="*/ 4 w 355"/>
                    <a:gd name="T67" fmla="*/ 182 h 464"/>
                    <a:gd name="T68" fmla="*/ 0 w 355"/>
                    <a:gd name="T69" fmla="*/ 168 h 464"/>
                    <a:gd name="T70" fmla="*/ 0 w 355"/>
                    <a:gd name="T71" fmla="*/ 150 h 464"/>
                    <a:gd name="T72" fmla="*/ 13 w 355"/>
                    <a:gd name="T73" fmla="*/ 123 h 464"/>
                    <a:gd name="T74" fmla="*/ 27 w 355"/>
                    <a:gd name="T75" fmla="*/ 100 h 464"/>
                    <a:gd name="T76" fmla="*/ 22 w 355"/>
                    <a:gd name="T77" fmla="*/ 64 h 464"/>
                    <a:gd name="T78" fmla="*/ 13 w 355"/>
                    <a:gd name="T79" fmla="*/ 27 h 464"/>
                    <a:gd name="T80" fmla="*/ 18 w 355"/>
                    <a:gd name="T81" fmla="*/ 5 h 464"/>
                    <a:gd name="T82" fmla="*/ 41 w 355"/>
                    <a:gd name="T83" fmla="*/ 0 h 464"/>
                    <a:gd name="T84" fmla="*/ 68 w 355"/>
                    <a:gd name="T85" fmla="*/ 23 h 464"/>
                    <a:gd name="T86" fmla="*/ 114 w 355"/>
                    <a:gd name="T87" fmla="*/ 32 h 464"/>
                    <a:gd name="T88" fmla="*/ 136 w 355"/>
                    <a:gd name="T89" fmla="*/ 32 h 464"/>
                    <a:gd name="T90" fmla="*/ 141 w 355"/>
                    <a:gd name="T91" fmla="*/ 32 h 464"/>
                    <a:gd name="T92" fmla="*/ 145 w 355"/>
                    <a:gd name="T93" fmla="*/ 32 h 464"/>
                    <a:gd name="T94" fmla="*/ 145 w 355"/>
                    <a:gd name="T95" fmla="*/ 32 h 464"/>
                    <a:gd name="T96" fmla="*/ 214 w 355"/>
                    <a:gd name="T97" fmla="*/ 23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5" h="464">
                      <a:moveTo>
                        <a:pt x="214" y="23"/>
                      </a:moveTo>
                      <a:lnTo>
                        <a:pt x="214" y="27"/>
                      </a:lnTo>
                      <a:lnTo>
                        <a:pt x="214" y="27"/>
                      </a:lnTo>
                      <a:lnTo>
                        <a:pt x="214" y="32"/>
                      </a:lnTo>
                      <a:lnTo>
                        <a:pt x="214" y="36"/>
                      </a:lnTo>
                      <a:lnTo>
                        <a:pt x="209" y="55"/>
                      </a:lnTo>
                      <a:lnTo>
                        <a:pt x="200" y="68"/>
                      </a:lnTo>
                      <a:lnTo>
                        <a:pt x="186" y="86"/>
                      </a:lnTo>
                      <a:lnTo>
                        <a:pt x="182" y="105"/>
                      </a:lnTo>
                      <a:lnTo>
                        <a:pt x="186" y="123"/>
                      </a:lnTo>
                      <a:lnTo>
                        <a:pt x="196" y="136"/>
                      </a:lnTo>
                      <a:lnTo>
                        <a:pt x="205" y="145"/>
                      </a:lnTo>
                      <a:lnTo>
                        <a:pt x="214" y="155"/>
                      </a:lnTo>
                      <a:lnTo>
                        <a:pt x="223" y="182"/>
                      </a:lnTo>
                      <a:lnTo>
                        <a:pt x="232" y="209"/>
                      </a:lnTo>
                      <a:lnTo>
                        <a:pt x="232" y="236"/>
                      </a:lnTo>
                      <a:lnTo>
                        <a:pt x="232" y="264"/>
                      </a:lnTo>
                      <a:lnTo>
                        <a:pt x="241" y="282"/>
                      </a:lnTo>
                      <a:lnTo>
                        <a:pt x="264" y="295"/>
                      </a:lnTo>
                      <a:lnTo>
                        <a:pt x="287" y="314"/>
                      </a:lnTo>
                      <a:lnTo>
                        <a:pt x="300" y="318"/>
                      </a:lnTo>
                      <a:lnTo>
                        <a:pt x="305" y="323"/>
                      </a:lnTo>
                      <a:lnTo>
                        <a:pt x="309" y="327"/>
                      </a:lnTo>
                      <a:lnTo>
                        <a:pt x="314" y="336"/>
                      </a:lnTo>
                      <a:lnTo>
                        <a:pt x="314" y="341"/>
                      </a:lnTo>
                      <a:lnTo>
                        <a:pt x="323" y="350"/>
                      </a:lnTo>
                      <a:lnTo>
                        <a:pt x="332" y="359"/>
                      </a:lnTo>
                      <a:lnTo>
                        <a:pt x="341" y="364"/>
                      </a:lnTo>
                      <a:lnTo>
                        <a:pt x="350" y="368"/>
                      </a:lnTo>
                      <a:lnTo>
                        <a:pt x="350" y="368"/>
                      </a:lnTo>
                      <a:lnTo>
                        <a:pt x="350" y="368"/>
                      </a:lnTo>
                      <a:lnTo>
                        <a:pt x="350" y="373"/>
                      </a:lnTo>
                      <a:lnTo>
                        <a:pt x="350" y="373"/>
                      </a:lnTo>
                      <a:lnTo>
                        <a:pt x="350" y="377"/>
                      </a:lnTo>
                      <a:lnTo>
                        <a:pt x="355" y="386"/>
                      </a:lnTo>
                      <a:lnTo>
                        <a:pt x="355" y="391"/>
                      </a:lnTo>
                      <a:lnTo>
                        <a:pt x="355" y="400"/>
                      </a:lnTo>
                      <a:lnTo>
                        <a:pt x="328" y="409"/>
                      </a:lnTo>
                      <a:lnTo>
                        <a:pt x="305" y="423"/>
                      </a:lnTo>
                      <a:lnTo>
                        <a:pt x="291" y="441"/>
                      </a:lnTo>
                      <a:lnTo>
                        <a:pt x="278" y="464"/>
                      </a:lnTo>
                      <a:lnTo>
                        <a:pt x="278" y="464"/>
                      </a:lnTo>
                      <a:lnTo>
                        <a:pt x="218" y="441"/>
                      </a:lnTo>
                      <a:lnTo>
                        <a:pt x="218" y="441"/>
                      </a:lnTo>
                      <a:lnTo>
                        <a:pt x="214" y="427"/>
                      </a:lnTo>
                      <a:lnTo>
                        <a:pt x="209" y="414"/>
                      </a:lnTo>
                      <a:lnTo>
                        <a:pt x="205" y="405"/>
                      </a:lnTo>
                      <a:lnTo>
                        <a:pt x="186" y="400"/>
                      </a:lnTo>
                      <a:lnTo>
                        <a:pt x="173" y="400"/>
                      </a:lnTo>
                      <a:lnTo>
                        <a:pt x="159" y="405"/>
                      </a:lnTo>
                      <a:lnTo>
                        <a:pt x="145" y="409"/>
                      </a:lnTo>
                      <a:lnTo>
                        <a:pt x="127" y="409"/>
                      </a:lnTo>
                      <a:lnTo>
                        <a:pt x="109" y="405"/>
                      </a:lnTo>
                      <a:lnTo>
                        <a:pt x="95" y="400"/>
                      </a:lnTo>
                      <a:lnTo>
                        <a:pt x="77" y="395"/>
                      </a:lnTo>
                      <a:lnTo>
                        <a:pt x="73" y="386"/>
                      </a:lnTo>
                      <a:lnTo>
                        <a:pt x="77" y="377"/>
                      </a:lnTo>
                      <a:lnTo>
                        <a:pt x="82" y="364"/>
                      </a:lnTo>
                      <a:lnTo>
                        <a:pt x="86" y="350"/>
                      </a:lnTo>
                      <a:lnTo>
                        <a:pt x="91" y="332"/>
                      </a:lnTo>
                      <a:lnTo>
                        <a:pt x="86" y="314"/>
                      </a:lnTo>
                      <a:lnTo>
                        <a:pt x="73" y="295"/>
                      </a:lnTo>
                      <a:lnTo>
                        <a:pt x="54" y="286"/>
                      </a:lnTo>
                      <a:lnTo>
                        <a:pt x="36" y="273"/>
                      </a:lnTo>
                      <a:lnTo>
                        <a:pt x="27" y="255"/>
                      </a:lnTo>
                      <a:lnTo>
                        <a:pt x="18" y="232"/>
                      </a:lnTo>
                      <a:lnTo>
                        <a:pt x="13" y="205"/>
                      </a:lnTo>
                      <a:lnTo>
                        <a:pt x="4" y="182"/>
                      </a:lnTo>
                      <a:lnTo>
                        <a:pt x="0" y="173"/>
                      </a:lnTo>
                      <a:lnTo>
                        <a:pt x="0" y="168"/>
                      </a:lnTo>
                      <a:lnTo>
                        <a:pt x="0" y="159"/>
                      </a:lnTo>
                      <a:lnTo>
                        <a:pt x="0" y="150"/>
                      </a:lnTo>
                      <a:lnTo>
                        <a:pt x="4" y="136"/>
                      </a:lnTo>
                      <a:lnTo>
                        <a:pt x="13" y="123"/>
                      </a:lnTo>
                      <a:lnTo>
                        <a:pt x="22" y="114"/>
                      </a:lnTo>
                      <a:lnTo>
                        <a:pt x="27" y="100"/>
                      </a:lnTo>
                      <a:lnTo>
                        <a:pt x="27" y="82"/>
                      </a:lnTo>
                      <a:lnTo>
                        <a:pt x="22" y="64"/>
                      </a:lnTo>
                      <a:lnTo>
                        <a:pt x="13" y="45"/>
                      </a:lnTo>
                      <a:lnTo>
                        <a:pt x="13" y="27"/>
                      </a:lnTo>
                      <a:lnTo>
                        <a:pt x="13" y="14"/>
                      </a:lnTo>
                      <a:lnTo>
                        <a:pt x="18" y="5"/>
                      </a:lnTo>
                      <a:lnTo>
                        <a:pt x="27" y="0"/>
                      </a:lnTo>
                      <a:lnTo>
                        <a:pt x="41" y="0"/>
                      </a:lnTo>
                      <a:lnTo>
                        <a:pt x="50" y="14"/>
                      </a:lnTo>
                      <a:lnTo>
                        <a:pt x="68" y="23"/>
                      </a:lnTo>
                      <a:lnTo>
                        <a:pt x="91" y="32"/>
                      </a:lnTo>
                      <a:lnTo>
                        <a:pt x="114" y="32"/>
                      </a:lnTo>
                      <a:lnTo>
                        <a:pt x="114" y="32"/>
                      </a:lnTo>
                      <a:lnTo>
                        <a:pt x="136" y="32"/>
                      </a:lnTo>
                      <a:lnTo>
                        <a:pt x="136" y="32"/>
                      </a:lnTo>
                      <a:lnTo>
                        <a:pt x="141" y="32"/>
                      </a:lnTo>
                      <a:lnTo>
                        <a:pt x="141" y="32"/>
                      </a:lnTo>
                      <a:lnTo>
                        <a:pt x="145" y="32"/>
                      </a:lnTo>
                      <a:lnTo>
                        <a:pt x="145" y="32"/>
                      </a:lnTo>
                      <a:lnTo>
                        <a:pt x="145" y="32"/>
                      </a:lnTo>
                      <a:lnTo>
                        <a:pt x="214" y="27"/>
                      </a:lnTo>
                      <a:lnTo>
                        <a:pt x="214" y="23"/>
                      </a:lnTo>
                      <a:lnTo>
                        <a:pt x="214" y="23"/>
                      </a:lnTo>
                      <a:close/>
                    </a:path>
                  </a:pathLst>
                </a:custGeom>
                <a:solidFill>
                  <a:schemeClr val="accent2"/>
                </a:solid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45" name="Freeform 286">
                  <a:extLst>
                    <a:ext uri="{FF2B5EF4-FFF2-40B4-BE49-F238E27FC236}">
                      <a16:creationId xmlns="" xmlns:a16="http://schemas.microsoft.com/office/drawing/2014/main" id="{81D4EFE3-E7F2-4237-A389-0A57947C963F}"/>
                    </a:ext>
                  </a:extLst>
                </p:cNvPr>
                <p:cNvSpPr>
                  <a:spLocks noChangeAspect="1"/>
                </p:cNvSpPr>
                <p:nvPr/>
              </p:nvSpPr>
              <p:spPr bwMode="auto">
                <a:xfrm>
                  <a:off x="3308" y="2282"/>
                  <a:ext cx="219" cy="395"/>
                </a:xfrm>
                <a:custGeom>
                  <a:avLst/>
                  <a:gdLst>
                    <a:gd name="T0" fmla="*/ 32 w 219"/>
                    <a:gd name="T1" fmla="*/ 54 h 395"/>
                    <a:gd name="T2" fmla="*/ 32 w 219"/>
                    <a:gd name="T3" fmla="*/ 59 h 395"/>
                    <a:gd name="T4" fmla="*/ 27 w 219"/>
                    <a:gd name="T5" fmla="*/ 82 h 395"/>
                    <a:gd name="T6" fmla="*/ 4 w 219"/>
                    <a:gd name="T7" fmla="*/ 113 h 395"/>
                    <a:gd name="T8" fmla="*/ 4 w 219"/>
                    <a:gd name="T9" fmla="*/ 150 h 395"/>
                    <a:gd name="T10" fmla="*/ 23 w 219"/>
                    <a:gd name="T11" fmla="*/ 172 h 395"/>
                    <a:gd name="T12" fmla="*/ 41 w 219"/>
                    <a:gd name="T13" fmla="*/ 209 h 395"/>
                    <a:gd name="T14" fmla="*/ 50 w 219"/>
                    <a:gd name="T15" fmla="*/ 263 h 395"/>
                    <a:gd name="T16" fmla="*/ 59 w 219"/>
                    <a:gd name="T17" fmla="*/ 309 h 395"/>
                    <a:gd name="T18" fmla="*/ 105 w 219"/>
                    <a:gd name="T19" fmla="*/ 341 h 395"/>
                    <a:gd name="T20" fmla="*/ 123 w 219"/>
                    <a:gd name="T21" fmla="*/ 350 h 395"/>
                    <a:gd name="T22" fmla="*/ 132 w 219"/>
                    <a:gd name="T23" fmla="*/ 363 h 395"/>
                    <a:gd name="T24" fmla="*/ 141 w 219"/>
                    <a:gd name="T25" fmla="*/ 377 h 395"/>
                    <a:gd name="T26" fmla="*/ 159 w 219"/>
                    <a:gd name="T27" fmla="*/ 391 h 395"/>
                    <a:gd name="T28" fmla="*/ 173 w 219"/>
                    <a:gd name="T29" fmla="*/ 386 h 395"/>
                    <a:gd name="T30" fmla="*/ 191 w 219"/>
                    <a:gd name="T31" fmla="*/ 368 h 395"/>
                    <a:gd name="T32" fmla="*/ 200 w 219"/>
                    <a:gd name="T33" fmla="*/ 363 h 395"/>
                    <a:gd name="T34" fmla="*/ 209 w 219"/>
                    <a:gd name="T35" fmla="*/ 359 h 395"/>
                    <a:gd name="T36" fmla="*/ 205 w 219"/>
                    <a:gd name="T37" fmla="*/ 341 h 395"/>
                    <a:gd name="T38" fmla="*/ 182 w 219"/>
                    <a:gd name="T39" fmla="*/ 313 h 395"/>
                    <a:gd name="T40" fmla="*/ 196 w 219"/>
                    <a:gd name="T41" fmla="*/ 282 h 395"/>
                    <a:gd name="T42" fmla="*/ 214 w 219"/>
                    <a:gd name="T43" fmla="*/ 263 h 395"/>
                    <a:gd name="T44" fmla="*/ 219 w 219"/>
                    <a:gd name="T45" fmla="*/ 241 h 395"/>
                    <a:gd name="T46" fmla="*/ 219 w 219"/>
                    <a:gd name="T47" fmla="*/ 236 h 395"/>
                    <a:gd name="T48" fmla="*/ 214 w 219"/>
                    <a:gd name="T49" fmla="*/ 232 h 395"/>
                    <a:gd name="T50" fmla="*/ 209 w 219"/>
                    <a:gd name="T51" fmla="*/ 232 h 395"/>
                    <a:gd name="T52" fmla="*/ 187 w 219"/>
                    <a:gd name="T53" fmla="*/ 222 h 395"/>
                    <a:gd name="T54" fmla="*/ 159 w 219"/>
                    <a:gd name="T55" fmla="*/ 168 h 395"/>
                    <a:gd name="T56" fmla="*/ 155 w 219"/>
                    <a:gd name="T57" fmla="*/ 122 h 395"/>
                    <a:gd name="T58" fmla="*/ 164 w 219"/>
                    <a:gd name="T59" fmla="*/ 91 h 395"/>
                    <a:gd name="T60" fmla="*/ 164 w 219"/>
                    <a:gd name="T61" fmla="*/ 68 h 395"/>
                    <a:gd name="T62" fmla="*/ 159 w 219"/>
                    <a:gd name="T63" fmla="*/ 50 h 395"/>
                    <a:gd name="T64" fmla="*/ 150 w 219"/>
                    <a:gd name="T65" fmla="*/ 41 h 395"/>
                    <a:gd name="T66" fmla="*/ 141 w 219"/>
                    <a:gd name="T67" fmla="*/ 18 h 395"/>
                    <a:gd name="T68" fmla="*/ 127 w 219"/>
                    <a:gd name="T69" fmla="*/ 9 h 395"/>
                    <a:gd name="T70" fmla="*/ 105 w 219"/>
                    <a:gd name="T71" fmla="*/ 0 h 395"/>
                    <a:gd name="T72" fmla="*/ 68 w 219"/>
                    <a:gd name="T73" fmla="*/ 0 h 395"/>
                    <a:gd name="T74" fmla="*/ 36 w 219"/>
                    <a:gd name="T75" fmla="*/ 27 h 395"/>
                    <a:gd name="T76" fmla="*/ 32 w 219"/>
                    <a:gd name="T77" fmla="*/ 54 h 395"/>
                    <a:gd name="T78" fmla="*/ 32 w 219"/>
                    <a:gd name="T79" fmla="*/ 5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9" h="395">
                      <a:moveTo>
                        <a:pt x="32" y="50"/>
                      </a:moveTo>
                      <a:lnTo>
                        <a:pt x="32" y="54"/>
                      </a:lnTo>
                      <a:lnTo>
                        <a:pt x="32" y="54"/>
                      </a:lnTo>
                      <a:lnTo>
                        <a:pt x="32" y="59"/>
                      </a:lnTo>
                      <a:lnTo>
                        <a:pt x="32" y="63"/>
                      </a:lnTo>
                      <a:lnTo>
                        <a:pt x="27" y="82"/>
                      </a:lnTo>
                      <a:lnTo>
                        <a:pt x="18" y="95"/>
                      </a:lnTo>
                      <a:lnTo>
                        <a:pt x="4" y="113"/>
                      </a:lnTo>
                      <a:lnTo>
                        <a:pt x="0" y="132"/>
                      </a:lnTo>
                      <a:lnTo>
                        <a:pt x="4" y="150"/>
                      </a:lnTo>
                      <a:lnTo>
                        <a:pt x="14" y="163"/>
                      </a:lnTo>
                      <a:lnTo>
                        <a:pt x="23" y="172"/>
                      </a:lnTo>
                      <a:lnTo>
                        <a:pt x="32" y="182"/>
                      </a:lnTo>
                      <a:lnTo>
                        <a:pt x="41" y="209"/>
                      </a:lnTo>
                      <a:lnTo>
                        <a:pt x="50" y="236"/>
                      </a:lnTo>
                      <a:lnTo>
                        <a:pt x="50" y="263"/>
                      </a:lnTo>
                      <a:lnTo>
                        <a:pt x="50" y="291"/>
                      </a:lnTo>
                      <a:lnTo>
                        <a:pt x="59" y="309"/>
                      </a:lnTo>
                      <a:lnTo>
                        <a:pt x="82" y="322"/>
                      </a:lnTo>
                      <a:lnTo>
                        <a:pt x="105" y="341"/>
                      </a:lnTo>
                      <a:lnTo>
                        <a:pt x="118" y="345"/>
                      </a:lnTo>
                      <a:lnTo>
                        <a:pt x="123" y="350"/>
                      </a:lnTo>
                      <a:lnTo>
                        <a:pt x="127" y="354"/>
                      </a:lnTo>
                      <a:lnTo>
                        <a:pt x="132" y="363"/>
                      </a:lnTo>
                      <a:lnTo>
                        <a:pt x="132" y="368"/>
                      </a:lnTo>
                      <a:lnTo>
                        <a:pt x="141" y="377"/>
                      </a:lnTo>
                      <a:lnTo>
                        <a:pt x="150" y="386"/>
                      </a:lnTo>
                      <a:lnTo>
                        <a:pt x="159" y="391"/>
                      </a:lnTo>
                      <a:lnTo>
                        <a:pt x="168" y="395"/>
                      </a:lnTo>
                      <a:lnTo>
                        <a:pt x="173" y="386"/>
                      </a:lnTo>
                      <a:lnTo>
                        <a:pt x="182" y="377"/>
                      </a:lnTo>
                      <a:lnTo>
                        <a:pt x="191" y="368"/>
                      </a:lnTo>
                      <a:lnTo>
                        <a:pt x="200" y="363"/>
                      </a:lnTo>
                      <a:lnTo>
                        <a:pt x="200" y="363"/>
                      </a:lnTo>
                      <a:lnTo>
                        <a:pt x="205" y="359"/>
                      </a:lnTo>
                      <a:lnTo>
                        <a:pt x="209" y="359"/>
                      </a:lnTo>
                      <a:lnTo>
                        <a:pt x="209" y="354"/>
                      </a:lnTo>
                      <a:lnTo>
                        <a:pt x="205" y="341"/>
                      </a:lnTo>
                      <a:lnTo>
                        <a:pt x="191" y="327"/>
                      </a:lnTo>
                      <a:lnTo>
                        <a:pt x="182" y="313"/>
                      </a:lnTo>
                      <a:lnTo>
                        <a:pt x="182" y="295"/>
                      </a:lnTo>
                      <a:lnTo>
                        <a:pt x="196" y="282"/>
                      </a:lnTo>
                      <a:lnTo>
                        <a:pt x="205" y="272"/>
                      </a:lnTo>
                      <a:lnTo>
                        <a:pt x="214" y="263"/>
                      </a:lnTo>
                      <a:lnTo>
                        <a:pt x="219" y="245"/>
                      </a:lnTo>
                      <a:lnTo>
                        <a:pt x="219" y="241"/>
                      </a:lnTo>
                      <a:lnTo>
                        <a:pt x="219" y="236"/>
                      </a:lnTo>
                      <a:lnTo>
                        <a:pt x="219" y="236"/>
                      </a:lnTo>
                      <a:lnTo>
                        <a:pt x="219" y="232"/>
                      </a:lnTo>
                      <a:lnTo>
                        <a:pt x="214" y="232"/>
                      </a:lnTo>
                      <a:lnTo>
                        <a:pt x="214" y="232"/>
                      </a:lnTo>
                      <a:lnTo>
                        <a:pt x="209" y="232"/>
                      </a:lnTo>
                      <a:lnTo>
                        <a:pt x="209" y="232"/>
                      </a:lnTo>
                      <a:lnTo>
                        <a:pt x="187" y="222"/>
                      </a:lnTo>
                      <a:lnTo>
                        <a:pt x="168" y="195"/>
                      </a:lnTo>
                      <a:lnTo>
                        <a:pt x="159" y="168"/>
                      </a:lnTo>
                      <a:lnTo>
                        <a:pt x="155" y="136"/>
                      </a:lnTo>
                      <a:lnTo>
                        <a:pt x="155" y="122"/>
                      </a:lnTo>
                      <a:lnTo>
                        <a:pt x="159" y="104"/>
                      </a:lnTo>
                      <a:lnTo>
                        <a:pt x="164" y="91"/>
                      </a:lnTo>
                      <a:lnTo>
                        <a:pt x="164" y="77"/>
                      </a:lnTo>
                      <a:lnTo>
                        <a:pt x="164" y="68"/>
                      </a:lnTo>
                      <a:lnTo>
                        <a:pt x="164" y="59"/>
                      </a:lnTo>
                      <a:lnTo>
                        <a:pt x="159" y="50"/>
                      </a:lnTo>
                      <a:lnTo>
                        <a:pt x="159" y="45"/>
                      </a:lnTo>
                      <a:lnTo>
                        <a:pt x="150" y="41"/>
                      </a:lnTo>
                      <a:lnTo>
                        <a:pt x="146" y="27"/>
                      </a:lnTo>
                      <a:lnTo>
                        <a:pt x="141" y="18"/>
                      </a:lnTo>
                      <a:lnTo>
                        <a:pt x="132" y="9"/>
                      </a:lnTo>
                      <a:lnTo>
                        <a:pt x="127" y="9"/>
                      </a:lnTo>
                      <a:lnTo>
                        <a:pt x="118" y="4"/>
                      </a:lnTo>
                      <a:lnTo>
                        <a:pt x="105" y="0"/>
                      </a:lnTo>
                      <a:lnTo>
                        <a:pt x="96" y="0"/>
                      </a:lnTo>
                      <a:lnTo>
                        <a:pt x="68" y="0"/>
                      </a:lnTo>
                      <a:lnTo>
                        <a:pt x="50" y="9"/>
                      </a:lnTo>
                      <a:lnTo>
                        <a:pt x="36" y="27"/>
                      </a:lnTo>
                      <a:lnTo>
                        <a:pt x="32" y="54"/>
                      </a:lnTo>
                      <a:lnTo>
                        <a:pt x="32" y="54"/>
                      </a:lnTo>
                      <a:lnTo>
                        <a:pt x="32" y="50"/>
                      </a:lnTo>
                      <a:lnTo>
                        <a:pt x="32" y="50"/>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46" name="Freeform 287">
                  <a:extLst>
                    <a:ext uri="{FF2B5EF4-FFF2-40B4-BE49-F238E27FC236}">
                      <a16:creationId xmlns="" xmlns:a16="http://schemas.microsoft.com/office/drawing/2014/main" id="{4CD678DB-8854-4BE1-A26E-A1E268FFF27D}"/>
                    </a:ext>
                  </a:extLst>
                </p:cNvPr>
                <p:cNvSpPr>
                  <a:spLocks noChangeAspect="1"/>
                </p:cNvSpPr>
                <p:nvPr/>
              </p:nvSpPr>
              <p:spPr bwMode="auto">
                <a:xfrm>
                  <a:off x="3476" y="2468"/>
                  <a:ext cx="520" cy="536"/>
                </a:xfrm>
                <a:custGeom>
                  <a:avLst/>
                  <a:gdLst>
                    <a:gd name="T0" fmla="*/ 278 w 520"/>
                    <a:gd name="T1" fmla="*/ 100 h 536"/>
                    <a:gd name="T2" fmla="*/ 283 w 520"/>
                    <a:gd name="T3" fmla="*/ 136 h 536"/>
                    <a:gd name="T4" fmla="*/ 351 w 520"/>
                    <a:gd name="T5" fmla="*/ 196 h 536"/>
                    <a:gd name="T6" fmla="*/ 369 w 520"/>
                    <a:gd name="T7" fmla="*/ 173 h 536"/>
                    <a:gd name="T8" fmla="*/ 429 w 520"/>
                    <a:gd name="T9" fmla="*/ 186 h 536"/>
                    <a:gd name="T10" fmla="*/ 451 w 520"/>
                    <a:gd name="T11" fmla="*/ 250 h 536"/>
                    <a:gd name="T12" fmla="*/ 447 w 520"/>
                    <a:gd name="T13" fmla="*/ 282 h 536"/>
                    <a:gd name="T14" fmla="*/ 461 w 520"/>
                    <a:gd name="T15" fmla="*/ 305 h 536"/>
                    <a:gd name="T16" fmla="*/ 479 w 520"/>
                    <a:gd name="T17" fmla="*/ 318 h 536"/>
                    <a:gd name="T18" fmla="*/ 488 w 520"/>
                    <a:gd name="T19" fmla="*/ 332 h 536"/>
                    <a:gd name="T20" fmla="*/ 479 w 520"/>
                    <a:gd name="T21" fmla="*/ 346 h 536"/>
                    <a:gd name="T22" fmla="*/ 515 w 520"/>
                    <a:gd name="T23" fmla="*/ 405 h 536"/>
                    <a:gd name="T24" fmla="*/ 511 w 520"/>
                    <a:gd name="T25" fmla="*/ 446 h 536"/>
                    <a:gd name="T26" fmla="*/ 470 w 520"/>
                    <a:gd name="T27" fmla="*/ 450 h 536"/>
                    <a:gd name="T28" fmla="*/ 420 w 520"/>
                    <a:gd name="T29" fmla="*/ 468 h 536"/>
                    <a:gd name="T30" fmla="*/ 388 w 520"/>
                    <a:gd name="T31" fmla="*/ 496 h 536"/>
                    <a:gd name="T32" fmla="*/ 351 w 520"/>
                    <a:gd name="T33" fmla="*/ 518 h 536"/>
                    <a:gd name="T34" fmla="*/ 315 w 520"/>
                    <a:gd name="T35" fmla="*/ 532 h 536"/>
                    <a:gd name="T36" fmla="*/ 292 w 520"/>
                    <a:gd name="T37" fmla="*/ 509 h 536"/>
                    <a:gd name="T38" fmla="*/ 256 w 520"/>
                    <a:gd name="T39" fmla="*/ 496 h 536"/>
                    <a:gd name="T40" fmla="*/ 242 w 520"/>
                    <a:gd name="T41" fmla="*/ 464 h 536"/>
                    <a:gd name="T42" fmla="*/ 242 w 520"/>
                    <a:gd name="T43" fmla="*/ 418 h 536"/>
                    <a:gd name="T44" fmla="*/ 219 w 520"/>
                    <a:gd name="T45" fmla="*/ 368 h 536"/>
                    <a:gd name="T46" fmla="*/ 174 w 520"/>
                    <a:gd name="T47" fmla="*/ 382 h 536"/>
                    <a:gd name="T48" fmla="*/ 137 w 520"/>
                    <a:gd name="T49" fmla="*/ 368 h 536"/>
                    <a:gd name="T50" fmla="*/ 133 w 520"/>
                    <a:gd name="T51" fmla="*/ 332 h 536"/>
                    <a:gd name="T52" fmla="*/ 146 w 520"/>
                    <a:gd name="T53" fmla="*/ 314 h 536"/>
                    <a:gd name="T54" fmla="*/ 137 w 520"/>
                    <a:gd name="T55" fmla="*/ 296 h 536"/>
                    <a:gd name="T56" fmla="*/ 105 w 520"/>
                    <a:gd name="T57" fmla="*/ 268 h 536"/>
                    <a:gd name="T58" fmla="*/ 55 w 520"/>
                    <a:gd name="T59" fmla="*/ 255 h 536"/>
                    <a:gd name="T60" fmla="*/ 28 w 520"/>
                    <a:gd name="T61" fmla="*/ 264 h 536"/>
                    <a:gd name="T62" fmla="*/ 0 w 520"/>
                    <a:gd name="T63" fmla="*/ 227 h 536"/>
                    <a:gd name="T64" fmla="*/ 10 w 520"/>
                    <a:gd name="T65" fmla="*/ 191 h 536"/>
                    <a:gd name="T66" fmla="*/ 32 w 520"/>
                    <a:gd name="T67" fmla="*/ 177 h 536"/>
                    <a:gd name="T68" fmla="*/ 41 w 520"/>
                    <a:gd name="T69" fmla="*/ 168 h 536"/>
                    <a:gd name="T70" fmla="*/ 14 w 520"/>
                    <a:gd name="T71" fmla="*/ 127 h 536"/>
                    <a:gd name="T72" fmla="*/ 37 w 520"/>
                    <a:gd name="T73" fmla="*/ 86 h 536"/>
                    <a:gd name="T74" fmla="*/ 51 w 520"/>
                    <a:gd name="T75" fmla="*/ 55 h 536"/>
                    <a:gd name="T76" fmla="*/ 51 w 520"/>
                    <a:gd name="T77" fmla="*/ 46 h 536"/>
                    <a:gd name="T78" fmla="*/ 73 w 520"/>
                    <a:gd name="T79" fmla="*/ 36 h 536"/>
                    <a:gd name="T80" fmla="*/ 101 w 520"/>
                    <a:gd name="T81" fmla="*/ 46 h 536"/>
                    <a:gd name="T82" fmla="*/ 142 w 520"/>
                    <a:gd name="T83" fmla="*/ 50 h 536"/>
                    <a:gd name="T84" fmla="*/ 174 w 520"/>
                    <a:gd name="T85" fmla="*/ 18 h 536"/>
                    <a:gd name="T86" fmla="*/ 183 w 520"/>
                    <a:gd name="T87" fmla="*/ 0 h 536"/>
                    <a:gd name="T88" fmla="*/ 205 w 520"/>
                    <a:gd name="T89" fmla="*/ 9 h 536"/>
                    <a:gd name="T90" fmla="*/ 215 w 520"/>
                    <a:gd name="T91" fmla="*/ 36 h 536"/>
                    <a:gd name="T92" fmla="*/ 251 w 520"/>
                    <a:gd name="T93" fmla="*/ 59 h 536"/>
                    <a:gd name="T94" fmla="*/ 269 w 520"/>
                    <a:gd name="T95" fmla="*/ 96 h 536"/>
                    <a:gd name="T96" fmla="*/ 278 w 520"/>
                    <a:gd name="T97" fmla="*/ 96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0" h="536">
                      <a:moveTo>
                        <a:pt x="278" y="96"/>
                      </a:moveTo>
                      <a:lnTo>
                        <a:pt x="278" y="100"/>
                      </a:lnTo>
                      <a:lnTo>
                        <a:pt x="278" y="100"/>
                      </a:lnTo>
                      <a:lnTo>
                        <a:pt x="278" y="105"/>
                      </a:lnTo>
                      <a:lnTo>
                        <a:pt x="278" y="105"/>
                      </a:lnTo>
                      <a:lnTo>
                        <a:pt x="283" y="136"/>
                      </a:lnTo>
                      <a:lnTo>
                        <a:pt x="301" y="164"/>
                      </a:lnTo>
                      <a:lnTo>
                        <a:pt x="324" y="186"/>
                      </a:lnTo>
                      <a:lnTo>
                        <a:pt x="351" y="196"/>
                      </a:lnTo>
                      <a:lnTo>
                        <a:pt x="360" y="191"/>
                      </a:lnTo>
                      <a:lnTo>
                        <a:pt x="365" y="182"/>
                      </a:lnTo>
                      <a:lnTo>
                        <a:pt x="369" y="173"/>
                      </a:lnTo>
                      <a:lnTo>
                        <a:pt x="379" y="168"/>
                      </a:lnTo>
                      <a:lnTo>
                        <a:pt x="406" y="173"/>
                      </a:lnTo>
                      <a:lnTo>
                        <a:pt x="429" y="186"/>
                      </a:lnTo>
                      <a:lnTo>
                        <a:pt x="447" y="209"/>
                      </a:lnTo>
                      <a:lnTo>
                        <a:pt x="451" y="236"/>
                      </a:lnTo>
                      <a:lnTo>
                        <a:pt x="451" y="250"/>
                      </a:lnTo>
                      <a:lnTo>
                        <a:pt x="451" y="259"/>
                      </a:lnTo>
                      <a:lnTo>
                        <a:pt x="447" y="273"/>
                      </a:lnTo>
                      <a:lnTo>
                        <a:pt x="447" y="282"/>
                      </a:lnTo>
                      <a:lnTo>
                        <a:pt x="447" y="291"/>
                      </a:lnTo>
                      <a:lnTo>
                        <a:pt x="451" y="300"/>
                      </a:lnTo>
                      <a:lnTo>
                        <a:pt x="461" y="305"/>
                      </a:lnTo>
                      <a:lnTo>
                        <a:pt x="465" y="309"/>
                      </a:lnTo>
                      <a:lnTo>
                        <a:pt x="474" y="314"/>
                      </a:lnTo>
                      <a:lnTo>
                        <a:pt x="479" y="318"/>
                      </a:lnTo>
                      <a:lnTo>
                        <a:pt x="488" y="327"/>
                      </a:lnTo>
                      <a:lnTo>
                        <a:pt x="492" y="332"/>
                      </a:lnTo>
                      <a:lnTo>
                        <a:pt x="488" y="332"/>
                      </a:lnTo>
                      <a:lnTo>
                        <a:pt x="483" y="336"/>
                      </a:lnTo>
                      <a:lnTo>
                        <a:pt x="479" y="341"/>
                      </a:lnTo>
                      <a:lnTo>
                        <a:pt x="479" y="346"/>
                      </a:lnTo>
                      <a:lnTo>
                        <a:pt x="483" y="368"/>
                      </a:lnTo>
                      <a:lnTo>
                        <a:pt x="502" y="386"/>
                      </a:lnTo>
                      <a:lnTo>
                        <a:pt x="515" y="405"/>
                      </a:lnTo>
                      <a:lnTo>
                        <a:pt x="520" y="432"/>
                      </a:lnTo>
                      <a:lnTo>
                        <a:pt x="515" y="441"/>
                      </a:lnTo>
                      <a:lnTo>
                        <a:pt x="511" y="446"/>
                      </a:lnTo>
                      <a:lnTo>
                        <a:pt x="497" y="446"/>
                      </a:lnTo>
                      <a:lnTo>
                        <a:pt x="488" y="446"/>
                      </a:lnTo>
                      <a:lnTo>
                        <a:pt x="470" y="450"/>
                      </a:lnTo>
                      <a:lnTo>
                        <a:pt x="451" y="455"/>
                      </a:lnTo>
                      <a:lnTo>
                        <a:pt x="433" y="459"/>
                      </a:lnTo>
                      <a:lnTo>
                        <a:pt x="420" y="468"/>
                      </a:lnTo>
                      <a:lnTo>
                        <a:pt x="406" y="477"/>
                      </a:lnTo>
                      <a:lnTo>
                        <a:pt x="397" y="491"/>
                      </a:lnTo>
                      <a:lnTo>
                        <a:pt x="388" y="496"/>
                      </a:lnTo>
                      <a:lnTo>
                        <a:pt x="369" y="500"/>
                      </a:lnTo>
                      <a:lnTo>
                        <a:pt x="356" y="505"/>
                      </a:lnTo>
                      <a:lnTo>
                        <a:pt x="351" y="518"/>
                      </a:lnTo>
                      <a:lnTo>
                        <a:pt x="342" y="532"/>
                      </a:lnTo>
                      <a:lnTo>
                        <a:pt x="328" y="536"/>
                      </a:lnTo>
                      <a:lnTo>
                        <a:pt x="315" y="532"/>
                      </a:lnTo>
                      <a:lnTo>
                        <a:pt x="310" y="523"/>
                      </a:lnTo>
                      <a:lnTo>
                        <a:pt x="301" y="514"/>
                      </a:lnTo>
                      <a:lnTo>
                        <a:pt x="292" y="509"/>
                      </a:lnTo>
                      <a:lnTo>
                        <a:pt x="278" y="505"/>
                      </a:lnTo>
                      <a:lnTo>
                        <a:pt x="265" y="505"/>
                      </a:lnTo>
                      <a:lnTo>
                        <a:pt x="256" y="496"/>
                      </a:lnTo>
                      <a:lnTo>
                        <a:pt x="246" y="486"/>
                      </a:lnTo>
                      <a:lnTo>
                        <a:pt x="242" y="477"/>
                      </a:lnTo>
                      <a:lnTo>
                        <a:pt x="242" y="464"/>
                      </a:lnTo>
                      <a:lnTo>
                        <a:pt x="242" y="446"/>
                      </a:lnTo>
                      <a:lnTo>
                        <a:pt x="242" y="436"/>
                      </a:lnTo>
                      <a:lnTo>
                        <a:pt x="242" y="418"/>
                      </a:lnTo>
                      <a:lnTo>
                        <a:pt x="242" y="396"/>
                      </a:lnTo>
                      <a:lnTo>
                        <a:pt x="237" y="377"/>
                      </a:lnTo>
                      <a:lnTo>
                        <a:pt x="219" y="368"/>
                      </a:lnTo>
                      <a:lnTo>
                        <a:pt x="201" y="368"/>
                      </a:lnTo>
                      <a:lnTo>
                        <a:pt x="187" y="373"/>
                      </a:lnTo>
                      <a:lnTo>
                        <a:pt x="174" y="382"/>
                      </a:lnTo>
                      <a:lnTo>
                        <a:pt x="155" y="382"/>
                      </a:lnTo>
                      <a:lnTo>
                        <a:pt x="146" y="377"/>
                      </a:lnTo>
                      <a:lnTo>
                        <a:pt x="137" y="368"/>
                      </a:lnTo>
                      <a:lnTo>
                        <a:pt x="133" y="355"/>
                      </a:lnTo>
                      <a:lnTo>
                        <a:pt x="133" y="341"/>
                      </a:lnTo>
                      <a:lnTo>
                        <a:pt x="133" y="332"/>
                      </a:lnTo>
                      <a:lnTo>
                        <a:pt x="142" y="327"/>
                      </a:lnTo>
                      <a:lnTo>
                        <a:pt x="146" y="318"/>
                      </a:lnTo>
                      <a:lnTo>
                        <a:pt x="146" y="314"/>
                      </a:lnTo>
                      <a:lnTo>
                        <a:pt x="146" y="309"/>
                      </a:lnTo>
                      <a:lnTo>
                        <a:pt x="142" y="300"/>
                      </a:lnTo>
                      <a:lnTo>
                        <a:pt x="137" y="296"/>
                      </a:lnTo>
                      <a:lnTo>
                        <a:pt x="133" y="291"/>
                      </a:lnTo>
                      <a:lnTo>
                        <a:pt x="119" y="277"/>
                      </a:lnTo>
                      <a:lnTo>
                        <a:pt x="105" y="268"/>
                      </a:lnTo>
                      <a:lnTo>
                        <a:pt x="87" y="259"/>
                      </a:lnTo>
                      <a:lnTo>
                        <a:pt x="64" y="255"/>
                      </a:lnTo>
                      <a:lnTo>
                        <a:pt x="55" y="255"/>
                      </a:lnTo>
                      <a:lnTo>
                        <a:pt x="46" y="259"/>
                      </a:lnTo>
                      <a:lnTo>
                        <a:pt x="37" y="264"/>
                      </a:lnTo>
                      <a:lnTo>
                        <a:pt x="28" y="264"/>
                      </a:lnTo>
                      <a:lnTo>
                        <a:pt x="14" y="259"/>
                      </a:lnTo>
                      <a:lnTo>
                        <a:pt x="10" y="246"/>
                      </a:lnTo>
                      <a:lnTo>
                        <a:pt x="0" y="227"/>
                      </a:lnTo>
                      <a:lnTo>
                        <a:pt x="0" y="214"/>
                      </a:lnTo>
                      <a:lnTo>
                        <a:pt x="5" y="200"/>
                      </a:lnTo>
                      <a:lnTo>
                        <a:pt x="10" y="191"/>
                      </a:lnTo>
                      <a:lnTo>
                        <a:pt x="19" y="186"/>
                      </a:lnTo>
                      <a:lnTo>
                        <a:pt x="32" y="177"/>
                      </a:lnTo>
                      <a:lnTo>
                        <a:pt x="32" y="177"/>
                      </a:lnTo>
                      <a:lnTo>
                        <a:pt x="37" y="173"/>
                      </a:lnTo>
                      <a:lnTo>
                        <a:pt x="41" y="173"/>
                      </a:lnTo>
                      <a:lnTo>
                        <a:pt x="41" y="168"/>
                      </a:lnTo>
                      <a:lnTo>
                        <a:pt x="37" y="155"/>
                      </a:lnTo>
                      <a:lnTo>
                        <a:pt x="23" y="141"/>
                      </a:lnTo>
                      <a:lnTo>
                        <a:pt x="14" y="127"/>
                      </a:lnTo>
                      <a:lnTo>
                        <a:pt x="14" y="109"/>
                      </a:lnTo>
                      <a:lnTo>
                        <a:pt x="28" y="96"/>
                      </a:lnTo>
                      <a:lnTo>
                        <a:pt x="37" y="86"/>
                      </a:lnTo>
                      <a:lnTo>
                        <a:pt x="46" y="77"/>
                      </a:lnTo>
                      <a:lnTo>
                        <a:pt x="51" y="59"/>
                      </a:lnTo>
                      <a:lnTo>
                        <a:pt x="51" y="55"/>
                      </a:lnTo>
                      <a:lnTo>
                        <a:pt x="51" y="50"/>
                      </a:lnTo>
                      <a:lnTo>
                        <a:pt x="51" y="50"/>
                      </a:lnTo>
                      <a:lnTo>
                        <a:pt x="51" y="46"/>
                      </a:lnTo>
                      <a:lnTo>
                        <a:pt x="60" y="41"/>
                      </a:lnTo>
                      <a:lnTo>
                        <a:pt x="64" y="41"/>
                      </a:lnTo>
                      <a:lnTo>
                        <a:pt x="73" y="36"/>
                      </a:lnTo>
                      <a:lnTo>
                        <a:pt x="78" y="36"/>
                      </a:lnTo>
                      <a:lnTo>
                        <a:pt x="92" y="41"/>
                      </a:lnTo>
                      <a:lnTo>
                        <a:pt x="101" y="46"/>
                      </a:lnTo>
                      <a:lnTo>
                        <a:pt x="114" y="50"/>
                      </a:lnTo>
                      <a:lnTo>
                        <a:pt x="128" y="55"/>
                      </a:lnTo>
                      <a:lnTo>
                        <a:pt x="142" y="50"/>
                      </a:lnTo>
                      <a:lnTo>
                        <a:pt x="151" y="41"/>
                      </a:lnTo>
                      <a:lnTo>
                        <a:pt x="164" y="27"/>
                      </a:lnTo>
                      <a:lnTo>
                        <a:pt x="174" y="18"/>
                      </a:lnTo>
                      <a:lnTo>
                        <a:pt x="178" y="14"/>
                      </a:lnTo>
                      <a:lnTo>
                        <a:pt x="178" y="9"/>
                      </a:lnTo>
                      <a:lnTo>
                        <a:pt x="183" y="0"/>
                      </a:lnTo>
                      <a:lnTo>
                        <a:pt x="187" y="0"/>
                      </a:lnTo>
                      <a:lnTo>
                        <a:pt x="201" y="5"/>
                      </a:lnTo>
                      <a:lnTo>
                        <a:pt x="205" y="9"/>
                      </a:lnTo>
                      <a:lnTo>
                        <a:pt x="205" y="18"/>
                      </a:lnTo>
                      <a:lnTo>
                        <a:pt x="205" y="27"/>
                      </a:lnTo>
                      <a:lnTo>
                        <a:pt x="215" y="36"/>
                      </a:lnTo>
                      <a:lnTo>
                        <a:pt x="228" y="41"/>
                      </a:lnTo>
                      <a:lnTo>
                        <a:pt x="237" y="46"/>
                      </a:lnTo>
                      <a:lnTo>
                        <a:pt x="251" y="59"/>
                      </a:lnTo>
                      <a:lnTo>
                        <a:pt x="256" y="73"/>
                      </a:lnTo>
                      <a:lnTo>
                        <a:pt x="260" y="86"/>
                      </a:lnTo>
                      <a:lnTo>
                        <a:pt x="269" y="96"/>
                      </a:lnTo>
                      <a:lnTo>
                        <a:pt x="278" y="100"/>
                      </a:lnTo>
                      <a:lnTo>
                        <a:pt x="278" y="100"/>
                      </a:lnTo>
                      <a:lnTo>
                        <a:pt x="278" y="96"/>
                      </a:lnTo>
                      <a:lnTo>
                        <a:pt x="278" y="96"/>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47" name="Freeform 288">
                  <a:extLst>
                    <a:ext uri="{FF2B5EF4-FFF2-40B4-BE49-F238E27FC236}">
                      <a16:creationId xmlns="" xmlns:a16="http://schemas.microsoft.com/office/drawing/2014/main" id="{09CEF211-5B72-4ED3-8D18-1B9AF0280155}"/>
                    </a:ext>
                  </a:extLst>
                </p:cNvPr>
                <p:cNvSpPr>
                  <a:spLocks noChangeAspect="1"/>
                </p:cNvSpPr>
                <p:nvPr/>
              </p:nvSpPr>
              <p:spPr bwMode="auto">
                <a:xfrm>
                  <a:off x="3754" y="2427"/>
                  <a:ext cx="501" cy="391"/>
                </a:xfrm>
                <a:custGeom>
                  <a:avLst/>
                  <a:gdLst>
                    <a:gd name="T0" fmla="*/ 0 w 501"/>
                    <a:gd name="T1" fmla="*/ 141 h 391"/>
                    <a:gd name="T2" fmla="*/ 0 w 501"/>
                    <a:gd name="T3" fmla="*/ 146 h 391"/>
                    <a:gd name="T4" fmla="*/ 5 w 501"/>
                    <a:gd name="T5" fmla="*/ 177 h 391"/>
                    <a:gd name="T6" fmla="*/ 46 w 501"/>
                    <a:gd name="T7" fmla="*/ 227 h 391"/>
                    <a:gd name="T8" fmla="*/ 82 w 501"/>
                    <a:gd name="T9" fmla="*/ 232 h 391"/>
                    <a:gd name="T10" fmla="*/ 91 w 501"/>
                    <a:gd name="T11" fmla="*/ 214 h 391"/>
                    <a:gd name="T12" fmla="*/ 128 w 501"/>
                    <a:gd name="T13" fmla="*/ 214 h 391"/>
                    <a:gd name="T14" fmla="*/ 169 w 501"/>
                    <a:gd name="T15" fmla="*/ 250 h 391"/>
                    <a:gd name="T16" fmla="*/ 173 w 501"/>
                    <a:gd name="T17" fmla="*/ 291 h 391"/>
                    <a:gd name="T18" fmla="*/ 169 w 501"/>
                    <a:gd name="T19" fmla="*/ 314 h 391"/>
                    <a:gd name="T20" fmla="*/ 169 w 501"/>
                    <a:gd name="T21" fmla="*/ 332 h 391"/>
                    <a:gd name="T22" fmla="*/ 183 w 501"/>
                    <a:gd name="T23" fmla="*/ 346 h 391"/>
                    <a:gd name="T24" fmla="*/ 205 w 501"/>
                    <a:gd name="T25" fmla="*/ 364 h 391"/>
                    <a:gd name="T26" fmla="*/ 237 w 501"/>
                    <a:gd name="T27" fmla="*/ 387 h 391"/>
                    <a:gd name="T28" fmla="*/ 283 w 501"/>
                    <a:gd name="T29" fmla="*/ 387 h 391"/>
                    <a:gd name="T30" fmla="*/ 306 w 501"/>
                    <a:gd name="T31" fmla="*/ 377 h 391"/>
                    <a:gd name="T32" fmla="*/ 324 w 501"/>
                    <a:gd name="T33" fmla="*/ 373 h 391"/>
                    <a:gd name="T34" fmla="*/ 337 w 501"/>
                    <a:gd name="T35" fmla="*/ 377 h 391"/>
                    <a:gd name="T36" fmla="*/ 351 w 501"/>
                    <a:gd name="T37" fmla="*/ 355 h 391"/>
                    <a:gd name="T38" fmla="*/ 401 w 501"/>
                    <a:gd name="T39" fmla="*/ 337 h 391"/>
                    <a:gd name="T40" fmla="*/ 433 w 501"/>
                    <a:gd name="T41" fmla="*/ 327 h 391"/>
                    <a:gd name="T42" fmla="*/ 451 w 501"/>
                    <a:gd name="T43" fmla="*/ 309 h 391"/>
                    <a:gd name="T44" fmla="*/ 470 w 501"/>
                    <a:gd name="T45" fmla="*/ 305 h 391"/>
                    <a:gd name="T46" fmla="*/ 483 w 501"/>
                    <a:gd name="T47" fmla="*/ 296 h 391"/>
                    <a:gd name="T48" fmla="*/ 483 w 501"/>
                    <a:gd name="T49" fmla="*/ 287 h 391"/>
                    <a:gd name="T50" fmla="*/ 483 w 501"/>
                    <a:gd name="T51" fmla="*/ 273 h 391"/>
                    <a:gd name="T52" fmla="*/ 488 w 501"/>
                    <a:gd name="T53" fmla="*/ 255 h 391"/>
                    <a:gd name="T54" fmla="*/ 497 w 501"/>
                    <a:gd name="T55" fmla="*/ 237 h 391"/>
                    <a:gd name="T56" fmla="*/ 497 w 501"/>
                    <a:gd name="T57" fmla="*/ 205 h 391"/>
                    <a:gd name="T58" fmla="*/ 465 w 501"/>
                    <a:gd name="T59" fmla="*/ 187 h 391"/>
                    <a:gd name="T60" fmla="*/ 447 w 501"/>
                    <a:gd name="T61" fmla="*/ 155 h 391"/>
                    <a:gd name="T62" fmla="*/ 433 w 501"/>
                    <a:gd name="T63" fmla="*/ 118 h 391"/>
                    <a:gd name="T64" fmla="*/ 410 w 501"/>
                    <a:gd name="T65" fmla="*/ 100 h 391"/>
                    <a:gd name="T66" fmla="*/ 378 w 501"/>
                    <a:gd name="T67" fmla="*/ 87 h 391"/>
                    <a:gd name="T68" fmla="*/ 365 w 501"/>
                    <a:gd name="T69" fmla="*/ 77 h 391"/>
                    <a:gd name="T70" fmla="*/ 351 w 501"/>
                    <a:gd name="T71" fmla="*/ 91 h 391"/>
                    <a:gd name="T72" fmla="*/ 319 w 501"/>
                    <a:gd name="T73" fmla="*/ 87 h 391"/>
                    <a:gd name="T74" fmla="*/ 292 w 501"/>
                    <a:gd name="T75" fmla="*/ 59 h 391"/>
                    <a:gd name="T76" fmla="*/ 287 w 501"/>
                    <a:gd name="T77" fmla="*/ 41 h 391"/>
                    <a:gd name="T78" fmla="*/ 287 w 501"/>
                    <a:gd name="T79" fmla="*/ 32 h 391"/>
                    <a:gd name="T80" fmla="*/ 287 w 501"/>
                    <a:gd name="T81" fmla="*/ 23 h 391"/>
                    <a:gd name="T82" fmla="*/ 283 w 501"/>
                    <a:gd name="T83" fmla="*/ 9 h 391"/>
                    <a:gd name="T84" fmla="*/ 251 w 501"/>
                    <a:gd name="T85" fmla="*/ 27 h 391"/>
                    <a:gd name="T86" fmla="*/ 228 w 501"/>
                    <a:gd name="T87" fmla="*/ 96 h 391"/>
                    <a:gd name="T88" fmla="*/ 187 w 501"/>
                    <a:gd name="T89" fmla="*/ 109 h 391"/>
                    <a:gd name="T90" fmla="*/ 169 w 501"/>
                    <a:gd name="T91" fmla="*/ 96 h 391"/>
                    <a:gd name="T92" fmla="*/ 151 w 501"/>
                    <a:gd name="T93" fmla="*/ 91 h 391"/>
                    <a:gd name="T94" fmla="*/ 128 w 501"/>
                    <a:gd name="T95" fmla="*/ 87 h 391"/>
                    <a:gd name="T96" fmla="*/ 105 w 501"/>
                    <a:gd name="T97" fmla="*/ 64 h 391"/>
                    <a:gd name="T98" fmla="*/ 73 w 501"/>
                    <a:gd name="T99" fmla="*/ 32 h 391"/>
                    <a:gd name="T100" fmla="*/ 60 w 501"/>
                    <a:gd name="T101" fmla="*/ 14 h 391"/>
                    <a:gd name="T102" fmla="*/ 46 w 501"/>
                    <a:gd name="T103" fmla="*/ 0 h 391"/>
                    <a:gd name="T104" fmla="*/ 41 w 501"/>
                    <a:gd name="T105" fmla="*/ 9 h 391"/>
                    <a:gd name="T106" fmla="*/ 41 w 501"/>
                    <a:gd name="T107" fmla="*/ 18 h 391"/>
                    <a:gd name="T108" fmla="*/ 41 w 501"/>
                    <a:gd name="T109" fmla="*/ 37 h 391"/>
                    <a:gd name="T110" fmla="*/ 32 w 501"/>
                    <a:gd name="T111" fmla="*/ 55 h 391"/>
                    <a:gd name="T112" fmla="*/ 32 w 501"/>
                    <a:gd name="T113" fmla="*/ 105 h 391"/>
                    <a:gd name="T114" fmla="*/ 28 w 501"/>
                    <a:gd name="T115" fmla="*/ 114 h 391"/>
                    <a:gd name="T116" fmla="*/ 14 w 501"/>
                    <a:gd name="T117" fmla="*/ 137 h 391"/>
                    <a:gd name="T118" fmla="*/ 0 w 501"/>
                    <a:gd name="T119" fmla="*/ 141 h 391"/>
                    <a:gd name="T120" fmla="*/ 0 w 501"/>
                    <a:gd name="T121" fmla="*/ 137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1" h="391">
                      <a:moveTo>
                        <a:pt x="0" y="137"/>
                      </a:moveTo>
                      <a:lnTo>
                        <a:pt x="0" y="141"/>
                      </a:lnTo>
                      <a:lnTo>
                        <a:pt x="0" y="141"/>
                      </a:lnTo>
                      <a:lnTo>
                        <a:pt x="0" y="146"/>
                      </a:lnTo>
                      <a:lnTo>
                        <a:pt x="0" y="146"/>
                      </a:lnTo>
                      <a:lnTo>
                        <a:pt x="5" y="177"/>
                      </a:lnTo>
                      <a:lnTo>
                        <a:pt x="23" y="205"/>
                      </a:lnTo>
                      <a:lnTo>
                        <a:pt x="46" y="227"/>
                      </a:lnTo>
                      <a:lnTo>
                        <a:pt x="73" y="237"/>
                      </a:lnTo>
                      <a:lnTo>
                        <a:pt x="82" y="232"/>
                      </a:lnTo>
                      <a:lnTo>
                        <a:pt x="87" y="223"/>
                      </a:lnTo>
                      <a:lnTo>
                        <a:pt x="91" y="214"/>
                      </a:lnTo>
                      <a:lnTo>
                        <a:pt x="101" y="209"/>
                      </a:lnTo>
                      <a:lnTo>
                        <a:pt x="128" y="214"/>
                      </a:lnTo>
                      <a:lnTo>
                        <a:pt x="151" y="227"/>
                      </a:lnTo>
                      <a:lnTo>
                        <a:pt x="169" y="250"/>
                      </a:lnTo>
                      <a:lnTo>
                        <a:pt x="173" y="277"/>
                      </a:lnTo>
                      <a:lnTo>
                        <a:pt x="173" y="291"/>
                      </a:lnTo>
                      <a:lnTo>
                        <a:pt x="173" y="300"/>
                      </a:lnTo>
                      <a:lnTo>
                        <a:pt x="169" y="314"/>
                      </a:lnTo>
                      <a:lnTo>
                        <a:pt x="169" y="323"/>
                      </a:lnTo>
                      <a:lnTo>
                        <a:pt x="169" y="332"/>
                      </a:lnTo>
                      <a:lnTo>
                        <a:pt x="173" y="341"/>
                      </a:lnTo>
                      <a:lnTo>
                        <a:pt x="183" y="346"/>
                      </a:lnTo>
                      <a:lnTo>
                        <a:pt x="187" y="350"/>
                      </a:lnTo>
                      <a:lnTo>
                        <a:pt x="205" y="364"/>
                      </a:lnTo>
                      <a:lnTo>
                        <a:pt x="219" y="377"/>
                      </a:lnTo>
                      <a:lnTo>
                        <a:pt x="237" y="387"/>
                      </a:lnTo>
                      <a:lnTo>
                        <a:pt x="265" y="391"/>
                      </a:lnTo>
                      <a:lnTo>
                        <a:pt x="283" y="387"/>
                      </a:lnTo>
                      <a:lnTo>
                        <a:pt x="292" y="382"/>
                      </a:lnTo>
                      <a:lnTo>
                        <a:pt x="306" y="377"/>
                      </a:lnTo>
                      <a:lnTo>
                        <a:pt x="319" y="373"/>
                      </a:lnTo>
                      <a:lnTo>
                        <a:pt x="324" y="373"/>
                      </a:lnTo>
                      <a:lnTo>
                        <a:pt x="333" y="373"/>
                      </a:lnTo>
                      <a:lnTo>
                        <a:pt x="337" y="377"/>
                      </a:lnTo>
                      <a:lnTo>
                        <a:pt x="342" y="377"/>
                      </a:lnTo>
                      <a:lnTo>
                        <a:pt x="351" y="355"/>
                      </a:lnTo>
                      <a:lnTo>
                        <a:pt x="374" y="341"/>
                      </a:lnTo>
                      <a:lnTo>
                        <a:pt x="401" y="337"/>
                      </a:lnTo>
                      <a:lnTo>
                        <a:pt x="424" y="332"/>
                      </a:lnTo>
                      <a:lnTo>
                        <a:pt x="433" y="327"/>
                      </a:lnTo>
                      <a:lnTo>
                        <a:pt x="442" y="318"/>
                      </a:lnTo>
                      <a:lnTo>
                        <a:pt x="451" y="309"/>
                      </a:lnTo>
                      <a:lnTo>
                        <a:pt x="465" y="305"/>
                      </a:lnTo>
                      <a:lnTo>
                        <a:pt x="470" y="305"/>
                      </a:lnTo>
                      <a:lnTo>
                        <a:pt x="479" y="300"/>
                      </a:lnTo>
                      <a:lnTo>
                        <a:pt x="483" y="296"/>
                      </a:lnTo>
                      <a:lnTo>
                        <a:pt x="483" y="291"/>
                      </a:lnTo>
                      <a:lnTo>
                        <a:pt x="483" y="287"/>
                      </a:lnTo>
                      <a:lnTo>
                        <a:pt x="483" y="277"/>
                      </a:lnTo>
                      <a:lnTo>
                        <a:pt x="483" y="273"/>
                      </a:lnTo>
                      <a:lnTo>
                        <a:pt x="483" y="268"/>
                      </a:lnTo>
                      <a:lnTo>
                        <a:pt x="488" y="255"/>
                      </a:lnTo>
                      <a:lnTo>
                        <a:pt x="492" y="246"/>
                      </a:lnTo>
                      <a:lnTo>
                        <a:pt x="497" y="237"/>
                      </a:lnTo>
                      <a:lnTo>
                        <a:pt x="501" y="218"/>
                      </a:lnTo>
                      <a:lnTo>
                        <a:pt x="497" y="205"/>
                      </a:lnTo>
                      <a:lnTo>
                        <a:pt x="479" y="196"/>
                      </a:lnTo>
                      <a:lnTo>
                        <a:pt x="465" y="187"/>
                      </a:lnTo>
                      <a:lnTo>
                        <a:pt x="451" y="173"/>
                      </a:lnTo>
                      <a:lnTo>
                        <a:pt x="447" y="155"/>
                      </a:lnTo>
                      <a:lnTo>
                        <a:pt x="442" y="137"/>
                      </a:lnTo>
                      <a:lnTo>
                        <a:pt x="433" y="118"/>
                      </a:lnTo>
                      <a:lnTo>
                        <a:pt x="424" y="109"/>
                      </a:lnTo>
                      <a:lnTo>
                        <a:pt x="410" y="100"/>
                      </a:lnTo>
                      <a:lnTo>
                        <a:pt x="392" y="96"/>
                      </a:lnTo>
                      <a:lnTo>
                        <a:pt x="378" y="87"/>
                      </a:lnTo>
                      <a:lnTo>
                        <a:pt x="369" y="73"/>
                      </a:lnTo>
                      <a:lnTo>
                        <a:pt x="365" y="77"/>
                      </a:lnTo>
                      <a:lnTo>
                        <a:pt x="360" y="87"/>
                      </a:lnTo>
                      <a:lnTo>
                        <a:pt x="351" y="91"/>
                      </a:lnTo>
                      <a:lnTo>
                        <a:pt x="337" y="91"/>
                      </a:lnTo>
                      <a:lnTo>
                        <a:pt x="319" y="87"/>
                      </a:lnTo>
                      <a:lnTo>
                        <a:pt x="306" y="73"/>
                      </a:lnTo>
                      <a:lnTo>
                        <a:pt x="292" y="59"/>
                      </a:lnTo>
                      <a:lnTo>
                        <a:pt x="287" y="46"/>
                      </a:lnTo>
                      <a:lnTo>
                        <a:pt x="287" y="41"/>
                      </a:lnTo>
                      <a:lnTo>
                        <a:pt x="287" y="37"/>
                      </a:lnTo>
                      <a:lnTo>
                        <a:pt x="287" y="32"/>
                      </a:lnTo>
                      <a:lnTo>
                        <a:pt x="287" y="27"/>
                      </a:lnTo>
                      <a:lnTo>
                        <a:pt x="287" y="23"/>
                      </a:lnTo>
                      <a:lnTo>
                        <a:pt x="287" y="14"/>
                      </a:lnTo>
                      <a:lnTo>
                        <a:pt x="283" y="9"/>
                      </a:lnTo>
                      <a:lnTo>
                        <a:pt x="278" y="9"/>
                      </a:lnTo>
                      <a:lnTo>
                        <a:pt x="251" y="27"/>
                      </a:lnTo>
                      <a:lnTo>
                        <a:pt x="242" y="59"/>
                      </a:lnTo>
                      <a:lnTo>
                        <a:pt x="228" y="96"/>
                      </a:lnTo>
                      <a:lnTo>
                        <a:pt x="201" y="114"/>
                      </a:lnTo>
                      <a:lnTo>
                        <a:pt x="187" y="109"/>
                      </a:lnTo>
                      <a:lnTo>
                        <a:pt x="178" y="105"/>
                      </a:lnTo>
                      <a:lnTo>
                        <a:pt x="169" y="96"/>
                      </a:lnTo>
                      <a:lnTo>
                        <a:pt x="160" y="91"/>
                      </a:lnTo>
                      <a:lnTo>
                        <a:pt x="151" y="91"/>
                      </a:lnTo>
                      <a:lnTo>
                        <a:pt x="137" y="87"/>
                      </a:lnTo>
                      <a:lnTo>
                        <a:pt x="128" y="87"/>
                      </a:lnTo>
                      <a:lnTo>
                        <a:pt x="119" y="77"/>
                      </a:lnTo>
                      <a:lnTo>
                        <a:pt x="105" y="64"/>
                      </a:lnTo>
                      <a:lnTo>
                        <a:pt x="91" y="50"/>
                      </a:lnTo>
                      <a:lnTo>
                        <a:pt x="73" y="32"/>
                      </a:lnTo>
                      <a:lnTo>
                        <a:pt x="60" y="14"/>
                      </a:lnTo>
                      <a:lnTo>
                        <a:pt x="60" y="14"/>
                      </a:lnTo>
                      <a:lnTo>
                        <a:pt x="46" y="0"/>
                      </a:lnTo>
                      <a:lnTo>
                        <a:pt x="46" y="0"/>
                      </a:lnTo>
                      <a:lnTo>
                        <a:pt x="41" y="5"/>
                      </a:lnTo>
                      <a:lnTo>
                        <a:pt x="41" y="9"/>
                      </a:lnTo>
                      <a:lnTo>
                        <a:pt x="41" y="14"/>
                      </a:lnTo>
                      <a:lnTo>
                        <a:pt x="41" y="18"/>
                      </a:lnTo>
                      <a:lnTo>
                        <a:pt x="41" y="27"/>
                      </a:lnTo>
                      <a:lnTo>
                        <a:pt x="41" y="37"/>
                      </a:lnTo>
                      <a:lnTo>
                        <a:pt x="37" y="46"/>
                      </a:lnTo>
                      <a:lnTo>
                        <a:pt x="32" y="55"/>
                      </a:lnTo>
                      <a:lnTo>
                        <a:pt x="32" y="55"/>
                      </a:lnTo>
                      <a:lnTo>
                        <a:pt x="32" y="105"/>
                      </a:lnTo>
                      <a:lnTo>
                        <a:pt x="32" y="105"/>
                      </a:lnTo>
                      <a:lnTo>
                        <a:pt x="28" y="114"/>
                      </a:lnTo>
                      <a:lnTo>
                        <a:pt x="23" y="123"/>
                      </a:lnTo>
                      <a:lnTo>
                        <a:pt x="14" y="137"/>
                      </a:lnTo>
                      <a:lnTo>
                        <a:pt x="0" y="141"/>
                      </a:lnTo>
                      <a:lnTo>
                        <a:pt x="0" y="141"/>
                      </a:lnTo>
                      <a:lnTo>
                        <a:pt x="0" y="137"/>
                      </a:lnTo>
                      <a:lnTo>
                        <a:pt x="0" y="137"/>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grpSp>
        </p:grpSp>
        <p:grpSp>
          <p:nvGrpSpPr>
            <p:cNvPr id="12" name="Group 289">
              <a:extLst>
                <a:ext uri="{FF2B5EF4-FFF2-40B4-BE49-F238E27FC236}">
                  <a16:creationId xmlns="" xmlns:a16="http://schemas.microsoft.com/office/drawing/2014/main" id="{FFD30AD8-09DD-4011-85E1-892C371C5B01}"/>
                </a:ext>
              </a:extLst>
            </p:cNvPr>
            <p:cNvGrpSpPr>
              <a:grpSpLocks noChangeAspect="1"/>
            </p:cNvGrpSpPr>
            <p:nvPr/>
          </p:nvGrpSpPr>
          <p:grpSpPr bwMode="auto">
            <a:xfrm>
              <a:off x="3421104" y="1698151"/>
              <a:ext cx="1805619" cy="2242033"/>
              <a:chOff x="3735" y="1048"/>
              <a:chExt cx="1167" cy="1449"/>
            </a:xfrm>
            <a:solidFill>
              <a:schemeClr val="bg1">
                <a:lumMod val="20000"/>
                <a:lumOff val="80000"/>
              </a:schemeClr>
            </a:solidFill>
          </p:grpSpPr>
          <p:grpSp>
            <p:nvGrpSpPr>
              <p:cNvPr id="15" name="Group 290">
                <a:extLst>
                  <a:ext uri="{FF2B5EF4-FFF2-40B4-BE49-F238E27FC236}">
                    <a16:creationId xmlns="" xmlns:a16="http://schemas.microsoft.com/office/drawing/2014/main" id="{26B1B47C-A23D-4F72-9A22-E2861DA63F97}"/>
                  </a:ext>
                </a:extLst>
              </p:cNvPr>
              <p:cNvGrpSpPr>
                <a:grpSpLocks noChangeAspect="1"/>
              </p:cNvGrpSpPr>
              <p:nvPr/>
            </p:nvGrpSpPr>
            <p:grpSpPr bwMode="auto">
              <a:xfrm>
                <a:off x="4191" y="1251"/>
                <a:ext cx="591" cy="629"/>
                <a:chOff x="3454" y="755"/>
                <a:chExt cx="815" cy="800"/>
              </a:xfrm>
              <a:grpFill/>
            </p:grpSpPr>
            <p:sp>
              <p:nvSpPr>
                <p:cNvPr id="34" name="Freeform 291">
                  <a:extLst>
                    <a:ext uri="{FF2B5EF4-FFF2-40B4-BE49-F238E27FC236}">
                      <a16:creationId xmlns="" xmlns:a16="http://schemas.microsoft.com/office/drawing/2014/main" id="{0E8251EB-239C-4718-9ECE-C800EF9DD570}"/>
                    </a:ext>
                  </a:extLst>
                </p:cNvPr>
                <p:cNvSpPr>
                  <a:spLocks noChangeAspect="1"/>
                </p:cNvSpPr>
                <p:nvPr/>
              </p:nvSpPr>
              <p:spPr bwMode="auto">
                <a:xfrm>
                  <a:off x="3622" y="773"/>
                  <a:ext cx="510" cy="550"/>
                </a:xfrm>
                <a:custGeom>
                  <a:avLst/>
                  <a:gdLst>
                    <a:gd name="T0" fmla="*/ 119 w 510"/>
                    <a:gd name="T1" fmla="*/ 32 h 550"/>
                    <a:gd name="T2" fmla="*/ 96 w 510"/>
                    <a:gd name="T3" fmla="*/ 4 h 550"/>
                    <a:gd name="T4" fmla="*/ 50 w 510"/>
                    <a:gd name="T5" fmla="*/ 4 h 550"/>
                    <a:gd name="T6" fmla="*/ 18 w 510"/>
                    <a:gd name="T7" fmla="*/ 13 h 550"/>
                    <a:gd name="T8" fmla="*/ 0 w 510"/>
                    <a:gd name="T9" fmla="*/ 32 h 550"/>
                    <a:gd name="T10" fmla="*/ 0 w 510"/>
                    <a:gd name="T11" fmla="*/ 54 h 550"/>
                    <a:gd name="T12" fmla="*/ 18 w 510"/>
                    <a:gd name="T13" fmla="*/ 59 h 550"/>
                    <a:gd name="T14" fmla="*/ 28 w 510"/>
                    <a:gd name="T15" fmla="*/ 45 h 550"/>
                    <a:gd name="T16" fmla="*/ 59 w 510"/>
                    <a:gd name="T17" fmla="*/ 50 h 550"/>
                    <a:gd name="T18" fmla="*/ 91 w 510"/>
                    <a:gd name="T19" fmla="*/ 91 h 550"/>
                    <a:gd name="T20" fmla="*/ 96 w 510"/>
                    <a:gd name="T21" fmla="*/ 122 h 550"/>
                    <a:gd name="T22" fmla="*/ 96 w 510"/>
                    <a:gd name="T23" fmla="*/ 141 h 550"/>
                    <a:gd name="T24" fmla="*/ 100 w 510"/>
                    <a:gd name="T25" fmla="*/ 168 h 550"/>
                    <a:gd name="T26" fmla="*/ 119 w 510"/>
                    <a:gd name="T27" fmla="*/ 200 h 550"/>
                    <a:gd name="T28" fmla="*/ 119 w 510"/>
                    <a:gd name="T29" fmla="*/ 241 h 550"/>
                    <a:gd name="T30" fmla="*/ 105 w 510"/>
                    <a:gd name="T31" fmla="*/ 268 h 550"/>
                    <a:gd name="T32" fmla="*/ 100 w 510"/>
                    <a:gd name="T33" fmla="*/ 295 h 550"/>
                    <a:gd name="T34" fmla="*/ 114 w 510"/>
                    <a:gd name="T35" fmla="*/ 313 h 550"/>
                    <a:gd name="T36" fmla="*/ 114 w 510"/>
                    <a:gd name="T37" fmla="*/ 336 h 550"/>
                    <a:gd name="T38" fmla="*/ 100 w 510"/>
                    <a:gd name="T39" fmla="*/ 350 h 550"/>
                    <a:gd name="T40" fmla="*/ 100 w 510"/>
                    <a:gd name="T41" fmla="*/ 377 h 550"/>
                    <a:gd name="T42" fmla="*/ 100 w 510"/>
                    <a:gd name="T43" fmla="*/ 413 h 550"/>
                    <a:gd name="T44" fmla="*/ 105 w 510"/>
                    <a:gd name="T45" fmla="*/ 450 h 550"/>
                    <a:gd name="T46" fmla="*/ 119 w 510"/>
                    <a:gd name="T47" fmla="*/ 463 h 550"/>
                    <a:gd name="T48" fmla="*/ 132 w 510"/>
                    <a:gd name="T49" fmla="*/ 495 h 550"/>
                    <a:gd name="T50" fmla="*/ 164 w 510"/>
                    <a:gd name="T51" fmla="*/ 541 h 550"/>
                    <a:gd name="T52" fmla="*/ 192 w 510"/>
                    <a:gd name="T53" fmla="*/ 545 h 550"/>
                    <a:gd name="T54" fmla="*/ 219 w 510"/>
                    <a:gd name="T55" fmla="*/ 532 h 550"/>
                    <a:gd name="T56" fmla="*/ 251 w 510"/>
                    <a:gd name="T57" fmla="*/ 518 h 550"/>
                    <a:gd name="T58" fmla="*/ 292 w 510"/>
                    <a:gd name="T59" fmla="*/ 509 h 550"/>
                    <a:gd name="T60" fmla="*/ 333 w 510"/>
                    <a:gd name="T61" fmla="*/ 504 h 550"/>
                    <a:gd name="T62" fmla="*/ 346 w 510"/>
                    <a:gd name="T63" fmla="*/ 482 h 550"/>
                    <a:gd name="T64" fmla="*/ 378 w 510"/>
                    <a:gd name="T65" fmla="*/ 482 h 550"/>
                    <a:gd name="T66" fmla="*/ 401 w 510"/>
                    <a:gd name="T67" fmla="*/ 500 h 550"/>
                    <a:gd name="T68" fmla="*/ 442 w 510"/>
                    <a:gd name="T69" fmla="*/ 500 h 550"/>
                    <a:gd name="T70" fmla="*/ 492 w 510"/>
                    <a:gd name="T71" fmla="*/ 463 h 550"/>
                    <a:gd name="T72" fmla="*/ 510 w 510"/>
                    <a:gd name="T73" fmla="*/ 445 h 550"/>
                    <a:gd name="T74" fmla="*/ 510 w 510"/>
                    <a:gd name="T75" fmla="*/ 432 h 550"/>
                    <a:gd name="T76" fmla="*/ 479 w 510"/>
                    <a:gd name="T77" fmla="*/ 409 h 550"/>
                    <a:gd name="T78" fmla="*/ 447 w 510"/>
                    <a:gd name="T79" fmla="*/ 395 h 550"/>
                    <a:gd name="T80" fmla="*/ 383 w 510"/>
                    <a:gd name="T81" fmla="*/ 368 h 550"/>
                    <a:gd name="T82" fmla="*/ 315 w 510"/>
                    <a:gd name="T83" fmla="*/ 350 h 550"/>
                    <a:gd name="T84" fmla="*/ 287 w 510"/>
                    <a:gd name="T85" fmla="*/ 332 h 550"/>
                    <a:gd name="T86" fmla="*/ 264 w 510"/>
                    <a:gd name="T87" fmla="*/ 313 h 550"/>
                    <a:gd name="T88" fmla="*/ 251 w 510"/>
                    <a:gd name="T89" fmla="*/ 282 h 550"/>
                    <a:gd name="T90" fmla="*/ 228 w 510"/>
                    <a:gd name="T91" fmla="*/ 259 h 550"/>
                    <a:gd name="T92" fmla="*/ 187 w 510"/>
                    <a:gd name="T93" fmla="*/ 232 h 550"/>
                    <a:gd name="T94" fmla="*/ 160 w 510"/>
                    <a:gd name="T95" fmla="*/ 200 h 550"/>
                    <a:gd name="T96" fmla="*/ 169 w 510"/>
                    <a:gd name="T97" fmla="*/ 186 h 550"/>
                    <a:gd name="T98" fmla="*/ 173 w 510"/>
                    <a:gd name="T99" fmla="*/ 177 h 550"/>
                    <a:gd name="T100" fmla="*/ 151 w 510"/>
                    <a:gd name="T101" fmla="*/ 118 h 550"/>
                    <a:gd name="T102" fmla="*/ 137 w 510"/>
                    <a:gd name="T103" fmla="*/ 59 h 550"/>
                    <a:gd name="T104" fmla="*/ 141 w 510"/>
                    <a:gd name="T105" fmla="*/ 45 h 550"/>
                    <a:gd name="T106" fmla="*/ 141 w 510"/>
                    <a:gd name="T107" fmla="*/ 36 h 550"/>
                    <a:gd name="T108" fmla="*/ 137 w 510"/>
                    <a:gd name="T109" fmla="*/ 36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0" h="550">
                      <a:moveTo>
                        <a:pt x="137" y="36"/>
                      </a:moveTo>
                      <a:lnTo>
                        <a:pt x="119" y="32"/>
                      </a:lnTo>
                      <a:lnTo>
                        <a:pt x="105" y="18"/>
                      </a:lnTo>
                      <a:lnTo>
                        <a:pt x="96" y="4"/>
                      </a:lnTo>
                      <a:lnTo>
                        <a:pt x="73" y="0"/>
                      </a:lnTo>
                      <a:lnTo>
                        <a:pt x="50" y="4"/>
                      </a:lnTo>
                      <a:lnTo>
                        <a:pt x="37" y="9"/>
                      </a:lnTo>
                      <a:lnTo>
                        <a:pt x="18" y="13"/>
                      </a:lnTo>
                      <a:lnTo>
                        <a:pt x="0" y="18"/>
                      </a:lnTo>
                      <a:lnTo>
                        <a:pt x="0" y="32"/>
                      </a:lnTo>
                      <a:lnTo>
                        <a:pt x="0" y="45"/>
                      </a:lnTo>
                      <a:lnTo>
                        <a:pt x="0" y="54"/>
                      </a:lnTo>
                      <a:lnTo>
                        <a:pt x="9" y="59"/>
                      </a:lnTo>
                      <a:lnTo>
                        <a:pt x="18" y="59"/>
                      </a:lnTo>
                      <a:lnTo>
                        <a:pt x="23" y="50"/>
                      </a:lnTo>
                      <a:lnTo>
                        <a:pt x="28" y="45"/>
                      </a:lnTo>
                      <a:lnTo>
                        <a:pt x="37" y="45"/>
                      </a:lnTo>
                      <a:lnTo>
                        <a:pt x="59" y="50"/>
                      </a:lnTo>
                      <a:lnTo>
                        <a:pt x="82" y="68"/>
                      </a:lnTo>
                      <a:lnTo>
                        <a:pt x="91" y="91"/>
                      </a:lnTo>
                      <a:lnTo>
                        <a:pt x="96" y="118"/>
                      </a:lnTo>
                      <a:lnTo>
                        <a:pt x="96" y="122"/>
                      </a:lnTo>
                      <a:lnTo>
                        <a:pt x="96" y="132"/>
                      </a:lnTo>
                      <a:lnTo>
                        <a:pt x="96" y="141"/>
                      </a:lnTo>
                      <a:lnTo>
                        <a:pt x="96" y="150"/>
                      </a:lnTo>
                      <a:lnTo>
                        <a:pt x="100" y="168"/>
                      </a:lnTo>
                      <a:lnTo>
                        <a:pt x="110" y="186"/>
                      </a:lnTo>
                      <a:lnTo>
                        <a:pt x="119" y="200"/>
                      </a:lnTo>
                      <a:lnTo>
                        <a:pt x="123" y="222"/>
                      </a:lnTo>
                      <a:lnTo>
                        <a:pt x="119" y="241"/>
                      </a:lnTo>
                      <a:lnTo>
                        <a:pt x="114" y="254"/>
                      </a:lnTo>
                      <a:lnTo>
                        <a:pt x="105" y="268"/>
                      </a:lnTo>
                      <a:lnTo>
                        <a:pt x="100" y="286"/>
                      </a:lnTo>
                      <a:lnTo>
                        <a:pt x="100" y="295"/>
                      </a:lnTo>
                      <a:lnTo>
                        <a:pt x="110" y="304"/>
                      </a:lnTo>
                      <a:lnTo>
                        <a:pt x="114" y="313"/>
                      </a:lnTo>
                      <a:lnTo>
                        <a:pt x="114" y="322"/>
                      </a:lnTo>
                      <a:lnTo>
                        <a:pt x="114" y="336"/>
                      </a:lnTo>
                      <a:lnTo>
                        <a:pt x="110" y="345"/>
                      </a:lnTo>
                      <a:lnTo>
                        <a:pt x="100" y="350"/>
                      </a:lnTo>
                      <a:lnTo>
                        <a:pt x="100" y="359"/>
                      </a:lnTo>
                      <a:lnTo>
                        <a:pt x="100" y="377"/>
                      </a:lnTo>
                      <a:lnTo>
                        <a:pt x="100" y="395"/>
                      </a:lnTo>
                      <a:lnTo>
                        <a:pt x="100" y="413"/>
                      </a:lnTo>
                      <a:lnTo>
                        <a:pt x="100" y="436"/>
                      </a:lnTo>
                      <a:lnTo>
                        <a:pt x="105" y="450"/>
                      </a:lnTo>
                      <a:lnTo>
                        <a:pt x="114" y="454"/>
                      </a:lnTo>
                      <a:lnTo>
                        <a:pt x="119" y="463"/>
                      </a:lnTo>
                      <a:lnTo>
                        <a:pt x="123" y="472"/>
                      </a:lnTo>
                      <a:lnTo>
                        <a:pt x="132" y="495"/>
                      </a:lnTo>
                      <a:lnTo>
                        <a:pt x="146" y="518"/>
                      </a:lnTo>
                      <a:lnTo>
                        <a:pt x="164" y="541"/>
                      </a:lnTo>
                      <a:lnTo>
                        <a:pt x="182" y="550"/>
                      </a:lnTo>
                      <a:lnTo>
                        <a:pt x="192" y="545"/>
                      </a:lnTo>
                      <a:lnTo>
                        <a:pt x="205" y="541"/>
                      </a:lnTo>
                      <a:lnTo>
                        <a:pt x="219" y="532"/>
                      </a:lnTo>
                      <a:lnTo>
                        <a:pt x="228" y="527"/>
                      </a:lnTo>
                      <a:lnTo>
                        <a:pt x="251" y="518"/>
                      </a:lnTo>
                      <a:lnTo>
                        <a:pt x="269" y="513"/>
                      </a:lnTo>
                      <a:lnTo>
                        <a:pt x="292" y="509"/>
                      </a:lnTo>
                      <a:lnTo>
                        <a:pt x="319" y="509"/>
                      </a:lnTo>
                      <a:lnTo>
                        <a:pt x="333" y="504"/>
                      </a:lnTo>
                      <a:lnTo>
                        <a:pt x="337" y="491"/>
                      </a:lnTo>
                      <a:lnTo>
                        <a:pt x="346" y="482"/>
                      </a:lnTo>
                      <a:lnTo>
                        <a:pt x="360" y="477"/>
                      </a:lnTo>
                      <a:lnTo>
                        <a:pt x="378" y="482"/>
                      </a:lnTo>
                      <a:lnTo>
                        <a:pt x="392" y="491"/>
                      </a:lnTo>
                      <a:lnTo>
                        <a:pt x="401" y="500"/>
                      </a:lnTo>
                      <a:lnTo>
                        <a:pt x="419" y="504"/>
                      </a:lnTo>
                      <a:lnTo>
                        <a:pt x="442" y="500"/>
                      </a:lnTo>
                      <a:lnTo>
                        <a:pt x="469" y="482"/>
                      </a:lnTo>
                      <a:lnTo>
                        <a:pt x="492" y="463"/>
                      </a:lnTo>
                      <a:lnTo>
                        <a:pt x="510" y="445"/>
                      </a:lnTo>
                      <a:lnTo>
                        <a:pt x="510" y="445"/>
                      </a:lnTo>
                      <a:lnTo>
                        <a:pt x="510" y="432"/>
                      </a:lnTo>
                      <a:lnTo>
                        <a:pt x="510" y="432"/>
                      </a:lnTo>
                      <a:lnTo>
                        <a:pt x="492" y="418"/>
                      </a:lnTo>
                      <a:lnTo>
                        <a:pt x="479" y="409"/>
                      </a:lnTo>
                      <a:lnTo>
                        <a:pt x="460" y="404"/>
                      </a:lnTo>
                      <a:lnTo>
                        <a:pt x="447" y="395"/>
                      </a:lnTo>
                      <a:lnTo>
                        <a:pt x="419" y="377"/>
                      </a:lnTo>
                      <a:lnTo>
                        <a:pt x="383" y="368"/>
                      </a:lnTo>
                      <a:lnTo>
                        <a:pt x="351" y="359"/>
                      </a:lnTo>
                      <a:lnTo>
                        <a:pt x="315" y="350"/>
                      </a:lnTo>
                      <a:lnTo>
                        <a:pt x="301" y="341"/>
                      </a:lnTo>
                      <a:lnTo>
                        <a:pt x="287" y="332"/>
                      </a:lnTo>
                      <a:lnTo>
                        <a:pt x="269" y="322"/>
                      </a:lnTo>
                      <a:lnTo>
                        <a:pt x="264" y="313"/>
                      </a:lnTo>
                      <a:lnTo>
                        <a:pt x="260" y="295"/>
                      </a:lnTo>
                      <a:lnTo>
                        <a:pt x="251" y="282"/>
                      </a:lnTo>
                      <a:lnTo>
                        <a:pt x="242" y="268"/>
                      </a:lnTo>
                      <a:lnTo>
                        <a:pt x="228" y="259"/>
                      </a:lnTo>
                      <a:lnTo>
                        <a:pt x="210" y="245"/>
                      </a:lnTo>
                      <a:lnTo>
                        <a:pt x="187" y="232"/>
                      </a:lnTo>
                      <a:lnTo>
                        <a:pt x="169" y="213"/>
                      </a:lnTo>
                      <a:lnTo>
                        <a:pt x="160" y="200"/>
                      </a:lnTo>
                      <a:lnTo>
                        <a:pt x="160" y="191"/>
                      </a:lnTo>
                      <a:lnTo>
                        <a:pt x="169" y="186"/>
                      </a:lnTo>
                      <a:lnTo>
                        <a:pt x="173" y="177"/>
                      </a:lnTo>
                      <a:lnTo>
                        <a:pt x="173" y="177"/>
                      </a:lnTo>
                      <a:lnTo>
                        <a:pt x="160" y="145"/>
                      </a:lnTo>
                      <a:lnTo>
                        <a:pt x="151" y="118"/>
                      </a:lnTo>
                      <a:lnTo>
                        <a:pt x="141" y="91"/>
                      </a:lnTo>
                      <a:lnTo>
                        <a:pt x="137" y="59"/>
                      </a:lnTo>
                      <a:lnTo>
                        <a:pt x="137" y="50"/>
                      </a:lnTo>
                      <a:lnTo>
                        <a:pt x="141" y="45"/>
                      </a:lnTo>
                      <a:lnTo>
                        <a:pt x="141" y="41"/>
                      </a:lnTo>
                      <a:lnTo>
                        <a:pt x="141" y="36"/>
                      </a:lnTo>
                      <a:lnTo>
                        <a:pt x="141" y="36"/>
                      </a:lnTo>
                      <a:lnTo>
                        <a:pt x="137" y="36"/>
                      </a:lnTo>
                      <a:lnTo>
                        <a:pt x="137" y="36"/>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35" name="Freeform 292">
                  <a:extLst>
                    <a:ext uri="{FF2B5EF4-FFF2-40B4-BE49-F238E27FC236}">
                      <a16:creationId xmlns="" xmlns:a16="http://schemas.microsoft.com/office/drawing/2014/main" id="{EEEEC15A-57A5-459D-9201-8D5523F7DAE1}"/>
                    </a:ext>
                  </a:extLst>
                </p:cNvPr>
                <p:cNvSpPr>
                  <a:spLocks noChangeAspect="1"/>
                </p:cNvSpPr>
                <p:nvPr/>
              </p:nvSpPr>
              <p:spPr bwMode="auto">
                <a:xfrm>
                  <a:off x="3759" y="782"/>
                  <a:ext cx="510" cy="427"/>
                </a:xfrm>
                <a:custGeom>
                  <a:avLst/>
                  <a:gdLst>
                    <a:gd name="T0" fmla="*/ 401 w 510"/>
                    <a:gd name="T1" fmla="*/ 418 h 427"/>
                    <a:gd name="T2" fmla="*/ 433 w 510"/>
                    <a:gd name="T3" fmla="*/ 386 h 427"/>
                    <a:gd name="T4" fmla="*/ 428 w 510"/>
                    <a:gd name="T5" fmla="*/ 341 h 427"/>
                    <a:gd name="T6" fmla="*/ 414 w 510"/>
                    <a:gd name="T7" fmla="*/ 300 h 427"/>
                    <a:gd name="T8" fmla="*/ 387 w 510"/>
                    <a:gd name="T9" fmla="*/ 295 h 427"/>
                    <a:gd name="T10" fmla="*/ 378 w 510"/>
                    <a:gd name="T11" fmla="*/ 309 h 427"/>
                    <a:gd name="T12" fmla="*/ 360 w 510"/>
                    <a:gd name="T13" fmla="*/ 309 h 427"/>
                    <a:gd name="T14" fmla="*/ 360 w 510"/>
                    <a:gd name="T15" fmla="*/ 295 h 427"/>
                    <a:gd name="T16" fmla="*/ 355 w 510"/>
                    <a:gd name="T17" fmla="*/ 277 h 427"/>
                    <a:gd name="T18" fmla="*/ 342 w 510"/>
                    <a:gd name="T19" fmla="*/ 259 h 427"/>
                    <a:gd name="T20" fmla="*/ 342 w 510"/>
                    <a:gd name="T21" fmla="*/ 227 h 427"/>
                    <a:gd name="T22" fmla="*/ 369 w 510"/>
                    <a:gd name="T23" fmla="*/ 213 h 427"/>
                    <a:gd name="T24" fmla="*/ 405 w 510"/>
                    <a:gd name="T25" fmla="*/ 218 h 427"/>
                    <a:gd name="T26" fmla="*/ 442 w 510"/>
                    <a:gd name="T27" fmla="*/ 227 h 427"/>
                    <a:gd name="T28" fmla="*/ 487 w 510"/>
                    <a:gd name="T29" fmla="*/ 227 h 427"/>
                    <a:gd name="T30" fmla="*/ 506 w 510"/>
                    <a:gd name="T31" fmla="*/ 195 h 427"/>
                    <a:gd name="T32" fmla="*/ 496 w 510"/>
                    <a:gd name="T33" fmla="*/ 168 h 427"/>
                    <a:gd name="T34" fmla="*/ 474 w 510"/>
                    <a:gd name="T35" fmla="*/ 159 h 427"/>
                    <a:gd name="T36" fmla="*/ 465 w 510"/>
                    <a:gd name="T37" fmla="*/ 145 h 427"/>
                    <a:gd name="T38" fmla="*/ 460 w 510"/>
                    <a:gd name="T39" fmla="*/ 127 h 427"/>
                    <a:gd name="T40" fmla="*/ 437 w 510"/>
                    <a:gd name="T41" fmla="*/ 127 h 427"/>
                    <a:gd name="T42" fmla="*/ 410 w 510"/>
                    <a:gd name="T43" fmla="*/ 159 h 427"/>
                    <a:gd name="T44" fmla="*/ 383 w 510"/>
                    <a:gd name="T45" fmla="*/ 163 h 427"/>
                    <a:gd name="T46" fmla="*/ 369 w 510"/>
                    <a:gd name="T47" fmla="*/ 154 h 427"/>
                    <a:gd name="T48" fmla="*/ 355 w 510"/>
                    <a:gd name="T49" fmla="*/ 154 h 427"/>
                    <a:gd name="T50" fmla="*/ 342 w 510"/>
                    <a:gd name="T51" fmla="*/ 168 h 427"/>
                    <a:gd name="T52" fmla="*/ 323 w 510"/>
                    <a:gd name="T53" fmla="*/ 163 h 427"/>
                    <a:gd name="T54" fmla="*/ 314 w 510"/>
                    <a:gd name="T55" fmla="*/ 132 h 427"/>
                    <a:gd name="T56" fmla="*/ 291 w 510"/>
                    <a:gd name="T57" fmla="*/ 127 h 427"/>
                    <a:gd name="T58" fmla="*/ 273 w 510"/>
                    <a:gd name="T59" fmla="*/ 141 h 427"/>
                    <a:gd name="T60" fmla="*/ 232 w 510"/>
                    <a:gd name="T61" fmla="*/ 132 h 427"/>
                    <a:gd name="T62" fmla="*/ 187 w 510"/>
                    <a:gd name="T63" fmla="*/ 91 h 427"/>
                    <a:gd name="T64" fmla="*/ 178 w 510"/>
                    <a:gd name="T65" fmla="*/ 59 h 427"/>
                    <a:gd name="T66" fmla="*/ 173 w 510"/>
                    <a:gd name="T67" fmla="*/ 36 h 427"/>
                    <a:gd name="T68" fmla="*/ 150 w 510"/>
                    <a:gd name="T69" fmla="*/ 18 h 427"/>
                    <a:gd name="T70" fmla="*/ 100 w 510"/>
                    <a:gd name="T71" fmla="*/ 4 h 427"/>
                    <a:gd name="T72" fmla="*/ 55 w 510"/>
                    <a:gd name="T73" fmla="*/ 4 h 427"/>
                    <a:gd name="T74" fmla="*/ 23 w 510"/>
                    <a:gd name="T75" fmla="*/ 23 h 427"/>
                    <a:gd name="T76" fmla="*/ 4 w 510"/>
                    <a:gd name="T77" fmla="*/ 32 h 427"/>
                    <a:gd name="T78" fmla="*/ 0 w 510"/>
                    <a:gd name="T79" fmla="*/ 41 h 427"/>
                    <a:gd name="T80" fmla="*/ 4 w 510"/>
                    <a:gd name="T81" fmla="*/ 82 h 427"/>
                    <a:gd name="T82" fmla="*/ 23 w 510"/>
                    <a:gd name="T83" fmla="*/ 136 h 427"/>
                    <a:gd name="T84" fmla="*/ 36 w 510"/>
                    <a:gd name="T85" fmla="*/ 168 h 427"/>
                    <a:gd name="T86" fmla="*/ 23 w 510"/>
                    <a:gd name="T87" fmla="*/ 182 h 427"/>
                    <a:gd name="T88" fmla="*/ 32 w 510"/>
                    <a:gd name="T89" fmla="*/ 204 h 427"/>
                    <a:gd name="T90" fmla="*/ 73 w 510"/>
                    <a:gd name="T91" fmla="*/ 236 h 427"/>
                    <a:gd name="T92" fmla="*/ 105 w 510"/>
                    <a:gd name="T93" fmla="*/ 259 h 427"/>
                    <a:gd name="T94" fmla="*/ 123 w 510"/>
                    <a:gd name="T95" fmla="*/ 286 h 427"/>
                    <a:gd name="T96" fmla="*/ 132 w 510"/>
                    <a:gd name="T97" fmla="*/ 313 h 427"/>
                    <a:gd name="T98" fmla="*/ 164 w 510"/>
                    <a:gd name="T99" fmla="*/ 332 h 427"/>
                    <a:gd name="T100" fmla="*/ 214 w 510"/>
                    <a:gd name="T101" fmla="*/ 350 h 427"/>
                    <a:gd name="T102" fmla="*/ 282 w 510"/>
                    <a:gd name="T103" fmla="*/ 368 h 427"/>
                    <a:gd name="T104" fmla="*/ 323 w 510"/>
                    <a:gd name="T105" fmla="*/ 395 h 427"/>
                    <a:gd name="T106" fmla="*/ 355 w 510"/>
                    <a:gd name="T107" fmla="*/ 409 h 427"/>
                    <a:gd name="T108" fmla="*/ 373 w 510"/>
                    <a:gd name="T109" fmla="*/ 423 h 427"/>
                    <a:gd name="T110" fmla="*/ 378 w 510"/>
                    <a:gd name="T111"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0" h="427">
                      <a:moveTo>
                        <a:pt x="378" y="427"/>
                      </a:moveTo>
                      <a:lnTo>
                        <a:pt x="401" y="418"/>
                      </a:lnTo>
                      <a:lnTo>
                        <a:pt x="424" y="404"/>
                      </a:lnTo>
                      <a:lnTo>
                        <a:pt x="433" y="386"/>
                      </a:lnTo>
                      <a:lnTo>
                        <a:pt x="433" y="359"/>
                      </a:lnTo>
                      <a:lnTo>
                        <a:pt x="428" y="341"/>
                      </a:lnTo>
                      <a:lnTo>
                        <a:pt x="424" y="318"/>
                      </a:lnTo>
                      <a:lnTo>
                        <a:pt x="414" y="300"/>
                      </a:lnTo>
                      <a:lnTo>
                        <a:pt x="396" y="295"/>
                      </a:lnTo>
                      <a:lnTo>
                        <a:pt x="387" y="295"/>
                      </a:lnTo>
                      <a:lnTo>
                        <a:pt x="383" y="300"/>
                      </a:lnTo>
                      <a:lnTo>
                        <a:pt x="378" y="309"/>
                      </a:lnTo>
                      <a:lnTo>
                        <a:pt x="369" y="309"/>
                      </a:lnTo>
                      <a:lnTo>
                        <a:pt x="360" y="309"/>
                      </a:lnTo>
                      <a:lnTo>
                        <a:pt x="360" y="304"/>
                      </a:lnTo>
                      <a:lnTo>
                        <a:pt x="360" y="295"/>
                      </a:lnTo>
                      <a:lnTo>
                        <a:pt x="360" y="291"/>
                      </a:lnTo>
                      <a:lnTo>
                        <a:pt x="355" y="277"/>
                      </a:lnTo>
                      <a:lnTo>
                        <a:pt x="351" y="268"/>
                      </a:lnTo>
                      <a:lnTo>
                        <a:pt x="342" y="259"/>
                      </a:lnTo>
                      <a:lnTo>
                        <a:pt x="337" y="245"/>
                      </a:lnTo>
                      <a:lnTo>
                        <a:pt x="342" y="227"/>
                      </a:lnTo>
                      <a:lnTo>
                        <a:pt x="351" y="218"/>
                      </a:lnTo>
                      <a:lnTo>
                        <a:pt x="369" y="213"/>
                      </a:lnTo>
                      <a:lnTo>
                        <a:pt x="387" y="213"/>
                      </a:lnTo>
                      <a:lnTo>
                        <a:pt x="405" y="218"/>
                      </a:lnTo>
                      <a:lnTo>
                        <a:pt x="424" y="223"/>
                      </a:lnTo>
                      <a:lnTo>
                        <a:pt x="442" y="227"/>
                      </a:lnTo>
                      <a:lnTo>
                        <a:pt x="465" y="232"/>
                      </a:lnTo>
                      <a:lnTo>
                        <a:pt x="487" y="227"/>
                      </a:lnTo>
                      <a:lnTo>
                        <a:pt x="501" y="213"/>
                      </a:lnTo>
                      <a:lnTo>
                        <a:pt x="506" y="195"/>
                      </a:lnTo>
                      <a:lnTo>
                        <a:pt x="510" y="173"/>
                      </a:lnTo>
                      <a:lnTo>
                        <a:pt x="496" y="168"/>
                      </a:lnTo>
                      <a:lnTo>
                        <a:pt x="487" y="163"/>
                      </a:lnTo>
                      <a:lnTo>
                        <a:pt x="474" y="159"/>
                      </a:lnTo>
                      <a:lnTo>
                        <a:pt x="469" y="154"/>
                      </a:lnTo>
                      <a:lnTo>
                        <a:pt x="465" y="145"/>
                      </a:lnTo>
                      <a:lnTo>
                        <a:pt x="465" y="136"/>
                      </a:lnTo>
                      <a:lnTo>
                        <a:pt x="460" y="127"/>
                      </a:lnTo>
                      <a:lnTo>
                        <a:pt x="451" y="123"/>
                      </a:lnTo>
                      <a:lnTo>
                        <a:pt x="437" y="127"/>
                      </a:lnTo>
                      <a:lnTo>
                        <a:pt x="428" y="141"/>
                      </a:lnTo>
                      <a:lnTo>
                        <a:pt x="410" y="159"/>
                      </a:lnTo>
                      <a:lnTo>
                        <a:pt x="387" y="163"/>
                      </a:lnTo>
                      <a:lnTo>
                        <a:pt x="383" y="163"/>
                      </a:lnTo>
                      <a:lnTo>
                        <a:pt x="373" y="159"/>
                      </a:lnTo>
                      <a:lnTo>
                        <a:pt x="369" y="154"/>
                      </a:lnTo>
                      <a:lnTo>
                        <a:pt x="360" y="154"/>
                      </a:lnTo>
                      <a:lnTo>
                        <a:pt x="355" y="154"/>
                      </a:lnTo>
                      <a:lnTo>
                        <a:pt x="351" y="159"/>
                      </a:lnTo>
                      <a:lnTo>
                        <a:pt x="342" y="168"/>
                      </a:lnTo>
                      <a:lnTo>
                        <a:pt x="337" y="168"/>
                      </a:lnTo>
                      <a:lnTo>
                        <a:pt x="323" y="163"/>
                      </a:lnTo>
                      <a:lnTo>
                        <a:pt x="319" y="145"/>
                      </a:lnTo>
                      <a:lnTo>
                        <a:pt x="314" y="132"/>
                      </a:lnTo>
                      <a:lnTo>
                        <a:pt x="301" y="127"/>
                      </a:lnTo>
                      <a:lnTo>
                        <a:pt x="291" y="127"/>
                      </a:lnTo>
                      <a:lnTo>
                        <a:pt x="282" y="132"/>
                      </a:lnTo>
                      <a:lnTo>
                        <a:pt x="273" y="141"/>
                      </a:lnTo>
                      <a:lnTo>
                        <a:pt x="260" y="141"/>
                      </a:lnTo>
                      <a:lnTo>
                        <a:pt x="232" y="132"/>
                      </a:lnTo>
                      <a:lnTo>
                        <a:pt x="205" y="113"/>
                      </a:lnTo>
                      <a:lnTo>
                        <a:pt x="187" y="91"/>
                      </a:lnTo>
                      <a:lnTo>
                        <a:pt x="178" y="68"/>
                      </a:lnTo>
                      <a:lnTo>
                        <a:pt x="178" y="59"/>
                      </a:lnTo>
                      <a:lnTo>
                        <a:pt x="178" y="45"/>
                      </a:lnTo>
                      <a:lnTo>
                        <a:pt x="173" y="36"/>
                      </a:lnTo>
                      <a:lnTo>
                        <a:pt x="168" y="32"/>
                      </a:lnTo>
                      <a:lnTo>
                        <a:pt x="150" y="18"/>
                      </a:lnTo>
                      <a:lnTo>
                        <a:pt x="127" y="9"/>
                      </a:lnTo>
                      <a:lnTo>
                        <a:pt x="100" y="4"/>
                      </a:lnTo>
                      <a:lnTo>
                        <a:pt x="73" y="0"/>
                      </a:lnTo>
                      <a:lnTo>
                        <a:pt x="55" y="4"/>
                      </a:lnTo>
                      <a:lnTo>
                        <a:pt x="41" y="13"/>
                      </a:lnTo>
                      <a:lnTo>
                        <a:pt x="23" y="23"/>
                      </a:lnTo>
                      <a:lnTo>
                        <a:pt x="4" y="27"/>
                      </a:lnTo>
                      <a:lnTo>
                        <a:pt x="4" y="32"/>
                      </a:lnTo>
                      <a:lnTo>
                        <a:pt x="4" y="36"/>
                      </a:lnTo>
                      <a:lnTo>
                        <a:pt x="0" y="41"/>
                      </a:lnTo>
                      <a:lnTo>
                        <a:pt x="0" y="50"/>
                      </a:lnTo>
                      <a:lnTo>
                        <a:pt x="4" y="82"/>
                      </a:lnTo>
                      <a:lnTo>
                        <a:pt x="14" y="109"/>
                      </a:lnTo>
                      <a:lnTo>
                        <a:pt x="23" y="136"/>
                      </a:lnTo>
                      <a:lnTo>
                        <a:pt x="36" y="168"/>
                      </a:lnTo>
                      <a:lnTo>
                        <a:pt x="36" y="168"/>
                      </a:lnTo>
                      <a:lnTo>
                        <a:pt x="32" y="177"/>
                      </a:lnTo>
                      <a:lnTo>
                        <a:pt x="23" y="182"/>
                      </a:lnTo>
                      <a:lnTo>
                        <a:pt x="23" y="191"/>
                      </a:lnTo>
                      <a:lnTo>
                        <a:pt x="32" y="204"/>
                      </a:lnTo>
                      <a:lnTo>
                        <a:pt x="50" y="223"/>
                      </a:lnTo>
                      <a:lnTo>
                        <a:pt x="73" y="236"/>
                      </a:lnTo>
                      <a:lnTo>
                        <a:pt x="91" y="250"/>
                      </a:lnTo>
                      <a:lnTo>
                        <a:pt x="105" y="259"/>
                      </a:lnTo>
                      <a:lnTo>
                        <a:pt x="114" y="273"/>
                      </a:lnTo>
                      <a:lnTo>
                        <a:pt x="123" y="286"/>
                      </a:lnTo>
                      <a:lnTo>
                        <a:pt x="127" y="304"/>
                      </a:lnTo>
                      <a:lnTo>
                        <a:pt x="132" y="313"/>
                      </a:lnTo>
                      <a:lnTo>
                        <a:pt x="150" y="323"/>
                      </a:lnTo>
                      <a:lnTo>
                        <a:pt x="164" y="332"/>
                      </a:lnTo>
                      <a:lnTo>
                        <a:pt x="178" y="341"/>
                      </a:lnTo>
                      <a:lnTo>
                        <a:pt x="214" y="350"/>
                      </a:lnTo>
                      <a:lnTo>
                        <a:pt x="246" y="359"/>
                      </a:lnTo>
                      <a:lnTo>
                        <a:pt x="282" y="368"/>
                      </a:lnTo>
                      <a:lnTo>
                        <a:pt x="310" y="386"/>
                      </a:lnTo>
                      <a:lnTo>
                        <a:pt x="323" y="395"/>
                      </a:lnTo>
                      <a:lnTo>
                        <a:pt x="342" y="400"/>
                      </a:lnTo>
                      <a:lnTo>
                        <a:pt x="355" y="409"/>
                      </a:lnTo>
                      <a:lnTo>
                        <a:pt x="373" y="423"/>
                      </a:lnTo>
                      <a:lnTo>
                        <a:pt x="373" y="423"/>
                      </a:lnTo>
                      <a:lnTo>
                        <a:pt x="378" y="427"/>
                      </a:lnTo>
                      <a:lnTo>
                        <a:pt x="378" y="427"/>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36" name="Freeform 293">
                  <a:extLst>
                    <a:ext uri="{FF2B5EF4-FFF2-40B4-BE49-F238E27FC236}">
                      <a16:creationId xmlns="" xmlns:a16="http://schemas.microsoft.com/office/drawing/2014/main" id="{23D6ACFF-C4D8-4198-9EE8-BCFEF9A74D59}"/>
                    </a:ext>
                  </a:extLst>
                </p:cNvPr>
                <p:cNvSpPr>
                  <a:spLocks noChangeAspect="1"/>
                </p:cNvSpPr>
                <p:nvPr/>
              </p:nvSpPr>
              <p:spPr bwMode="auto">
                <a:xfrm>
                  <a:off x="3454" y="755"/>
                  <a:ext cx="291" cy="531"/>
                </a:xfrm>
                <a:custGeom>
                  <a:avLst/>
                  <a:gdLst>
                    <a:gd name="T0" fmla="*/ 13 w 291"/>
                    <a:gd name="T1" fmla="*/ 150 h 531"/>
                    <a:gd name="T2" fmla="*/ 27 w 291"/>
                    <a:gd name="T3" fmla="*/ 131 h 531"/>
                    <a:gd name="T4" fmla="*/ 36 w 291"/>
                    <a:gd name="T5" fmla="*/ 86 h 531"/>
                    <a:gd name="T6" fmla="*/ 50 w 291"/>
                    <a:gd name="T7" fmla="*/ 22 h 531"/>
                    <a:gd name="T8" fmla="*/ 77 w 291"/>
                    <a:gd name="T9" fmla="*/ 13 h 531"/>
                    <a:gd name="T10" fmla="*/ 91 w 291"/>
                    <a:gd name="T11" fmla="*/ 18 h 531"/>
                    <a:gd name="T12" fmla="*/ 109 w 291"/>
                    <a:gd name="T13" fmla="*/ 18 h 531"/>
                    <a:gd name="T14" fmla="*/ 127 w 291"/>
                    <a:gd name="T15" fmla="*/ 4 h 531"/>
                    <a:gd name="T16" fmla="*/ 141 w 291"/>
                    <a:gd name="T17" fmla="*/ 9 h 531"/>
                    <a:gd name="T18" fmla="*/ 155 w 291"/>
                    <a:gd name="T19" fmla="*/ 31 h 531"/>
                    <a:gd name="T20" fmla="*/ 168 w 291"/>
                    <a:gd name="T21" fmla="*/ 50 h 531"/>
                    <a:gd name="T22" fmla="*/ 168 w 291"/>
                    <a:gd name="T23" fmla="*/ 72 h 531"/>
                    <a:gd name="T24" fmla="*/ 186 w 291"/>
                    <a:gd name="T25" fmla="*/ 77 h 531"/>
                    <a:gd name="T26" fmla="*/ 196 w 291"/>
                    <a:gd name="T27" fmla="*/ 63 h 531"/>
                    <a:gd name="T28" fmla="*/ 227 w 291"/>
                    <a:gd name="T29" fmla="*/ 68 h 531"/>
                    <a:gd name="T30" fmla="*/ 259 w 291"/>
                    <a:gd name="T31" fmla="*/ 109 h 531"/>
                    <a:gd name="T32" fmla="*/ 264 w 291"/>
                    <a:gd name="T33" fmla="*/ 140 h 531"/>
                    <a:gd name="T34" fmla="*/ 264 w 291"/>
                    <a:gd name="T35" fmla="*/ 159 h 531"/>
                    <a:gd name="T36" fmla="*/ 268 w 291"/>
                    <a:gd name="T37" fmla="*/ 186 h 531"/>
                    <a:gd name="T38" fmla="*/ 287 w 291"/>
                    <a:gd name="T39" fmla="*/ 218 h 531"/>
                    <a:gd name="T40" fmla="*/ 287 w 291"/>
                    <a:gd name="T41" fmla="*/ 259 h 531"/>
                    <a:gd name="T42" fmla="*/ 273 w 291"/>
                    <a:gd name="T43" fmla="*/ 286 h 531"/>
                    <a:gd name="T44" fmla="*/ 268 w 291"/>
                    <a:gd name="T45" fmla="*/ 313 h 531"/>
                    <a:gd name="T46" fmla="*/ 282 w 291"/>
                    <a:gd name="T47" fmla="*/ 331 h 531"/>
                    <a:gd name="T48" fmla="*/ 282 w 291"/>
                    <a:gd name="T49" fmla="*/ 354 h 531"/>
                    <a:gd name="T50" fmla="*/ 268 w 291"/>
                    <a:gd name="T51" fmla="*/ 368 h 531"/>
                    <a:gd name="T52" fmla="*/ 268 w 291"/>
                    <a:gd name="T53" fmla="*/ 395 h 531"/>
                    <a:gd name="T54" fmla="*/ 268 w 291"/>
                    <a:gd name="T55" fmla="*/ 431 h 531"/>
                    <a:gd name="T56" fmla="*/ 273 w 291"/>
                    <a:gd name="T57" fmla="*/ 468 h 531"/>
                    <a:gd name="T58" fmla="*/ 287 w 291"/>
                    <a:gd name="T59" fmla="*/ 481 h 531"/>
                    <a:gd name="T60" fmla="*/ 282 w 291"/>
                    <a:gd name="T61" fmla="*/ 504 h 531"/>
                    <a:gd name="T62" fmla="*/ 232 w 291"/>
                    <a:gd name="T63" fmla="*/ 527 h 531"/>
                    <a:gd name="T64" fmla="*/ 177 w 291"/>
                    <a:gd name="T65" fmla="*/ 527 h 531"/>
                    <a:gd name="T66" fmla="*/ 141 w 291"/>
                    <a:gd name="T67" fmla="*/ 500 h 531"/>
                    <a:gd name="T68" fmla="*/ 95 w 291"/>
                    <a:gd name="T69" fmla="*/ 472 h 531"/>
                    <a:gd name="T70" fmla="*/ 41 w 291"/>
                    <a:gd name="T71" fmla="*/ 436 h 531"/>
                    <a:gd name="T72" fmla="*/ 36 w 291"/>
                    <a:gd name="T73" fmla="*/ 409 h 531"/>
                    <a:gd name="T74" fmla="*/ 41 w 291"/>
                    <a:gd name="T75" fmla="*/ 400 h 531"/>
                    <a:gd name="T76" fmla="*/ 36 w 291"/>
                    <a:gd name="T77" fmla="*/ 377 h 531"/>
                    <a:gd name="T78" fmla="*/ 22 w 291"/>
                    <a:gd name="T79" fmla="*/ 363 h 531"/>
                    <a:gd name="T80" fmla="*/ 22 w 291"/>
                    <a:gd name="T81" fmla="*/ 327 h 531"/>
                    <a:gd name="T82" fmla="*/ 36 w 291"/>
                    <a:gd name="T83" fmla="*/ 300 h 531"/>
                    <a:gd name="T84" fmla="*/ 41 w 291"/>
                    <a:gd name="T85" fmla="*/ 272 h 531"/>
                    <a:gd name="T86" fmla="*/ 32 w 291"/>
                    <a:gd name="T87" fmla="*/ 259 h 531"/>
                    <a:gd name="T88" fmla="*/ 22 w 291"/>
                    <a:gd name="T89" fmla="*/ 227 h 531"/>
                    <a:gd name="T90" fmla="*/ 18 w 291"/>
                    <a:gd name="T91" fmla="*/ 177 h 531"/>
                    <a:gd name="T92" fmla="*/ 4 w 291"/>
                    <a:gd name="T93" fmla="*/ 159 h 531"/>
                    <a:gd name="T94" fmla="*/ 0 w 291"/>
                    <a:gd name="T95" fmla="*/ 159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1" h="531">
                      <a:moveTo>
                        <a:pt x="0" y="159"/>
                      </a:moveTo>
                      <a:lnTo>
                        <a:pt x="13" y="150"/>
                      </a:lnTo>
                      <a:lnTo>
                        <a:pt x="22" y="140"/>
                      </a:lnTo>
                      <a:lnTo>
                        <a:pt x="27" y="131"/>
                      </a:lnTo>
                      <a:lnTo>
                        <a:pt x="32" y="118"/>
                      </a:lnTo>
                      <a:lnTo>
                        <a:pt x="36" y="86"/>
                      </a:lnTo>
                      <a:lnTo>
                        <a:pt x="36" y="50"/>
                      </a:lnTo>
                      <a:lnTo>
                        <a:pt x="50" y="22"/>
                      </a:lnTo>
                      <a:lnTo>
                        <a:pt x="68" y="13"/>
                      </a:lnTo>
                      <a:lnTo>
                        <a:pt x="77" y="13"/>
                      </a:lnTo>
                      <a:lnTo>
                        <a:pt x="82" y="13"/>
                      </a:lnTo>
                      <a:lnTo>
                        <a:pt x="91" y="18"/>
                      </a:lnTo>
                      <a:lnTo>
                        <a:pt x="95" y="18"/>
                      </a:lnTo>
                      <a:lnTo>
                        <a:pt x="109" y="18"/>
                      </a:lnTo>
                      <a:lnTo>
                        <a:pt x="118" y="13"/>
                      </a:lnTo>
                      <a:lnTo>
                        <a:pt x="127" y="4"/>
                      </a:lnTo>
                      <a:lnTo>
                        <a:pt x="132" y="0"/>
                      </a:lnTo>
                      <a:lnTo>
                        <a:pt x="141" y="9"/>
                      </a:lnTo>
                      <a:lnTo>
                        <a:pt x="145" y="22"/>
                      </a:lnTo>
                      <a:lnTo>
                        <a:pt x="155" y="31"/>
                      </a:lnTo>
                      <a:lnTo>
                        <a:pt x="168" y="36"/>
                      </a:lnTo>
                      <a:lnTo>
                        <a:pt x="168" y="50"/>
                      </a:lnTo>
                      <a:lnTo>
                        <a:pt x="168" y="63"/>
                      </a:lnTo>
                      <a:lnTo>
                        <a:pt x="168" y="72"/>
                      </a:lnTo>
                      <a:lnTo>
                        <a:pt x="177" y="77"/>
                      </a:lnTo>
                      <a:lnTo>
                        <a:pt x="186" y="77"/>
                      </a:lnTo>
                      <a:lnTo>
                        <a:pt x="191" y="68"/>
                      </a:lnTo>
                      <a:lnTo>
                        <a:pt x="196" y="63"/>
                      </a:lnTo>
                      <a:lnTo>
                        <a:pt x="205" y="63"/>
                      </a:lnTo>
                      <a:lnTo>
                        <a:pt x="227" y="68"/>
                      </a:lnTo>
                      <a:lnTo>
                        <a:pt x="250" y="86"/>
                      </a:lnTo>
                      <a:lnTo>
                        <a:pt x="259" y="109"/>
                      </a:lnTo>
                      <a:lnTo>
                        <a:pt x="264" y="136"/>
                      </a:lnTo>
                      <a:lnTo>
                        <a:pt x="264" y="140"/>
                      </a:lnTo>
                      <a:lnTo>
                        <a:pt x="264" y="150"/>
                      </a:lnTo>
                      <a:lnTo>
                        <a:pt x="264" y="159"/>
                      </a:lnTo>
                      <a:lnTo>
                        <a:pt x="264" y="168"/>
                      </a:lnTo>
                      <a:lnTo>
                        <a:pt x="268" y="186"/>
                      </a:lnTo>
                      <a:lnTo>
                        <a:pt x="278" y="204"/>
                      </a:lnTo>
                      <a:lnTo>
                        <a:pt x="287" y="218"/>
                      </a:lnTo>
                      <a:lnTo>
                        <a:pt x="291" y="240"/>
                      </a:lnTo>
                      <a:lnTo>
                        <a:pt x="287" y="259"/>
                      </a:lnTo>
                      <a:lnTo>
                        <a:pt x="282" y="272"/>
                      </a:lnTo>
                      <a:lnTo>
                        <a:pt x="273" y="286"/>
                      </a:lnTo>
                      <a:lnTo>
                        <a:pt x="268" y="304"/>
                      </a:lnTo>
                      <a:lnTo>
                        <a:pt x="268" y="313"/>
                      </a:lnTo>
                      <a:lnTo>
                        <a:pt x="278" y="322"/>
                      </a:lnTo>
                      <a:lnTo>
                        <a:pt x="282" y="331"/>
                      </a:lnTo>
                      <a:lnTo>
                        <a:pt x="282" y="340"/>
                      </a:lnTo>
                      <a:lnTo>
                        <a:pt x="282" y="354"/>
                      </a:lnTo>
                      <a:lnTo>
                        <a:pt x="278" y="363"/>
                      </a:lnTo>
                      <a:lnTo>
                        <a:pt x="268" y="368"/>
                      </a:lnTo>
                      <a:lnTo>
                        <a:pt x="268" y="377"/>
                      </a:lnTo>
                      <a:lnTo>
                        <a:pt x="268" y="395"/>
                      </a:lnTo>
                      <a:lnTo>
                        <a:pt x="268" y="413"/>
                      </a:lnTo>
                      <a:lnTo>
                        <a:pt x="268" y="431"/>
                      </a:lnTo>
                      <a:lnTo>
                        <a:pt x="268" y="454"/>
                      </a:lnTo>
                      <a:lnTo>
                        <a:pt x="273" y="468"/>
                      </a:lnTo>
                      <a:lnTo>
                        <a:pt x="282" y="472"/>
                      </a:lnTo>
                      <a:lnTo>
                        <a:pt x="287" y="481"/>
                      </a:lnTo>
                      <a:lnTo>
                        <a:pt x="291" y="490"/>
                      </a:lnTo>
                      <a:lnTo>
                        <a:pt x="282" y="504"/>
                      </a:lnTo>
                      <a:lnTo>
                        <a:pt x="259" y="518"/>
                      </a:lnTo>
                      <a:lnTo>
                        <a:pt x="232" y="527"/>
                      </a:lnTo>
                      <a:lnTo>
                        <a:pt x="205" y="531"/>
                      </a:lnTo>
                      <a:lnTo>
                        <a:pt x="177" y="527"/>
                      </a:lnTo>
                      <a:lnTo>
                        <a:pt x="159" y="513"/>
                      </a:lnTo>
                      <a:lnTo>
                        <a:pt x="141" y="500"/>
                      </a:lnTo>
                      <a:lnTo>
                        <a:pt x="118" y="486"/>
                      </a:lnTo>
                      <a:lnTo>
                        <a:pt x="95" y="472"/>
                      </a:lnTo>
                      <a:lnTo>
                        <a:pt x="63" y="454"/>
                      </a:lnTo>
                      <a:lnTo>
                        <a:pt x="41" y="436"/>
                      </a:lnTo>
                      <a:lnTo>
                        <a:pt x="32" y="413"/>
                      </a:lnTo>
                      <a:lnTo>
                        <a:pt x="36" y="409"/>
                      </a:lnTo>
                      <a:lnTo>
                        <a:pt x="36" y="404"/>
                      </a:lnTo>
                      <a:lnTo>
                        <a:pt x="41" y="400"/>
                      </a:lnTo>
                      <a:lnTo>
                        <a:pt x="41" y="390"/>
                      </a:lnTo>
                      <a:lnTo>
                        <a:pt x="36" y="377"/>
                      </a:lnTo>
                      <a:lnTo>
                        <a:pt x="32" y="368"/>
                      </a:lnTo>
                      <a:lnTo>
                        <a:pt x="22" y="363"/>
                      </a:lnTo>
                      <a:lnTo>
                        <a:pt x="18" y="350"/>
                      </a:lnTo>
                      <a:lnTo>
                        <a:pt x="22" y="327"/>
                      </a:lnTo>
                      <a:lnTo>
                        <a:pt x="32" y="313"/>
                      </a:lnTo>
                      <a:lnTo>
                        <a:pt x="36" y="300"/>
                      </a:lnTo>
                      <a:lnTo>
                        <a:pt x="41" y="281"/>
                      </a:lnTo>
                      <a:lnTo>
                        <a:pt x="41" y="272"/>
                      </a:lnTo>
                      <a:lnTo>
                        <a:pt x="36" y="268"/>
                      </a:lnTo>
                      <a:lnTo>
                        <a:pt x="32" y="259"/>
                      </a:lnTo>
                      <a:lnTo>
                        <a:pt x="27" y="254"/>
                      </a:lnTo>
                      <a:lnTo>
                        <a:pt x="22" y="227"/>
                      </a:lnTo>
                      <a:lnTo>
                        <a:pt x="22" y="204"/>
                      </a:lnTo>
                      <a:lnTo>
                        <a:pt x="18" y="177"/>
                      </a:lnTo>
                      <a:lnTo>
                        <a:pt x="4" y="159"/>
                      </a:lnTo>
                      <a:lnTo>
                        <a:pt x="4" y="159"/>
                      </a:lnTo>
                      <a:lnTo>
                        <a:pt x="0" y="159"/>
                      </a:lnTo>
                      <a:lnTo>
                        <a:pt x="0" y="159"/>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37" name="Freeform 294">
                  <a:extLst>
                    <a:ext uri="{FF2B5EF4-FFF2-40B4-BE49-F238E27FC236}">
                      <a16:creationId xmlns="" xmlns:a16="http://schemas.microsoft.com/office/drawing/2014/main" id="{1AEDDA62-EBFF-405B-8E4F-D9DC523D0FAD}"/>
                    </a:ext>
                  </a:extLst>
                </p:cNvPr>
                <p:cNvSpPr>
                  <a:spLocks noChangeAspect="1"/>
                </p:cNvSpPr>
                <p:nvPr/>
              </p:nvSpPr>
              <p:spPr bwMode="auto">
                <a:xfrm>
                  <a:off x="3636" y="1205"/>
                  <a:ext cx="542" cy="350"/>
                </a:xfrm>
                <a:custGeom>
                  <a:avLst/>
                  <a:gdLst>
                    <a:gd name="T0" fmla="*/ 501 w 542"/>
                    <a:gd name="T1" fmla="*/ 81 h 350"/>
                    <a:gd name="T2" fmla="*/ 506 w 542"/>
                    <a:gd name="T3" fmla="*/ 90 h 350"/>
                    <a:gd name="T4" fmla="*/ 528 w 542"/>
                    <a:gd name="T5" fmla="*/ 104 h 350"/>
                    <a:gd name="T6" fmla="*/ 528 w 542"/>
                    <a:gd name="T7" fmla="*/ 145 h 350"/>
                    <a:gd name="T8" fmla="*/ 501 w 542"/>
                    <a:gd name="T9" fmla="*/ 204 h 350"/>
                    <a:gd name="T10" fmla="*/ 492 w 542"/>
                    <a:gd name="T11" fmla="*/ 245 h 350"/>
                    <a:gd name="T12" fmla="*/ 492 w 542"/>
                    <a:gd name="T13" fmla="*/ 259 h 350"/>
                    <a:gd name="T14" fmla="*/ 483 w 542"/>
                    <a:gd name="T15" fmla="*/ 268 h 350"/>
                    <a:gd name="T16" fmla="*/ 478 w 542"/>
                    <a:gd name="T17" fmla="*/ 281 h 350"/>
                    <a:gd name="T18" fmla="*/ 465 w 542"/>
                    <a:gd name="T19" fmla="*/ 295 h 350"/>
                    <a:gd name="T20" fmla="*/ 451 w 542"/>
                    <a:gd name="T21" fmla="*/ 340 h 350"/>
                    <a:gd name="T22" fmla="*/ 428 w 542"/>
                    <a:gd name="T23" fmla="*/ 345 h 350"/>
                    <a:gd name="T24" fmla="*/ 373 w 542"/>
                    <a:gd name="T25" fmla="*/ 313 h 350"/>
                    <a:gd name="T26" fmla="*/ 342 w 542"/>
                    <a:gd name="T27" fmla="*/ 309 h 350"/>
                    <a:gd name="T28" fmla="*/ 328 w 542"/>
                    <a:gd name="T29" fmla="*/ 322 h 350"/>
                    <a:gd name="T30" fmla="*/ 314 w 542"/>
                    <a:gd name="T31" fmla="*/ 318 h 350"/>
                    <a:gd name="T32" fmla="*/ 296 w 542"/>
                    <a:gd name="T33" fmla="*/ 304 h 350"/>
                    <a:gd name="T34" fmla="*/ 287 w 542"/>
                    <a:gd name="T35" fmla="*/ 300 h 350"/>
                    <a:gd name="T36" fmla="*/ 246 w 542"/>
                    <a:gd name="T37" fmla="*/ 309 h 350"/>
                    <a:gd name="T38" fmla="*/ 228 w 542"/>
                    <a:gd name="T39" fmla="*/ 286 h 350"/>
                    <a:gd name="T40" fmla="*/ 209 w 542"/>
                    <a:gd name="T41" fmla="*/ 268 h 350"/>
                    <a:gd name="T42" fmla="*/ 178 w 542"/>
                    <a:gd name="T43" fmla="*/ 295 h 350"/>
                    <a:gd name="T44" fmla="*/ 159 w 542"/>
                    <a:gd name="T45" fmla="*/ 309 h 350"/>
                    <a:gd name="T46" fmla="*/ 123 w 542"/>
                    <a:gd name="T47" fmla="*/ 290 h 350"/>
                    <a:gd name="T48" fmla="*/ 100 w 542"/>
                    <a:gd name="T49" fmla="*/ 277 h 350"/>
                    <a:gd name="T50" fmla="*/ 82 w 542"/>
                    <a:gd name="T51" fmla="*/ 254 h 350"/>
                    <a:gd name="T52" fmla="*/ 73 w 542"/>
                    <a:gd name="T53" fmla="*/ 231 h 350"/>
                    <a:gd name="T54" fmla="*/ 82 w 542"/>
                    <a:gd name="T55" fmla="*/ 209 h 350"/>
                    <a:gd name="T56" fmla="*/ 86 w 542"/>
                    <a:gd name="T57" fmla="*/ 190 h 350"/>
                    <a:gd name="T58" fmla="*/ 73 w 542"/>
                    <a:gd name="T59" fmla="*/ 163 h 350"/>
                    <a:gd name="T60" fmla="*/ 50 w 542"/>
                    <a:gd name="T61" fmla="*/ 150 h 350"/>
                    <a:gd name="T62" fmla="*/ 41 w 542"/>
                    <a:gd name="T63" fmla="*/ 136 h 350"/>
                    <a:gd name="T64" fmla="*/ 36 w 542"/>
                    <a:gd name="T65" fmla="*/ 122 h 350"/>
                    <a:gd name="T66" fmla="*/ 14 w 542"/>
                    <a:gd name="T67" fmla="*/ 118 h 350"/>
                    <a:gd name="T68" fmla="*/ 0 w 542"/>
                    <a:gd name="T69" fmla="*/ 104 h 350"/>
                    <a:gd name="T70" fmla="*/ 4 w 542"/>
                    <a:gd name="T71" fmla="*/ 90 h 350"/>
                    <a:gd name="T72" fmla="*/ 4 w 542"/>
                    <a:gd name="T73" fmla="*/ 77 h 350"/>
                    <a:gd name="T74" fmla="*/ 14 w 542"/>
                    <a:gd name="T75" fmla="*/ 81 h 350"/>
                    <a:gd name="T76" fmla="*/ 23 w 542"/>
                    <a:gd name="T77" fmla="*/ 81 h 350"/>
                    <a:gd name="T78" fmla="*/ 77 w 542"/>
                    <a:gd name="T79" fmla="*/ 68 h 350"/>
                    <a:gd name="T80" fmla="*/ 109 w 542"/>
                    <a:gd name="T81" fmla="*/ 45 h 350"/>
                    <a:gd name="T82" fmla="*/ 132 w 542"/>
                    <a:gd name="T83" fmla="*/ 86 h 350"/>
                    <a:gd name="T84" fmla="*/ 168 w 542"/>
                    <a:gd name="T85" fmla="*/ 118 h 350"/>
                    <a:gd name="T86" fmla="*/ 191 w 542"/>
                    <a:gd name="T87" fmla="*/ 109 h 350"/>
                    <a:gd name="T88" fmla="*/ 214 w 542"/>
                    <a:gd name="T89" fmla="*/ 95 h 350"/>
                    <a:gd name="T90" fmla="*/ 255 w 542"/>
                    <a:gd name="T91" fmla="*/ 81 h 350"/>
                    <a:gd name="T92" fmla="*/ 305 w 542"/>
                    <a:gd name="T93" fmla="*/ 77 h 350"/>
                    <a:gd name="T94" fmla="*/ 323 w 542"/>
                    <a:gd name="T95" fmla="*/ 59 h 350"/>
                    <a:gd name="T96" fmla="*/ 346 w 542"/>
                    <a:gd name="T97" fmla="*/ 45 h 350"/>
                    <a:gd name="T98" fmla="*/ 378 w 542"/>
                    <a:gd name="T99" fmla="*/ 59 h 350"/>
                    <a:gd name="T100" fmla="*/ 405 w 542"/>
                    <a:gd name="T101" fmla="*/ 72 h 350"/>
                    <a:gd name="T102" fmla="*/ 455 w 542"/>
                    <a:gd name="T103" fmla="*/ 50 h 350"/>
                    <a:gd name="T104" fmla="*/ 496 w 542"/>
                    <a:gd name="T105" fmla="*/ 13 h 350"/>
                    <a:gd name="T106" fmla="*/ 496 w 542"/>
                    <a:gd name="T107" fmla="*/ 0 h 350"/>
                    <a:gd name="T108" fmla="*/ 501 w 542"/>
                    <a:gd name="T109" fmla="*/ 4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42" h="350">
                      <a:moveTo>
                        <a:pt x="501" y="4"/>
                      </a:moveTo>
                      <a:lnTo>
                        <a:pt x="501" y="81"/>
                      </a:lnTo>
                      <a:lnTo>
                        <a:pt x="501" y="81"/>
                      </a:lnTo>
                      <a:lnTo>
                        <a:pt x="506" y="90"/>
                      </a:lnTo>
                      <a:lnTo>
                        <a:pt x="515" y="100"/>
                      </a:lnTo>
                      <a:lnTo>
                        <a:pt x="528" y="104"/>
                      </a:lnTo>
                      <a:lnTo>
                        <a:pt x="542" y="113"/>
                      </a:lnTo>
                      <a:lnTo>
                        <a:pt x="528" y="145"/>
                      </a:lnTo>
                      <a:lnTo>
                        <a:pt x="515" y="172"/>
                      </a:lnTo>
                      <a:lnTo>
                        <a:pt x="501" y="204"/>
                      </a:lnTo>
                      <a:lnTo>
                        <a:pt x="492" y="240"/>
                      </a:lnTo>
                      <a:lnTo>
                        <a:pt x="492" y="245"/>
                      </a:lnTo>
                      <a:lnTo>
                        <a:pt x="492" y="250"/>
                      </a:lnTo>
                      <a:lnTo>
                        <a:pt x="492" y="259"/>
                      </a:lnTo>
                      <a:lnTo>
                        <a:pt x="487" y="263"/>
                      </a:lnTo>
                      <a:lnTo>
                        <a:pt x="483" y="268"/>
                      </a:lnTo>
                      <a:lnTo>
                        <a:pt x="483" y="277"/>
                      </a:lnTo>
                      <a:lnTo>
                        <a:pt x="478" y="281"/>
                      </a:lnTo>
                      <a:lnTo>
                        <a:pt x="474" y="281"/>
                      </a:lnTo>
                      <a:lnTo>
                        <a:pt x="465" y="295"/>
                      </a:lnTo>
                      <a:lnTo>
                        <a:pt x="455" y="318"/>
                      </a:lnTo>
                      <a:lnTo>
                        <a:pt x="451" y="340"/>
                      </a:lnTo>
                      <a:lnTo>
                        <a:pt x="451" y="350"/>
                      </a:lnTo>
                      <a:lnTo>
                        <a:pt x="428" y="345"/>
                      </a:lnTo>
                      <a:lnTo>
                        <a:pt x="401" y="327"/>
                      </a:lnTo>
                      <a:lnTo>
                        <a:pt x="373" y="313"/>
                      </a:lnTo>
                      <a:lnTo>
                        <a:pt x="346" y="309"/>
                      </a:lnTo>
                      <a:lnTo>
                        <a:pt x="342" y="309"/>
                      </a:lnTo>
                      <a:lnTo>
                        <a:pt x="337" y="313"/>
                      </a:lnTo>
                      <a:lnTo>
                        <a:pt x="328" y="322"/>
                      </a:lnTo>
                      <a:lnTo>
                        <a:pt x="323" y="322"/>
                      </a:lnTo>
                      <a:lnTo>
                        <a:pt x="314" y="318"/>
                      </a:lnTo>
                      <a:lnTo>
                        <a:pt x="305" y="313"/>
                      </a:lnTo>
                      <a:lnTo>
                        <a:pt x="296" y="304"/>
                      </a:lnTo>
                      <a:lnTo>
                        <a:pt x="287" y="300"/>
                      </a:lnTo>
                      <a:lnTo>
                        <a:pt x="287" y="300"/>
                      </a:lnTo>
                      <a:lnTo>
                        <a:pt x="246" y="309"/>
                      </a:lnTo>
                      <a:lnTo>
                        <a:pt x="246" y="309"/>
                      </a:lnTo>
                      <a:lnTo>
                        <a:pt x="232" y="300"/>
                      </a:lnTo>
                      <a:lnTo>
                        <a:pt x="228" y="286"/>
                      </a:lnTo>
                      <a:lnTo>
                        <a:pt x="219" y="272"/>
                      </a:lnTo>
                      <a:lnTo>
                        <a:pt x="209" y="268"/>
                      </a:lnTo>
                      <a:lnTo>
                        <a:pt x="191" y="277"/>
                      </a:lnTo>
                      <a:lnTo>
                        <a:pt x="178" y="295"/>
                      </a:lnTo>
                      <a:lnTo>
                        <a:pt x="168" y="309"/>
                      </a:lnTo>
                      <a:lnTo>
                        <a:pt x="159" y="309"/>
                      </a:lnTo>
                      <a:lnTo>
                        <a:pt x="141" y="295"/>
                      </a:lnTo>
                      <a:lnTo>
                        <a:pt x="123" y="290"/>
                      </a:lnTo>
                      <a:lnTo>
                        <a:pt x="109" y="286"/>
                      </a:lnTo>
                      <a:lnTo>
                        <a:pt x="100" y="277"/>
                      </a:lnTo>
                      <a:lnTo>
                        <a:pt x="91" y="268"/>
                      </a:lnTo>
                      <a:lnTo>
                        <a:pt x="82" y="254"/>
                      </a:lnTo>
                      <a:lnTo>
                        <a:pt x="77" y="245"/>
                      </a:lnTo>
                      <a:lnTo>
                        <a:pt x="73" y="231"/>
                      </a:lnTo>
                      <a:lnTo>
                        <a:pt x="73" y="218"/>
                      </a:lnTo>
                      <a:lnTo>
                        <a:pt x="82" y="209"/>
                      </a:lnTo>
                      <a:lnTo>
                        <a:pt x="86" y="204"/>
                      </a:lnTo>
                      <a:lnTo>
                        <a:pt x="86" y="190"/>
                      </a:lnTo>
                      <a:lnTo>
                        <a:pt x="82" y="172"/>
                      </a:lnTo>
                      <a:lnTo>
                        <a:pt x="73" y="163"/>
                      </a:lnTo>
                      <a:lnTo>
                        <a:pt x="59" y="159"/>
                      </a:lnTo>
                      <a:lnTo>
                        <a:pt x="50" y="150"/>
                      </a:lnTo>
                      <a:lnTo>
                        <a:pt x="45" y="145"/>
                      </a:lnTo>
                      <a:lnTo>
                        <a:pt x="41" y="136"/>
                      </a:lnTo>
                      <a:lnTo>
                        <a:pt x="41" y="127"/>
                      </a:lnTo>
                      <a:lnTo>
                        <a:pt x="36" y="122"/>
                      </a:lnTo>
                      <a:lnTo>
                        <a:pt x="23" y="122"/>
                      </a:lnTo>
                      <a:lnTo>
                        <a:pt x="14" y="118"/>
                      </a:lnTo>
                      <a:lnTo>
                        <a:pt x="4" y="118"/>
                      </a:lnTo>
                      <a:lnTo>
                        <a:pt x="0" y="104"/>
                      </a:lnTo>
                      <a:lnTo>
                        <a:pt x="0" y="95"/>
                      </a:lnTo>
                      <a:lnTo>
                        <a:pt x="4" y="90"/>
                      </a:lnTo>
                      <a:lnTo>
                        <a:pt x="4" y="81"/>
                      </a:lnTo>
                      <a:lnTo>
                        <a:pt x="4" y="77"/>
                      </a:lnTo>
                      <a:lnTo>
                        <a:pt x="9" y="81"/>
                      </a:lnTo>
                      <a:lnTo>
                        <a:pt x="14" y="81"/>
                      </a:lnTo>
                      <a:lnTo>
                        <a:pt x="18" y="81"/>
                      </a:lnTo>
                      <a:lnTo>
                        <a:pt x="23" y="81"/>
                      </a:lnTo>
                      <a:lnTo>
                        <a:pt x="50" y="77"/>
                      </a:lnTo>
                      <a:lnTo>
                        <a:pt x="77" y="68"/>
                      </a:lnTo>
                      <a:lnTo>
                        <a:pt x="100" y="59"/>
                      </a:lnTo>
                      <a:lnTo>
                        <a:pt x="109" y="45"/>
                      </a:lnTo>
                      <a:lnTo>
                        <a:pt x="118" y="63"/>
                      </a:lnTo>
                      <a:lnTo>
                        <a:pt x="132" y="86"/>
                      </a:lnTo>
                      <a:lnTo>
                        <a:pt x="150" y="109"/>
                      </a:lnTo>
                      <a:lnTo>
                        <a:pt x="168" y="118"/>
                      </a:lnTo>
                      <a:lnTo>
                        <a:pt x="178" y="113"/>
                      </a:lnTo>
                      <a:lnTo>
                        <a:pt x="191" y="109"/>
                      </a:lnTo>
                      <a:lnTo>
                        <a:pt x="205" y="100"/>
                      </a:lnTo>
                      <a:lnTo>
                        <a:pt x="214" y="95"/>
                      </a:lnTo>
                      <a:lnTo>
                        <a:pt x="237" y="86"/>
                      </a:lnTo>
                      <a:lnTo>
                        <a:pt x="255" y="81"/>
                      </a:lnTo>
                      <a:lnTo>
                        <a:pt x="278" y="77"/>
                      </a:lnTo>
                      <a:lnTo>
                        <a:pt x="305" y="77"/>
                      </a:lnTo>
                      <a:lnTo>
                        <a:pt x="319" y="72"/>
                      </a:lnTo>
                      <a:lnTo>
                        <a:pt x="323" y="59"/>
                      </a:lnTo>
                      <a:lnTo>
                        <a:pt x="332" y="50"/>
                      </a:lnTo>
                      <a:lnTo>
                        <a:pt x="346" y="45"/>
                      </a:lnTo>
                      <a:lnTo>
                        <a:pt x="364" y="50"/>
                      </a:lnTo>
                      <a:lnTo>
                        <a:pt x="378" y="59"/>
                      </a:lnTo>
                      <a:lnTo>
                        <a:pt x="387" y="68"/>
                      </a:lnTo>
                      <a:lnTo>
                        <a:pt x="405" y="72"/>
                      </a:lnTo>
                      <a:lnTo>
                        <a:pt x="428" y="68"/>
                      </a:lnTo>
                      <a:lnTo>
                        <a:pt x="455" y="50"/>
                      </a:lnTo>
                      <a:lnTo>
                        <a:pt x="478" y="31"/>
                      </a:lnTo>
                      <a:lnTo>
                        <a:pt x="496" y="13"/>
                      </a:lnTo>
                      <a:lnTo>
                        <a:pt x="496" y="13"/>
                      </a:lnTo>
                      <a:lnTo>
                        <a:pt x="496" y="0"/>
                      </a:lnTo>
                      <a:lnTo>
                        <a:pt x="501" y="4"/>
                      </a:lnTo>
                      <a:lnTo>
                        <a:pt x="501" y="4"/>
                      </a:lnTo>
                      <a:close/>
                    </a:path>
                  </a:pathLst>
                </a:custGeom>
                <a:solidFill>
                  <a:schemeClr val="accent2"/>
                </a:solid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grpSp>
          <p:grpSp>
            <p:nvGrpSpPr>
              <p:cNvPr id="16" name="Group 295">
                <a:extLst>
                  <a:ext uri="{FF2B5EF4-FFF2-40B4-BE49-F238E27FC236}">
                    <a16:creationId xmlns="" xmlns:a16="http://schemas.microsoft.com/office/drawing/2014/main" id="{371B6B9A-F6EA-456D-AF6A-0982196B6E32}"/>
                  </a:ext>
                </a:extLst>
              </p:cNvPr>
              <p:cNvGrpSpPr>
                <a:grpSpLocks noChangeAspect="1"/>
              </p:cNvGrpSpPr>
              <p:nvPr/>
            </p:nvGrpSpPr>
            <p:grpSpPr bwMode="auto">
              <a:xfrm>
                <a:off x="4650" y="1408"/>
                <a:ext cx="252" cy="593"/>
                <a:chOff x="4087" y="955"/>
                <a:chExt cx="346" cy="754"/>
              </a:xfrm>
              <a:grpFill/>
            </p:grpSpPr>
            <p:sp>
              <p:nvSpPr>
                <p:cNvPr id="32" name="Freeform 296">
                  <a:extLst>
                    <a:ext uri="{FF2B5EF4-FFF2-40B4-BE49-F238E27FC236}">
                      <a16:creationId xmlns="" xmlns:a16="http://schemas.microsoft.com/office/drawing/2014/main" id="{E1574731-E792-45CF-BC0F-42C174F8F9F0}"/>
                    </a:ext>
                  </a:extLst>
                </p:cNvPr>
                <p:cNvSpPr>
                  <a:spLocks noChangeAspect="1"/>
                </p:cNvSpPr>
                <p:nvPr/>
              </p:nvSpPr>
              <p:spPr bwMode="auto">
                <a:xfrm>
                  <a:off x="4096" y="955"/>
                  <a:ext cx="337" cy="436"/>
                </a:xfrm>
                <a:custGeom>
                  <a:avLst/>
                  <a:gdLst>
                    <a:gd name="T0" fmla="*/ 200 w 337"/>
                    <a:gd name="T1" fmla="*/ 427 h 436"/>
                    <a:gd name="T2" fmla="*/ 210 w 337"/>
                    <a:gd name="T3" fmla="*/ 404 h 436"/>
                    <a:gd name="T4" fmla="*/ 219 w 337"/>
                    <a:gd name="T5" fmla="*/ 372 h 436"/>
                    <a:gd name="T6" fmla="*/ 232 w 337"/>
                    <a:gd name="T7" fmla="*/ 318 h 436"/>
                    <a:gd name="T8" fmla="*/ 241 w 337"/>
                    <a:gd name="T9" fmla="*/ 259 h 436"/>
                    <a:gd name="T10" fmla="*/ 260 w 337"/>
                    <a:gd name="T11" fmla="*/ 204 h 436"/>
                    <a:gd name="T12" fmla="*/ 278 w 337"/>
                    <a:gd name="T13" fmla="*/ 163 h 436"/>
                    <a:gd name="T14" fmla="*/ 301 w 337"/>
                    <a:gd name="T15" fmla="*/ 136 h 436"/>
                    <a:gd name="T16" fmla="*/ 323 w 337"/>
                    <a:gd name="T17" fmla="*/ 104 h 436"/>
                    <a:gd name="T18" fmla="*/ 337 w 337"/>
                    <a:gd name="T19" fmla="*/ 68 h 436"/>
                    <a:gd name="T20" fmla="*/ 323 w 337"/>
                    <a:gd name="T21" fmla="*/ 31 h 436"/>
                    <a:gd name="T22" fmla="*/ 264 w 337"/>
                    <a:gd name="T23" fmla="*/ 4 h 436"/>
                    <a:gd name="T24" fmla="*/ 241 w 337"/>
                    <a:gd name="T25" fmla="*/ 0 h 436"/>
                    <a:gd name="T26" fmla="*/ 187 w 337"/>
                    <a:gd name="T27" fmla="*/ 4 h 436"/>
                    <a:gd name="T28" fmla="*/ 182 w 337"/>
                    <a:gd name="T29" fmla="*/ 0 h 436"/>
                    <a:gd name="T30" fmla="*/ 173 w 337"/>
                    <a:gd name="T31" fmla="*/ 0 h 436"/>
                    <a:gd name="T32" fmla="*/ 164 w 337"/>
                    <a:gd name="T33" fmla="*/ 40 h 436"/>
                    <a:gd name="T34" fmla="*/ 128 w 337"/>
                    <a:gd name="T35" fmla="*/ 59 h 436"/>
                    <a:gd name="T36" fmla="*/ 87 w 337"/>
                    <a:gd name="T37" fmla="*/ 50 h 436"/>
                    <a:gd name="T38" fmla="*/ 50 w 337"/>
                    <a:gd name="T39" fmla="*/ 40 h 436"/>
                    <a:gd name="T40" fmla="*/ 14 w 337"/>
                    <a:gd name="T41" fmla="*/ 45 h 436"/>
                    <a:gd name="T42" fmla="*/ 0 w 337"/>
                    <a:gd name="T43" fmla="*/ 72 h 436"/>
                    <a:gd name="T44" fmla="*/ 14 w 337"/>
                    <a:gd name="T45" fmla="*/ 95 h 436"/>
                    <a:gd name="T46" fmla="*/ 23 w 337"/>
                    <a:gd name="T47" fmla="*/ 118 h 436"/>
                    <a:gd name="T48" fmla="*/ 23 w 337"/>
                    <a:gd name="T49" fmla="*/ 131 h 436"/>
                    <a:gd name="T50" fmla="*/ 32 w 337"/>
                    <a:gd name="T51" fmla="*/ 136 h 436"/>
                    <a:gd name="T52" fmla="*/ 46 w 337"/>
                    <a:gd name="T53" fmla="*/ 127 h 436"/>
                    <a:gd name="T54" fmla="*/ 59 w 337"/>
                    <a:gd name="T55" fmla="*/ 122 h 436"/>
                    <a:gd name="T56" fmla="*/ 87 w 337"/>
                    <a:gd name="T57" fmla="*/ 145 h 436"/>
                    <a:gd name="T58" fmla="*/ 96 w 337"/>
                    <a:gd name="T59" fmla="*/ 186 h 436"/>
                    <a:gd name="T60" fmla="*/ 87 w 337"/>
                    <a:gd name="T61" fmla="*/ 231 h 436"/>
                    <a:gd name="T62" fmla="*/ 41 w 337"/>
                    <a:gd name="T63" fmla="*/ 250 h 436"/>
                    <a:gd name="T64" fmla="*/ 41 w 337"/>
                    <a:gd name="T65" fmla="*/ 331 h 436"/>
                    <a:gd name="T66" fmla="*/ 55 w 337"/>
                    <a:gd name="T67" fmla="*/ 345 h 436"/>
                    <a:gd name="T68" fmla="*/ 100 w 337"/>
                    <a:gd name="T69" fmla="*/ 368 h 436"/>
                    <a:gd name="T70" fmla="*/ 141 w 337"/>
                    <a:gd name="T71" fmla="*/ 386 h 436"/>
                    <a:gd name="T72" fmla="*/ 178 w 337"/>
                    <a:gd name="T73" fmla="*/ 418 h 436"/>
                    <a:gd name="T74" fmla="*/ 196 w 337"/>
                    <a:gd name="T75" fmla="*/ 427 h 436"/>
                    <a:gd name="T76" fmla="*/ 196 w 337"/>
                    <a:gd name="T77"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7" h="436">
                      <a:moveTo>
                        <a:pt x="196" y="436"/>
                      </a:moveTo>
                      <a:lnTo>
                        <a:pt x="200" y="427"/>
                      </a:lnTo>
                      <a:lnTo>
                        <a:pt x="205" y="413"/>
                      </a:lnTo>
                      <a:lnTo>
                        <a:pt x="210" y="404"/>
                      </a:lnTo>
                      <a:lnTo>
                        <a:pt x="214" y="395"/>
                      </a:lnTo>
                      <a:lnTo>
                        <a:pt x="219" y="372"/>
                      </a:lnTo>
                      <a:lnTo>
                        <a:pt x="228" y="345"/>
                      </a:lnTo>
                      <a:lnTo>
                        <a:pt x="232" y="318"/>
                      </a:lnTo>
                      <a:lnTo>
                        <a:pt x="237" y="286"/>
                      </a:lnTo>
                      <a:lnTo>
                        <a:pt x="241" y="259"/>
                      </a:lnTo>
                      <a:lnTo>
                        <a:pt x="251" y="231"/>
                      </a:lnTo>
                      <a:lnTo>
                        <a:pt x="260" y="204"/>
                      </a:lnTo>
                      <a:lnTo>
                        <a:pt x="269" y="181"/>
                      </a:lnTo>
                      <a:lnTo>
                        <a:pt x="278" y="163"/>
                      </a:lnTo>
                      <a:lnTo>
                        <a:pt x="292" y="150"/>
                      </a:lnTo>
                      <a:lnTo>
                        <a:pt x="301" y="136"/>
                      </a:lnTo>
                      <a:lnTo>
                        <a:pt x="314" y="122"/>
                      </a:lnTo>
                      <a:lnTo>
                        <a:pt x="323" y="104"/>
                      </a:lnTo>
                      <a:lnTo>
                        <a:pt x="333" y="90"/>
                      </a:lnTo>
                      <a:lnTo>
                        <a:pt x="337" y="68"/>
                      </a:lnTo>
                      <a:lnTo>
                        <a:pt x="337" y="45"/>
                      </a:lnTo>
                      <a:lnTo>
                        <a:pt x="323" y="31"/>
                      </a:lnTo>
                      <a:lnTo>
                        <a:pt x="296" y="13"/>
                      </a:lnTo>
                      <a:lnTo>
                        <a:pt x="264" y="4"/>
                      </a:lnTo>
                      <a:lnTo>
                        <a:pt x="241" y="0"/>
                      </a:lnTo>
                      <a:lnTo>
                        <a:pt x="241" y="0"/>
                      </a:lnTo>
                      <a:lnTo>
                        <a:pt x="187" y="4"/>
                      </a:lnTo>
                      <a:lnTo>
                        <a:pt x="187" y="4"/>
                      </a:lnTo>
                      <a:lnTo>
                        <a:pt x="182" y="4"/>
                      </a:lnTo>
                      <a:lnTo>
                        <a:pt x="182" y="0"/>
                      </a:lnTo>
                      <a:lnTo>
                        <a:pt x="178" y="0"/>
                      </a:lnTo>
                      <a:lnTo>
                        <a:pt x="173" y="0"/>
                      </a:lnTo>
                      <a:lnTo>
                        <a:pt x="169" y="22"/>
                      </a:lnTo>
                      <a:lnTo>
                        <a:pt x="164" y="40"/>
                      </a:lnTo>
                      <a:lnTo>
                        <a:pt x="150" y="54"/>
                      </a:lnTo>
                      <a:lnTo>
                        <a:pt x="128" y="59"/>
                      </a:lnTo>
                      <a:lnTo>
                        <a:pt x="105" y="54"/>
                      </a:lnTo>
                      <a:lnTo>
                        <a:pt x="87" y="50"/>
                      </a:lnTo>
                      <a:lnTo>
                        <a:pt x="68" y="45"/>
                      </a:lnTo>
                      <a:lnTo>
                        <a:pt x="50" y="40"/>
                      </a:lnTo>
                      <a:lnTo>
                        <a:pt x="32" y="40"/>
                      </a:lnTo>
                      <a:lnTo>
                        <a:pt x="14" y="45"/>
                      </a:lnTo>
                      <a:lnTo>
                        <a:pt x="5" y="54"/>
                      </a:lnTo>
                      <a:lnTo>
                        <a:pt x="0" y="72"/>
                      </a:lnTo>
                      <a:lnTo>
                        <a:pt x="5" y="86"/>
                      </a:lnTo>
                      <a:lnTo>
                        <a:pt x="14" y="95"/>
                      </a:lnTo>
                      <a:lnTo>
                        <a:pt x="18" y="104"/>
                      </a:lnTo>
                      <a:lnTo>
                        <a:pt x="23" y="118"/>
                      </a:lnTo>
                      <a:lnTo>
                        <a:pt x="23" y="122"/>
                      </a:lnTo>
                      <a:lnTo>
                        <a:pt x="23" y="131"/>
                      </a:lnTo>
                      <a:lnTo>
                        <a:pt x="23" y="136"/>
                      </a:lnTo>
                      <a:lnTo>
                        <a:pt x="32" y="136"/>
                      </a:lnTo>
                      <a:lnTo>
                        <a:pt x="41" y="136"/>
                      </a:lnTo>
                      <a:lnTo>
                        <a:pt x="46" y="127"/>
                      </a:lnTo>
                      <a:lnTo>
                        <a:pt x="50" y="122"/>
                      </a:lnTo>
                      <a:lnTo>
                        <a:pt x="59" y="122"/>
                      </a:lnTo>
                      <a:lnTo>
                        <a:pt x="77" y="127"/>
                      </a:lnTo>
                      <a:lnTo>
                        <a:pt x="87" y="145"/>
                      </a:lnTo>
                      <a:lnTo>
                        <a:pt x="91" y="168"/>
                      </a:lnTo>
                      <a:lnTo>
                        <a:pt x="96" y="186"/>
                      </a:lnTo>
                      <a:lnTo>
                        <a:pt x="96" y="213"/>
                      </a:lnTo>
                      <a:lnTo>
                        <a:pt x="87" y="231"/>
                      </a:lnTo>
                      <a:lnTo>
                        <a:pt x="64" y="240"/>
                      </a:lnTo>
                      <a:lnTo>
                        <a:pt x="41" y="250"/>
                      </a:lnTo>
                      <a:lnTo>
                        <a:pt x="41" y="250"/>
                      </a:lnTo>
                      <a:lnTo>
                        <a:pt x="41" y="331"/>
                      </a:lnTo>
                      <a:lnTo>
                        <a:pt x="41" y="331"/>
                      </a:lnTo>
                      <a:lnTo>
                        <a:pt x="55" y="345"/>
                      </a:lnTo>
                      <a:lnTo>
                        <a:pt x="77" y="359"/>
                      </a:lnTo>
                      <a:lnTo>
                        <a:pt x="100" y="368"/>
                      </a:lnTo>
                      <a:lnTo>
                        <a:pt x="123" y="372"/>
                      </a:lnTo>
                      <a:lnTo>
                        <a:pt x="141" y="386"/>
                      </a:lnTo>
                      <a:lnTo>
                        <a:pt x="159" y="400"/>
                      </a:lnTo>
                      <a:lnTo>
                        <a:pt x="178" y="418"/>
                      </a:lnTo>
                      <a:lnTo>
                        <a:pt x="196" y="427"/>
                      </a:lnTo>
                      <a:lnTo>
                        <a:pt x="196" y="427"/>
                      </a:lnTo>
                      <a:lnTo>
                        <a:pt x="196" y="427"/>
                      </a:lnTo>
                      <a:lnTo>
                        <a:pt x="196" y="436"/>
                      </a:lnTo>
                      <a:lnTo>
                        <a:pt x="196" y="436"/>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33" name="Freeform 297">
                  <a:extLst>
                    <a:ext uri="{FF2B5EF4-FFF2-40B4-BE49-F238E27FC236}">
                      <a16:creationId xmlns="" xmlns:a16="http://schemas.microsoft.com/office/drawing/2014/main" id="{530DAA01-1580-4F34-8244-4BBAE36EDB16}"/>
                    </a:ext>
                  </a:extLst>
                </p:cNvPr>
                <p:cNvSpPr>
                  <a:spLocks noChangeAspect="1"/>
                </p:cNvSpPr>
                <p:nvPr/>
              </p:nvSpPr>
              <p:spPr bwMode="auto">
                <a:xfrm>
                  <a:off x="4087" y="1318"/>
                  <a:ext cx="241" cy="391"/>
                </a:xfrm>
                <a:custGeom>
                  <a:avLst/>
                  <a:gdLst>
                    <a:gd name="T0" fmla="*/ 200 w 241"/>
                    <a:gd name="T1" fmla="*/ 77 h 391"/>
                    <a:gd name="T2" fmla="*/ 200 w 241"/>
                    <a:gd name="T3" fmla="*/ 87 h 391"/>
                    <a:gd name="T4" fmla="*/ 205 w 241"/>
                    <a:gd name="T5" fmla="*/ 109 h 391"/>
                    <a:gd name="T6" fmla="*/ 219 w 241"/>
                    <a:gd name="T7" fmla="*/ 127 h 391"/>
                    <a:gd name="T8" fmla="*/ 219 w 241"/>
                    <a:gd name="T9" fmla="*/ 168 h 391"/>
                    <a:gd name="T10" fmla="*/ 205 w 241"/>
                    <a:gd name="T11" fmla="*/ 214 h 391"/>
                    <a:gd name="T12" fmla="*/ 205 w 241"/>
                    <a:gd name="T13" fmla="*/ 259 h 391"/>
                    <a:gd name="T14" fmla="*/ 214 w 241"/>
                    <a:gd name="T15" fmla="*/ 287 h 391"/>
                    <a:gd name="T16" fmla="*/ 232 w 241"/>
                    <a:gd name="T17" fmla="*/ 300 h 391"/>
                    <a:gd name="T18" fmla="*/ 241 w 241"/>
                    <a:gd name="T19" fmla="*/ 318 h 391"/>
                    <a:gd name="T20" fmla="*/ 200 w 241"/>
                    <a:gd name="T21" fmla="*/ 355 h 391"/>
                    <a:gd name="T22" fmla="*/ 164 w 241"/>
                    <a:gd name="T23" fmla="*/ 387 h 391"/>
                    <a:gd name="T24" fmla="*/ 118 w 241"/>
                    <a:gd name="T25" fmla="*/ 387 h 391"/>
                    <a:gd name="T26" fmla="*/ 100 w 241"/>
                    <a:gd name="T27" fmla="*/ 368 h 391"/>
                    <a:gd name="T28" fmla="*/ 82 w 241"/>
                    <a:gd name="T29" fmla="*/ 355 h 391"/>
                    <a:gd name="T30" fmla="*/ 64 w 241"/>
                    <a:gd name="T31" fmla="*/ 332 h 391"/>
                    <a:gd name="T32" fmla="*/ 55 w 241"/>
                    <a:gd name="T33" fmla="*/ 309 h 391"/>
                    <a:gd name="T34" fmla="*/ 50 w 241"/>
                    <a:gd name="T35" fmla="*/ 282 h 391"/>
                    <a:gd name="T36" fmla="*/ 36 w 241"/>
                    <a:gd name="T37" fmla="*/ 264 h 391"/>
                    <a:gd name="T38" fmla="*/ 14 w 241"/>
                    <a:gd name="T39" fmla="*/ 259 h 391"/>
                    <a:gd name="T40" fmla="*/ 4 w 241"/>
                    <a:gd name="T41" fmla="*/ 246 h 391"/>
                    <a:gd name="T42" fmla="*/ 0 w 241"/>
                    <a:gd name="T43" fmla="*/ 237 h 391"/>
                    <a:gd name="T44" fmla="*/ 4 w 241"/>
                    <a:gd name="T45" fmla="*/ 205 h 391"/>
                    <a:gd name="T46" fmla="*/ 23 w 241"/>
                    <a:gd name="T47" fmla="*/ 168 h 391"/>
                    <a:gd name="T48" fmla="*/ 32 w 241"/>
                    <a:gd name="T49" fmla="*/ 164 h 391"/>
                    <a:gd name="T50" fmla="*/ 36 w 241"/>
                    <a:gd name="T51" fmla="*/ 150 h 391"/>
                    <a:gd name="T52" fmla="*/ 41 w 241"/>
                    <a:gd name="T53" fmla="*/ 137 h 391"/>
                    <a:gd name="T54" fmla="*/ 41 w 241"/>
                    <a:gd name="T55" fmla="*/ 127 h 391"/>
                    <a:gd name="T56" fmla="*/ 64 w 241"/>
                    <a:gd name="T57" fmla="*/ 59 h 391"/>
                    <a:gd name="T58" fmla="*/ 91 w 241"/>
                    <a:gd name="T59" fmla="*/ 0 h 391"/>
                    <a:gd name="T60" fmla="*/ 114 w 241"/>
                    <a:gd name="T61" fmla="*/ 5 h 391"/>
                    <a:gd name="T62" fmla="*/ 132 w 241"/>
                    <a:gd name="T63" fmla="*/ 9 h 391"/>
                    <a:gd name="T64" fmla="*/ 168 w 241"/>
                    <a:gd name="T65" fmla="*/ 37 h 391"/>
                    <a:gd name="T66" fmla="*/ 205 w 241"/>
                    <a:gd name="T67" fmla="*/ 64 h 391"/>
                    <a:gd name="T68" fmla="*/ 205 w 241"/>
                    <a:gd name="T69" fmla="*/ 64 h 391"/>
                    <a:gd name="T70" fmla="*/ 205 w 241"/>
                    <a:gd name="T71" fmla="*/ 73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91">
                      <a:moveTo>
                        <a:pt x="205" y="73"/>
                      </a:moveTo>
                      <a:lnTo>
                        <a:pt x="200" y="77"/>
                      </a:lnTo>
                      <a:lnTo>
                        <a:pt x="200" y="82"/>
                      </a:lnTo>
                      <a:lnTo>
                        <a:pt x="200" y="87"/>
                      </a:lnTo>
                      <a:lnTo>
                        <a:pt x="200" y="91"/>
                      </a:lnTo>
                      <a:lnTo>
                        <a:pt x="205" y="109"/>
                      </a:lnTo>
                      <a:lnTo>
                        <a:pt x="214" y="118"/>
                      </a:lnTo>
                      <a:lnTo>
                        <a:pt x="219" y="127"/>
                      </a:lnTo>
                      <a:lnTo>
                        <a:pt x="223" y="141"/>
                      </a:lnTo>
                      <a:lnTo>
                        <a:pt x="219" y="168"/>
                      </a:lnTo>
                      <a:lnTo>
                        <a:pt x="214" y="191"/>
                      </a:lnTo>
                      <a:lnTo>
                        <a:pt x="205" y="214"/>
                      </a:lnTo>
                      <a:lnTo>
                        <a:pt x="200" y="241"/>
                      </a:lnTo>
                      <a:lnTo>
                        <a:pt x="205" y="259"/>
                      </a:lnTo>
                      <a:lnTo>
                        <a:pt x="209" y="273"/>
                      </a:lnTo>
                      <a:lnTo>
                        <a:pt x="214" y="287"/>
                      </a:lnTo>
                      <a:lnTo>
                        <a:pt x="223" y="296"/>
                      </a:lnTo>
                      <a:lnTo>
                        <a:pt x="232" y="300"/>
                      </a:lnTo>
                      <a:lnTo>
                        <a:pt x="237" y="305"/>
                      </a:lnTo>
                      <a:lnTo>
                        <a:pt x="241" y="318"/>
                      </a:lnTo>
                      <a:lnTo>
                        <a:pt x="223" y="337"/>
                      </a:lnTo>
                      <a:lnTo>
                        <a:pt x="200" y="355"/>
                      </a:lnTo>
                      <a:lnTo>
                        <a:pt x="187" y="373"/>
                      </a:lnTo>
                      <a:lnTo>
                        <a:pt x="164" y="387"/>
                      </a:lnTo>
                      <a:lnTo>
                        <a:pt x="132" y="391"/>
                      </a:lnTo>
                      <a:lnTo>
                        <a:pt x="118" y="387"/>
                      </a:lnTo>
                      <a:lnTo>
                        <a:pt x="109" y="377"/>
                      </a:lnTo>
                      <a:lnTo>
                        <a:pt x="100" y="368"/>
                      </a:lnTo>
                      <a:lnTo>
                        <a:pt x="86" y="368"/>
                      </a:lnTo>
                      <a:lnTo>
                        <a:pt x="82" y="355"/>
                      </a:lnTo>
                      <a:lnTo>
                        <a:pt x="73" y="346"/>
                      </a:lnTo>
                      <a:lnTo>
                        <a:pt x="64" y="332"/>
                      </a:lnTo>
                      <a:lnTo>
                        <a:pt x="59" y="323"/>
                      </a:lnTo>
                      <a:lnTo>
                        <a:pt x="55" y="309"/>
                      </a:lnTo>
                      <a:lnTo>
                        <a:pt x="55" y="296"/>
                      </a:lnTo>
                      <a:lnTo>
                        <a:pt x="50" y="282"/>
                      </a:lnTo>
                      <a:lnTo>
                        <a:pt x="45" y="273"/>
                      </a:lnTo>
                      <a:lnTo>
                        <a:pt x="36" y="264"/>
                      </a:lnTo>
                      <a:lnTo>
                        <a:pt x="23" y="264"/>
                      </a:lnTo>
                      <a:lnTo>
                        <a:pt x="14" y="259"/>
                      </a:lnTo>
                      <a:lnTo>
                        <a:pt x="4" y="246"/>
                      </a:lnTo>
                      <a:lnTo>
                        <a:pt x="4" y="246"/>
                      </a:lnTo>
                      <a:lnTo>
                        <a:pt x="0" y="237"/>
                      </a:lnTo>
                      <a:lnTo>
                        <a:pt x="0" y="237"/>
                      </a:lnTo>
                      <a:lnTo>
                        <a:pt x="0" y="227"/>
                      </a:lnTo>
                      <a:lnTo>
                        <a:pt x="4" y="205"/>
                      </a:lnTo>
                      <a:lnTo>
                        <a:pt x="14" y="182"/>
                      </a:lnTo>
                      <a:lnTo>
                        <a:pt x="23" y="168"/>
                      </a:lnTo>
                      <a:lnTo>
                        <a:pt x="27" y="168"/>
                      </a:lnTo>
                      <a:lnTo>
                        <a:pt x="32" y="164"/>
                      </a:lnTo>
                      <a:lnTo>
                        <a:pt x="32" y="155"/>
                      </a:lnTo>
                      <a:lnTo>
                        <a:pt x="36" y="150"/>
                      </a:lnTo>
                      <a:lnTo>
                        <a:pt x="41" y="146"/>
                      </a:lnTo>
                      <a:lnTo>
                        <a:pt x="41" y="137"/>
                      </a:lnTo>
                      <a:lnTo>
                        <a:pt x="41" y="132"/>
                      </a:lnTo>
                      <a:lnTo>
                        <a:pt x="41" y="127"/>
                      </a:lnTo>
                      <a:lnTo>
                        <a:pt x="50" y="91"/>
                      </a:lnTo>
                      <a:lnTo>
                        <a:pt x="64" y="59"/>
                      </a:lnTo>
                      <a:lnTo>
                        <a:pt x="77" y="32"/>
                      </a:lnTo>
                      <a:lnTo>
                        <a:pt x="91" y="0"/>
                      </a:lnTo>
                      <a:lnTo>
                        <a:pt x="100" y="5"/>
                      </a:lnTo>
                      <a:lnTo>
                        <a:pt x="114" y="5"/>
                      </a:lnTo>
                      <a:lnTo>
                        <a:pt x="123" y="9"/>
                      </a:lnTo>
                      <a:lnTo>
                        <a:pt x="132" y="9"/>
                      </a:lnTo>
                      <a:lnTo>
                        <a:pt x="150" y="23"/>
                      </a:lnTo>
                      <a:lnTo>
                        <a:pt x="168" y="37"/>
                      </a:lnTo>
                      <a:lnTo>
                        <a:pt x="187" y="55"/>
                      </a:lnTo>
                      <a:lnTo>
                        <a:pt x="205" y="64"/>
                      </a:lnTo>
                      <a:lnTo>
                        <a:pt x="205" y="64"/>
                      </a:lnTo>
                      <a:lnTo>
                        <a:pt x="205" y="64"/>
                      </a:lnTo>
                      <a:lnTo>
                        <a:pt x="205" y="73"/>
                      </a:lnTo>
                      <a:lnTo>
                        <a:pt x="205" y="73"/>
                      </a:lnTo>
                      <a:close/>
                    </a:path>
                  </a:pathLst>
                </a:custGeom>
                <a:solidFill>
                  <a:schemeClr val="accent2"/>
                </a:solid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grpSp>
          <p:grpSp>
            <p:nvGrpSpPr>
              <p:cNvPr id="17" name="Group 298">
                <a:extLst>
                  <a:ext uri="{FF2B5EF4-FFF2-40B4-BE49-F238E27FC236}">
                    <a16:creationId xmlns="" xmlns:a16="http://schemas.microsoft.com/office/drawing/2014/main" id="{DAEDBCDE-9845-4FA1-84E1-02CFE647A551}"/>
                  </a:ext>
                </a:extLst>
              </p:cNvPr>
              <p:cNvGrpSpPr>
                <a:grpSpLocks noChangeAspect="1"/>
              </p:cNvGrpSpPr>
              <p:nvPr/>
            </p:nvGrpSpPr>
            <p:grpSpPr bwMode="auto">
              <a:xfrm>
                <a:off x="3837" y="1048"/>
                <a:ext cx="601" cy="920"/>
                <a:chOff x="2966" y="497"/>
                <a:chExt cx="829" cy="1171"/>
              </a:xfrm>
              <a:grpFill/>
            </p:grpSpPr>
            <p:sp>
              <p:nvSpPr>
                <p:cNvPr id="28" name="Freeform 299">
                  <a:extLst>
                    <a:ext uri="{FF2B5EF4-FFF2-40B4-BE49-F238E27FC236}">
                      <a16:creationId xmlns="" xmlns:a16="http://schemas.microsoft.com/office/drawing/2014/main" id="{DDDEFF91-2F2C-44C8-A0EA-309CC6F6D953}"/>
                    </a:ext>
                  </a:extLst>
                </p:cNvPr>
                <p:cNvSpPr>
                  <a:spLocks noChangeAspect="1"/>
                </p:cNvSpPr>
                <p:nvPr/>
              </p:nvSpPr>
              <p:spPr bwMode="auto">
                <a:xfrm>
                  <a:off x="3003" y="850"/>
                  <a:ext cx="492" cy="414"/>
                </a:xfrm>
                <a:custGeom>
                  <a:avLst/>
                  <a:gdLst>
                    <a:gd name="T0" fmla="*/ 469 w 492"/>
                    <a:gd name="T1" fmla="*/ 82 h 414"/>
                    <a:gd name="T2" fmla="*/ 473 w 492"/>
                    <a:gd name="T3" fmla="*/ 132 h 414"/>
                    <a:gd name="T4" fmla="*/ 483 w 492"/>
                    <a:gd name="T5" fmla="*/ 164 h 414"/>
                    <a:gd name="T6" fmla="*/ 492 w 492"/>
                    <a:gd name="T7" fmla="*/ 177 h 414"/>
                    <a:gd name="T8" fmla="*/ 487 w 492"/>
                    <a:gd name="T9" fmla="*/ 205 h 414"/>
                    <a:gd name="T10" fmla="*/ 473 w 492"/>
                    <a:gd name="T11" fmla="*/ 232 h 414"/>
                    <a:gd name="T12" fmla="*/ 473 w 492"/>
                    <a:gd name="T13" fmla="*/ 268 h 414"/>
                    <a:gd name="T14" fmla="*/ 487 w 492"/>
                    <a:gd name="T15" fmla="*/ 282 h 414"/>
                    <a:gd name="T16" fmla="*/ 487 w 492"/>
                    <a:gd name="T17" fmla="*/ 314 h 414"/>
                    <a:gd name="T18" fmla="*/ 460 w 492"/>
                    <a:gd name="T19" fmla="*/ 327 h 414"/>
                    <a:gd name="T20" fmla="*/ 446 w 492"/>
                    <a:gd name="T21" fmla="*/ 345 h 414"/>
                    <a:gd name="T22" fmla="*/ 451 w 492"/>
                    <a:gd name="T23" fmla="*/ 359 h 414"/>
                    <a:gd name="T24" fmla="*/ 442 w 492"/>
                    <a:gd name="T25" fmla="*/ 373 h 414"/>
                    <a:gd name="T26" fmla="*/ 428 w 492"/>
                    <a:gd name="T27" fmla="*/ 377 h 414"/>
                    <a:gd name="T28" fmla="*/ 423 w 492"/>
                    <a:gd name="T29" fmla="*/ 386 h 414"/>
                    <a:gd name="T30" fmla="*/ 432 w 492"/>
                    <a:gd name="T31" fmla="*/ 395 h 414"/>
                    <a:gd name="T32" fmla="*/ 428 w 492"/>
                    <a:gd name="T33" fmla="*/ 405 h 414"/>
                    <a:gd name="T34" fmla="*/ 401 w 492"/>
                    <a:gd name="T35" fmla="*/ 414 h 414"/>
                    <a:gd name="T36" fmla="*/ 355 w 492"/>
                    <a:gd name="T37" fmla="*/ 409 h 414"/>
                    <a:gd name="T38" fmla="*/ 282 w 492"/>
                    <a:gd name="T39" fmla="*/ 377 h 414"/>
                    <a:gd name="T40" fmla="*/ 268 w 492"/>
                    <a:gd name="T41" fmla="*/ 355 h 414"/>
                    <a:gd name="T42" fmla="*/ 268 w 492"/>
                    <a:gd name="T43" fmla="*/ 341 h 414"/>
                    <a:gd name="T44" fmla="*/ 268 w 492"/>
                    <a:gd name="T45" fmla="*/ 327 h 414"/>
                    <a:gd name="T46" fmla="*/ 259 w 492"/>
                    <a:gd name="T47" fmla="*/ 323 h 414"/>
                    <a:gd name="T48" fmla="*/ 237 w 492"/>
                    <a:gd name="T49" fmla="*/ 327 h 414"/>
                    <a:gd name="T50" fmla="*/ 186 w 492"/>
                    <a:gd name="T51" fmla="*/ 345 h 414"/>
                    <a:gd name="T52" fmla="*/ 164 w 492"/>
                    <a:gd name="T53" fmla="*/ 364 h 414"/>
                    <a:gd name="T54" fmla="*/ 136 w 492"/>
                    <a:gd name="T55" fmla="*/ 400 h 414"/>
                    <a:gd name="T56" fmla="*/ 114 w 492"/>
                    <a:gd name="T57" fmla="*/ 405 h 414"/>
                    <a:gd name="T58" fmla="*/ 82 w 492"/>
                    <a:gd name="T59" fmla="*/ 405 h 414"/>
                    <a:gd name="T60" fmla="*/ 54 w 492"/>
                    <a:gd name="T61" fmla="*/ 395 h 414"/>
                    <a:gd name="T62" fmla="*/ 41 w 492"/>
                    <a:gd name="T63" fmla="*/ 373 h 414"/>
                    <a:gd name="T64" fmla="*/ 27 w 492"/>
                    <a:gd name="T65" fmla="*/ 355 h 414"/>
                    <a:gd name="T66" fmla="*/ 13 w 492"/>
                    <a:gd name="T67" fmla="*/ 341 h 414"/>
                    <a:gd name="T68" fmla="*/ 13 w 492"/>
                    <a:gd name="T69" fmla="*/ 327 h 414"/>
                    <a:gd name="T70" fmla="*/ 0 w 492"/>
                    <a:gd name="T71" fmla="*/ 318 h 414"/>
                    <a:gd name="T72" fmla="*/ 0 w 492"/>
                    <a:gd name="T73" fmla="*/ 291 h 414"/>
                    <a:gd name="T74" fmla="*/ 13 w 492"/>
                    <a:gd name="T75" fmla="*/ 273 h 414"/>
                    <a:gd name="T76" fmla="*/ 32 w 492"/>
                    <a:gd name="T77" fmla="*/ 250 h 414"/>
                    <a:gd name="T78" fmla="*/ 54 w 492"/>
                    <a:gd name="T79" fmla="*/ 214 h 414"/>
                    <a:gd name="T80" fmla="*/ 59 w 492"/>
                    <a:gd name="T81" fmla="*/ 182 h 414"/>
                    <a:gd name="T82" fmla="*/ 59 w 492"/>
                    <a:gd name="T83" fmla="*/ 159 h 414"/>
                    <a:gd name="T84" fmla="*/ 63 w 492"/>
                    <a:gd name="T85" fmla="*/ 136 h 414"/>
                    <a:gd name="T86" fmla="*/ 73 w 492"/>
                    <a:gd name="T87" fmla="*/ 114 h 414"/>
                    <a:gd name="T88" fmla="*/ 77 w 492"/>
                    <a:gd name="T89" fmla="*/ 91 h 414"/>
                    <a:gd name="T90" fmla="*/ 63 w 492"/>
                    <a:gd name="T91" fmla="*/ 73 h 414"/>
                    <a:gd name="T92" fmla="*/ 68 w 492"/>
                    <a:gd name="T93" fmla="*/ 50 h 414"/>
                    <a:gd name="T94" fmla="*/ 91 w 492"/>
                    <a:gd name="T95" fmla="*/ 36 h 414"/>
                    <a:gd name="T96" fmla="*/ 118 w 492"/>
                    <a:gd name="T97" fmla="*/ 27 h 414"/>
                    <a:gd name="T98" fmla="*/ 132 w 492"/>
                    <a:gd name="T99" fmla="*/ 9 h 414"/>
                    <a:gd name="T100" fmla="*/ 155 w 492"/>
                    <a:gd name="T101" fmla="*/ 5 h 414"/>
                    <a:gd name="T102" fmla="*/ 173 w 492"/>
                    <a:gd name="T103" fmla="*/ 0 h 414"/>
                    <a:gd name="T104" fmla="*/ 205 w 492"/>
                    <a:gd name="T105" fmla="*/ 5 h 414"/>
                    <a:gd name="T106" fmla="*/ 237 w 492"/>
                    <a:gd name="T107" fmla="*/ 23 h 414"/>
                    <a:gd name="T108" fmla="*/ 268 w 492"/>
                    <a:gd name="T109" fmla="*/ 41 h 414"/>
                    <a:gd name="T110" fmla="*/ 300 w 492"/>
                    <a:gd name="T111" fmla="*/ 55 h 414"/>
                    <a:gd name="T112" fmla="*/ 346 w 492"/>
                    <a:gd name="T113" fmla="*/ 59 h 414"/>
                    <a:gd name="T114" fmla="*/ 391 w 492"/>
                    <a:gd name="T115" fmla="*/ 73 h 414"/>
                    <a:gd name="T116" fmla="*/ 423 w 492"/>
                    <a:gd name="T117" fmla="*/ 73 h 414"/>
                    <a:gd name="T118" fmla="*/ 442 w 492"/>
                    <a:gd name="T119" fmla="*/ 68 h 414"/>
                    <a:gd name="T120" fmla="*/ 451 w 492"/>
                    <a:gd name="T121" fmla="*/ 64 h 414"/>
                    <a:gd name="T122" fmla="*/ 455 w 492"/>
                    <a:gd name="T123" fmla="*/ 6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2" h="414">
                      <a:moveTo>
                        <a:pt x="455" y="64"/>
                      </a:moveTo>
                      <a:lnTo>
                        <a:pt x="469" y="82"/>
                      </a:lnTo>
                      <a:lnTo>
                        <a:pt x="473" y="109"/>
                      </a:lnTo>
                      <a:lnTo>
                        <a:pt x="473" y="132"/>
                      </a:lnTo>
                      <a:lnTo>
                        <a:pt x="478" y="159"/>
                      </a:lnTo>
                      <a:lnTo>
                        <a:pt x="483" y="164"/>
                      </a:lnTo>
                      <a:lnTo>
                        <a:pt x="487" y="173"/>
                      </a:lnTo>
                      <a:lnTo>
                        <a:pt x="492" y="177"/>
                      </a:lnTo>
                      <a:lnTo>
                        <a:pt x="492" y="186"/>
                      </a:lnTo>
                      <a:lnTo>
                        <a:pt x="487" y="205"/>
                      </a:lnTo>
                      <a:lnTo>
                        <a:pt x="483" y="218"/>
                      </a:lnTo>
                      <a:lnTo>
                        <a:pt x="473" y="232"/>
                      </a:lnTo>
                      <a:lnTo>
                        <a:pt x="469" y="255"/>
                      </a:lnTo>
                      <a:lnTo>
                        <a:pt x="473" y="268"/>
                      </a:lnTo>
                      <a:lnTo>
                        <a:pt x="483" y="273"/>
                      </a:lnTo>
                      <a:lnTo>
                        <a:pt x="487" y="282"/>
                      </a:lnTo>
                      <a:lnTo>
                        <a:pt x="492" y="295"/>
                      </a:lnTo>
                      <a:lnTo>
                        <a:pt x="487" y="314"/>
                      </a:lnTo>
                      <a:lnTo>
                        <a:pt x="473" y="323"/>
                      </a:lnTo>
                      <a:lnTo>
                        <a:pt x="460" y="327"/>
                      </a:lnTo>
                      <a:lnTo>
                        <a:pt x="451" y="336"/>
                      </a:lnTo>
                      <a:lnTo>
                        <a:pt x="446" y="345"/>
                      </a:lnTo>
                      <a:lnTo>
                        <a:pt x="451" y="355"/>
                      </a:lnTo>
                      <a:lnTo>
                        <a:pt x="451" y="359"/>
                      </a:lnTo>
                      <a:lnTo>
                        <a:pt x="446" y="368"/>
                      </a:lnTo>
                      <a:lnTo>
                        <a:pt x="442" y="373"/>
                      </a:lnTo>
                      <a:lnTo>
                        <a:pt x="432" y="373"/>
                      </a:lnTo>
                      <a:lnTo>
                        <a:pt x="428" y="377"/>
                      </a:lnTo>
                      <a:lnTo>
                        <a:pt x="423" y="382"/>
                      </a:lnTo>
                      <a:lnTo>
                        <a:pt x="423" y="386"/>
                      </a:lnTo>
                      <a:lnTo>
                        <a:pt x="428" y="391"/>
                      </a:lnTo>
                      <a:lnTo>
                        <a:pt x="432" y="395"/>
                      </a:lnTo>
                      <a:lnTo>
                        <a:pt x="432" y="400"/>
                      </a:lnTo>
                      <a:lnTo>
                        <a:pt x="428" y="405"/>
                      </a:lnTo>
                      <a:lnTo>
                        <a:pt x="414" y="409"/>
                      </a:lnTo>
                      <a:lnTo>
                        <a:pt x="401" y="414"/>
                      </a:lnTo>
                      <a:lnTo>
                        <a:pt x="387" y="414"/>
                      </a:lnTo>
                      <a:lnTo>
                        <a:pt x="355" y="409"/>
                      </a:lnTo>
                      <a:lnTo>
                        <a:pt x="314" y="395"/>
                      </a:lnTo>
                      <a:lnTo>
                        <a:pt x="282" y="377"/>
                      </a:lnTo>
                      <a:lnTo>
                        <a:pt x="268" y="359"/>
                      </a:lnTo>
                      <a:lnTo>
                        <a:pt x="268" y="355"/>
                      </a:lnTo>
                      <a:lnTo>
                        <a:pt x="268" y="345"/>
                      </a:lnTo>
                      <a:lnTo>
                        <a:pt x="268" y="341"/>
                      </a:lnTo>
                      <a:lnTo>
                        <a:pt x="268" y="332"/>
                      </a:lnTo>
                      <a:lnTo>
                        <a:pt x="268" y="327"/>
                      </a:lnTo>
                      <a:lnTo>
                        <a:pt x="264" y="327"/>
                      </a:lnTo>
                      <a:lnTo>
                        <a:pt x="259" y="323"/>
                      </a:lnTo>
                      <a:lnTo>
                        <a:pt x="255" y="323"/>
                      </a:lnTo>
                      <a:lnTo>
                        <a:pt x="237" y="327"/>
                      </a:lnTo>
                      <a:lnTo>
                        <a:pt x="209" y="336"/>
                      </a:lnTo>
                      <a:lnTo>
                        <a:pt x="186" y="345"/>
                      </a:lnTo>
                      <a:lnTo>
                        <a:pt x="173" y="350"/>
                      </a:lnTo>
                      <a:lnTo>
                        <a:pt x="164" y="364"/>
                      </a:lnTo>
                      <a:lnTo>
                        <a:pt x="150" y="382"/>
                      </a:lnTo>
                      <a:lnTo>
                        <a:pt x="136" y="400"/>
                      </a:lnTo>
                      <a:lnTo>
                        <a:pt x="123" y="405"/>
                      </a:lnTo>
                      <a:lnTo>
                        <a:pt x="114" y="405"/>
                      </a:lnTo>
                      <a:lnTo>
                        <a:pt x="100" y="405"/>
                      </a:lnTo>
                      <a:lnTo>
                        <a:pt x="82" y="405"/>
                      </a:lnTo>
                      <a:lnTo>
                        <a:pt x="63" y="405"/>
                      </a:lnTo>
                      <a:lnTo>
                        <a:pt x="54" y="395"/>
                      </a:lnTo>
                      <a:lnTo>
                        <a:pt x="45" y="382"/>
                      </a:lnTo>
                      <a:lnTo>
                        <a:pt x="41" y="373"/>
                      </a:lnTo>
                      <a:lnTo>
                        <a:pt x="32" y="359"/>
                      </a:lnTo>
                      <a:lnTo>
                        <a:pt x="27" y="355"/>
                      </a:lnTo>
                      <a:lnTo>
                        <a:pt x="18" y="350"/>
                      </a:lnTo>
                      <a:lnTo>
                        <a:pt x="13" y="341"/>
                      </a:lnTo>
                      <a:lnTo>
                        <a:pt x="18" y="332"/>
                      </a:lnTo>
                      <a:lnTo>
                        <a:pt x="13" y="327"/>
                      </a:lnTo>
                      <a:lnTo>
                        <a:pt x="4" y="327"/>
                      </a:lnTo>
                      <a:lnTo>
                        <a:pt x="0" y="318"/>
                      </a:lnTo>
                      <a:lnTo>
                        <a:pt x="0" y="309"/>
                      </a:lnTo>
                      <a:lnTo>
                        <a:pt x="0" y="291"/>
                      </a:lnTo>
                      <a:lnTo>
                        <a:pt x="9" y="282"/>
                      </a:lnTo>
                      <a:lnTo>
                        <a:pt x="13" y="273"/>
                      </a:lnTo>
                      <a:lnTo>
                        <a:pt x="18" y="255"/>
                      </a:lnTo>
                      <a:lnTo>
                        <a:pt x="32" y="250"/>
                      </a:lnTo>
                      <a:lnTo>
                        <a:pt x="45" y="232"/>
                      </a:lnTo>
                      <a:lnTo>
                        <a:pt x="54" y="214"/>
                      </a:lnTo>
                      <a:lnTo>
                        <a:pt x="59" y="195"/>
                      </a:lnTo>
                      <a:lnTo>
                        <a:pt x="59" y="182"/>
                      </a:lnTo>
                      <a:lnTo>
                        <a:pt x="59" y="168"/>
                      </a:lnTo>
                      <a:lnTo>
                        <a:pt x="59" y="159"/>
                      </a:lnTo>
                      <a:lnTo>
                        <a:pt x="59" y="150"/>
                      </a:lnTo>
                      <a:lnTo>
                        <a:pt x="63" y="136"/>
                      </a:lnTo>
                      <a:lnTo>
                        <a:pt x="68" y="123"/>
                      </a:lnTo>
                      <a:lnTo>
                        <a:pt x="73" y="114"/>
                      </a:lnTo>
                      <a:lnTo>
                        <a:pt x="77" y="100"/>
                      </a:lnTo>
                      <a:lnTo>
                        <a:pt x="77" y="91"/>
                      </a:lnTo>
                      <a:lnTo>
                        <a:pt x="73" y="82"/>
                      </a:lnTo>
                      <a:lnTo>
                        <a:pt x="63" y="73"/>
                      </a:lnTo>
                      <a:lnTo>
                        <a:pt x="63" y="64"/>
                      </a:lnTo>
                      <a:lnTo>
                        <a:pt x="68" y="50"/>
                      </a:lnTo>
                      <a:lnTo>
                        <a:pt x="77" y="41"/>
                      </a:lnTo>
                      <a:lnTo>
                        <a:pt x="91" y="36"/>
                      </a:lnTo>
                      <a:lnTo>
                        <a:pt x="104" y="32"/>
                      </a:lnTo>
                      <a:lnTo>
                        <a:pt x="118" y="27"/>
                      </a:lnTo>
                      <a:lnTo>
                        <a:pt x="123" y="18"/>
                      </a:lnTo>
                      <a:lnTo>
                        <a:pt x="132" y="9"/>
                      </a:lnTo>
                      <a:lnTo>
                        <a:pt x="141" y="5"/>
                      </a:lnTo>
                      <a:lnTo>
                        <a:pt x="155" y="5"/>
                      </a:lnTo>
                      <a:lnTo>
                        <a:pt x="164" y="0"/>
                      </a:lnTo>
                      <a:lnTo>
                        <a:pt x="173" y="0"/>
                      </a:lnTo>
                      <a:lnTo>
                        <a:pt x="182" y="0"/>
                      </a:lnTo>
                      <a:lnTo>
                        <a:pt x="205" y="5"/>
                      </a:lnTo>
                      <a:lnTo>
                        <a:pt x="223" y="9"/>
                      </a:lnTo>
                      <a:lnTo>
                        <a:pt x="237" y="23"/>
                      </a:lnTo>
                      <a:lnTo>
                        <a:pt x="255" y="32"/>
                      </a:lnTo>
                      <a:lnTo>
                        <a:pt x="268" y="41"/>
                      </a:lnTo>
                      <a:lnTo>
                        <a:pt x="282" y="50"/>
                      </a:lnTo>
                      <a:lnTo>
                        <a:pt x="300" y="55"/>
                      </a:lnTo>
                      <a:lnTo>
                        <a:pt x="319" y="59"/>
                      </a:lnTo>
                      <a:lnTo>
                        <a:pt x="346" y="59"/>
                      </a:lnTo>
                      <a:lnTo>
                        <a:pt x="369" y="64"/>
                      </a:lnTo>
                      <a:lnTo>
                        <a:pt x="391" y="73"/>
                      </a:lnTo>
                      <a:lnTo>
                        <a:pt x="414" y="73"/>
                      </a:lnTo>
                      <a:lnTo>
                        <a:pt x="423" y="73"/>
                      </a:lnTo>
                      <a:lnTo>
                        <a:pt x="432" y="68"/>
                      </a:lnTo>
                      <a:lnTo>
                        <a:pt x="442" y="68"/>
                      </a:lnTo>
                      <a:lnTo>
                        <a:pt x="451" y="64"/>
                      </a:lnTo>
                      <a:lnTo>
                        <a:pt x="451" y="64"/>
                      </a:lnTo>
                      <a:lnTo>
                        <a:pt x="455" y="64"/>
                      </a:lnTo>
                      <a:lnTo>
                        <a:pt x="455" y="64"/>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29" name="Freeform 300">
                  <a:extLst>
                    <a:ext uri="{FF2B5EF4-FFF2-40B4-BE49-F238E27FC236}">
                      <a16:creationId xmlns="" xmlns:a16="http://schemas.microsoft.com/office/drawing/2014/main" id="{0D790A3E-BEE5-4DE7-B4A1-6519CF863B57}"/>
                    </a:ext>
                  </a:extLst>
                </p:cNvPr>
                <p:cNvSpPr>
                  <a:spLocks noChangeAspect="1"/>
                </p:cNvSpPr>
                <p:nvPr/>
              </p:nvSpPr>
              <p:spPr bwMode="auto">
                <a:xfrm>
                  <a:off x="3182" y="497"/>
                  <a:ext cx="410" cy="427"/>
                </a:xfrm>
                <a:custGeom>
                  <a:avLst/>
                  <a:gdLst>
                    <a:gd name="T0" fmla="*/ 387 w 410"/>
                    <a:gd name="T1" fmla="*/ 244 h 427"/>
                    <a:gd name="T2" fmla="*/ 345 w 410"/>
                    <a:gd name="T3" fmla="*/ 221 h 427"/>
                    <a:gd name="T4" fmla="*/ 313 w 410"/>
                    <a:gd name="T5" fmla="*/ 198 h 427"/>
                    <a:gd name="T6" fmla="*/ 299 w 410"/>
                    <a:gd name="T7" fmla="*/ 179 h 427"/>
                    <a:gd name="T8" fmla="*/ 285 w 410"/>
                    <a:gd name="T9" fmla="*/ 175 h 427"/>
                    <a:gd name="T10" fmla="*/ 271 w 410"/>
                    <a:gd name="T11" fmla="*/ 175 h 427"/>
                    <a:gd name="T12" fmla="*/ 244 w 410"/>
                    <a:gd name="T13" fmla="*/ 166 h 427"/>
                    <a:gd name="T14" fmla="*/ 239 w 410"/>
                    <a:gd name="T15" fmla="*/ 124 h 427"/>
                    <a:gd name="T16" fmla="*/ 230 w 410"/>
                    <a:gd name="T17" fmla="*/ 101 h 427"/>
                    <a:gd name="T18" fmla="*/ 216 w 410"/>
                    <a:gd name="T19" fmla="*/ 92 h 427"/>
                    <a:gd name="T20" fmla="*/ 221 w 410"/>
                    <a:gd name="T21" fmla="*/ 69 h 427"/>
                    <a:gd name="T22" fmla="*/ 230 w 410"/>
                    <a:gd name="T23" fmla="*/ 46 h 427"/>
                    <a:gd name="T24" fmla="*/ 235 w 410"/>
                    <a:gd name="T25" fmla="*/ 19 h 427"/>
                    <a:gd name="T26" fmla="*/ 225 w 410"/>
                    <a:gd name="T27" fmla="*/ 5 h 427"/>
                    <a:gd name="T28" fmla="*/ 202 w 410"/>
                    <a:gd name="T29" fmla="*/ 5 h 427"/>
                    <a:gd name="T30" fmla="*/ 179 w 410"/>
                    <a:gd name="T31" fmla="*/ 42 h 427"/>
                    <a:gd name="T32" fmla="*/ 166 w 410"/>
                    <a:gd name="T33" fmla="*/ 78 h 427"/>
                    <a:gd name="T34" fmla="*/ 124 w 410"/>
                    <a:gd name="T35" fmla="*/ 111 h 427"/>
                    <a:gd name="T36" fmla="*/ 92 w 410"/>
                    <a:gd name="T37" fmla="*/ 115 h 427"/>
                    <a:gd name="T38" fmla="*/ 60 w 410"/>
                    <a:gd name="T39" fmla="*/ 111 h 427"/>
                    <a:gd name="T40" fmla="*/ 41 w 410"/>
                    <a:gd name="T41" fmla="*/ 106 h 427"/>
                    <a:gd name="T42" fmla="*/ 41 w 410"/>
                    <a:gd name="T43" fmla="*/ 120 h 427"/>
                    <a:gd name="T44" fmla="*/ 46 w 410"/>
                    <a:gd name="T45" fmla="*/ 124 h 427"/>
                    <a:gd name="T46" fmla="*/ 50 w 410"/>
                    <a:gd name="T47" fmla="*/ 147 h 427"/>
                    <a:gd name="T48" fmla="*/ 50 w 410"/>
                    <a:gd name="T49" fmla="*/ 175 h 427"/>
                    <a:gd name="T50" fmla="*/ 46 w 410"/>
                    <a:gd name="T51" fmla="*/ 216 h 427"/>
                    <a:gd name="T52" fmla="*/ 23 w 410"/>
                    <a:gd name="T53" fmla="*/ 230 h 427"/>
                    <a:gd name="T54" fmla="*/ 4 w 410"/>
                    <a:gd name="T55" fmla="*/ 239 h 427"/>
                    <a:gd name="T56" fmla="*/ 4 w 410"/>
                    <a:gd name="T57" fmla="*/ 267 h 427"/>
                    <a:gd name="T58" fmla="*/ 18 w 410"/>
                    <a:gd name="T59" fmla="*/ 290 h 427"/>
                    <a:gd name="T60" fmla="*/ 23 w 410"/>
                    <a:gd name="T61" fmla="*/ 317 h 427"/>
                    <a:gd name="T62" fmla="*/ 14 w 410"/>
                    <a:gd name="T63" fmla="*/ 345 h 427"/>
                    <a:gd name="T64" fmla="*/ 27 w 410"/>
                    <a:gd name="T65" fmla="*/ 359 h 427"/>
                    <a:gd name="T66" fmla="*/ 60 w 410"/>
                    <a:gd name="T67" fmla="*/ 377 h 427"/>
                    <a:gd name="T68" fmla="*/ 92 w 410"/>
                    <a:gd name="T69" fmla="*/ 395 h 427"/>
                    <a:gd name="T70" fmla="*/ 124 w 410"/>
                    <a:gd name="T71" fmla="*/ 409 h 427"/>
                    <a:gd name="T72" fmla="*/ 170 w 410"/>
                    <a:gd name="T73" fmla="*/ 414 h 427"/>
                    <a:gd name="T74" fmla="*/ 216 w 410"/>
                    <a:gd name="T75" fmla="*/ 427 h 427"/>
                    <a:gd name="T76" fmla="*/ 262 w 410"/>
                    <a:gd name="T77" fmla="*/ 423 h 427"/>
                    <a:gd name="T78" fmla="*/ 299 w 410"/>
                    <a:gd name="T79" fmla="*/ 395 h 427"/>
                    <a:gd name="T80" fmla="*/ 313 w 410"/>
                    <a:gd name="T81" fmla="*/ 345 h 427"/>
                    <a:gd name="T82" fmla="*/ 327 w 410"/>
                    <a:gd name="T83" fmla="*/ 280 h 427"/>
                    <a:gd name="T84" fmla="*/ 354 w 410"/>
                    <a:gd name="T85" fmla="*/ 271 h 427"/>
                    <a:gd name="T86" fmla="*/ 368 w 410"/>
                    <a:gd name="T87" fmla="*/ 276 h 427"/>
                    <a:gd name="T88" fmla="*/ 387 w 410"/>
                    <a:gd name="T89" fmla="*/ 276 h 427"/>
                    <a:gd name="T90" fmla="*/ 405 w 410"/>
                    <a:gd name="T91" fmla="*/ 262 h 427"/>
                    <a:gd name="T92" fmla="*/ 410 w 410"/>
                    <a:gd name="T93" fmla="*/ 258 h 427"/>
                    <a:gd name="T94" fmla="*/ 410 w 410"/>
                    <a:gd name="T95" fmla="*/ 262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0" h="427">
                      <a:moveTo>
                        <a:pt x="410" y="262"/>
                      </a:moveTo>
                      <a:lnTo>
                        <a:pt x="387" y="244"/>
                      </a:lnTo>
                      <a:lnTo>
                        <a:pt x="368" y="230"/>
                      </a:lnTo>
                      <a:lnTo>
                        <a:pt x="345" y="221"/>
                      </a:lnTo>
                      <a:lnTo>
                        <a:pt x="322" y="207"/>
                      </a:lnTo>
                      <a:lnTo>
                        <a:pt x="313" y="198"/>
                      </a:lnTo>
                      <a:lnTo>
                        <a:pt x="304" y="189"/>
                      </a:lnTo>
                      <a:lnTo>
                        <a:pt x="299" y="179"/>
                      </a:lnTo>
                      <a:lnTo>
                        <a:pt x="290" y="175"/>
                      </a:lnTo>
                      <a:lnTo>
                        <a:pt x="285" y="175"/>
                      </a:lnTo>
                      <a:lnTo>
                        <a:pt x="276" y="175"/>
                      </a:lnTo>
                      <a:lnTo>
                        <a:pt x="271" y="175"/>
                      </a:lnTo>
                      <a:lnTo>
                        <a:pt x="262" y="175"/>
                      </a:lnTo>
                      <a:lnTo>
                        <a:pt x="244" y="166"/>
                      </a:lnTo>
                      <a:lnTo>
                        <a:pt x="239" y="147"/>
                      </a:lnTo>
                      <a:lnTo>
                        <a:pt x="239" y="124"/>
                      </a:lnTo>
                      <a:lnTo>
                        <a:pt x="235" y="106"/>
                      </a:lnTo>
                      <a:lnTo>
                        <a:pt x="230" y="101"/>
                      </a:lnTo>
                      <a:lnTo>
                        <a:pt x="225" y="97"/>
                      </a:lnTo>
                      <a:lnTo>
                        <a:pt x="216" y="92"/>
                      </a:lnTo>
                      <a:lnTo>
                        <a:pt x="216" y="83"/>
                      </a:lnTo>
                      <a:lnTo>
                        <a:pt x="221" y="69"/>
                      </a:lnTo>
                      <a:lnTo>
                        <a:pt x="225" y="55"/>
                      </a:lnTo>
                      <a:lnTo>
                        <a:pt x="230" y="46"/>
                      </a:lnTo>
                      <a:lnTo>
                        <a:pt x="235" y="28"/>
                      </a:lnTo>
                      <a:lnTo>
                        <a:pt x="235" y="19"/>
                      </a:lnTo>
                      <a:lnTo>
                        <a:pt x="230" y="9"/>
                      </a:lnTo>
                      <a:lnTo>
                        <a:pt x="225" y="5"/>
                      </a:lnTo>
                      <a:lnTo>
                        <a:pt x="216" y="0"/>
                      </a:lnTo>
                      <a:lnTo>
                        <a:pt x="202" y="5"/>
                      </a:lnTo>
                      <a:lnTo>
                        <a:pt x="189" y="23"/>
                      </a:lnTo>
                      <a:lnTo>
                        <a:pt x="179" y="42"/>
                      </a:lnTo>
                      <a:lnTo>
                        <a:pt x="175" y="60"/>
                      </a:lnTo>
                      <a:lnTo>
                        <a:pt x="166" y="78"/>
                      </a:lnTo>
                      <a:lnTo>
                        <a:pt x="147" y="92"/>
                      </a:lnTo>
                      <a:lnTo>
                        <a:pt x="124" y="111"/>
                      </a:lnTo>
                      <a:lnTo>
                        <a:pt x="106" y="115"/>
                      </a:lnTo>
                      <a:lnTo>
                        <a:pt x="92" y="115"/>
                      </a:lnTo>
                      <a:lnTo>
                        <a:pt x="78" y="111"/>
                      </a:lnTo>
                      <a:lnTo>
                        <a:pt x="60" y="111"/>
                      </a:lnTo>
                      <a:lnTo>
                        <a:pt x="41" y="106"/>
                      </a:lnTo>
                      <a:lnTo>
                        <a:pt x="41" y="106"/>
                      </a:lnTo>
                      <a:lnTo>
                        <a:pt x="41" y="106"/>
                      </a:lnTo>
                      <a:lnTo>
                        <a:pt x="41" y="120"/>
                      </a:lnTo>
                      <a:lnTo>
                        <a:pt x="41" y="120"/>
                      </a:lnTo>
                      <a:lnTo>
                        <a:pt x="46" y="124"/>
                      </a:lnTo>
                      <a:lnTo>
                        <a:pt x="46" y="138"/>
                      </a:lnTo>
                      <a:lnTo>
                        <a:pt x="50" y="147"/>
                      </a:lnTo>
                      <a:lnTo>
                        <a:pt x="50" y="161"/>
                      </a:lnTo>
                      <a:lnTo>
                        <a:pt x="50" y="175"/>
                      </a:lnTo>
                      <a:lnTo>
                        <a:pt x="50" y="198"/>
                      </a:lnTo>
                      <a:lnTo>
                        <a:pt x="46" y="216"/>
                      </a:lnTo>
                      <a:lnTo>
                        <a:pt x="37" y="230"/>
                      </a:lnTo>
                      <a:lnTo>
                        <a:pt x="23" y="230"/>
                      </a:lnTo>
                      <a:lnTo>
                        <a:pt x="14" y="235"/>
                      </a:lnTo>
                      <a:lnTo>
                        <a:pt x="4" y="239"/>
                      </a:lnTo>
                      <a:lnTo>
                        <a:pt x="0" y="253"/>
                      </a:lnTo>
                      <a:lnTo>
                        <a:pt x="4" y="267"/>
                      </a:lnTo>
                      <a:lnTo>
                        <a:pt x="14" y="280"/>
                      </a:lnTo>
                      <a:lnTo>
                        <a:pt x="18" y="290"/>
                      </a:lnTo>
                      <a:lnTo>
                        <a:pt x="23" y="308"/>
                      </a:lnTo>
                      <a:lnTo>
                        <a:pt x="23" y="317"/>
                      </a:lnTo>
                      <a:lnTo>
                        <a:pt x="18" y="331"/>
                      </a:lnTo>
                      <a:lnTo>
                        <a:pt x="14" y="345"/>
                      </a:lnTo>
                      <a:lnTo>
                        <a:pt x="4" y="354"/>
                      </a:lnTo>
                      <a:lnTo>
                        <a:pt x="27" y="359"/>
                      </a:lnTo>
                      <a:lnTo>
                        <a:pt x="46" y="363"/>
                      </a:lnTo>
                      <a:lnTo>
                        <a:pt x="60" y="377"/>
                      </a:lnTo>
                      <a:lnTo>
                        <a:pt x="78" y="386"/>
                      </a:lnTo>
                      <a:lnTo>
                        <a:pt x="92" y="395"/>
                      </a:lnTo>
                      <a:lnTo>
                        <a:pt x="106" y="404"/>
                      </a:lnTo>
                      <a:lnTo>
                        <a:pt x="124" y="409"/>
                      </a:lnTo>
                      <a:lnTo>
                        <a:pt x="143" y="414"/>
                      </a:lnTo>
                      <a:lnTo>
                        <a:pt x="170" y="414"/>
                      </a:lnTo>
                      <a:lnTo>
                        <a:pt x="193" y="418"/>
                      </a:lnTo>
                      <a:lnTo>
                        <a:pt x="216" y="427"/>
                      </a:lnTo>
                      <a:lnTo>
                        <a:pt x="239" y="427"/>
                      </a:lnTo>
                      <a:lnTo>
                        <a:pt x="262" y="423"/>
                      </a:lnTo>
                      <a:lnTo>
                        <a:pt x="285" y="414"/>
                      </a:lnTo>
                      <a:lnTo>
                        <a:pt x="299" y="395"/>
                      </a:lnTo>
                      <a:lnTo>
                        <a:pt x="308" y="377"/>
                      </a:lnTo>
                      <a:lnTo>
                        <a:pt x="313" y="345"/>
                      </a:lnTo>
                      <a:lnTo>
                        <a:pt x="313" y="308"/>
                      </a:lnTo>
                      <a:lnTo>
                        <a:pt x="327" y="280"/>
                      </a:lnTo>
                      <a:lnTo>
                        <a:pt x="345" y="271"/>
                      </a:lnTo>
                      <a:lnTo>
                        <a:pt x="354" y="271"/>
                      </a:lnTo>
                      <a:lnTo>
                        <a:pt x="359" y="271"/>
                      </a:lnTo>
                      <a:lnTo>
                        <a:pt x="368" y="276"/>
                      </a:lnTo>
                      <a:lnTo>
                        <a:pt x="373" y="276"/>
                      </a:lnTo>
                      <a:lnTo>
                        <a:pt x="387" y="276"/>
                      </a:lnTo>
                      <a:lnTo>
                        <a:pt x="396" y="271"/>
                      </a:lnTo>
                      <a:lnTo>
                        <a:pt x="405" y="262"/>
                      </a:lnTo>
                      <a:lnTo>
                        <a:pt x="410" y="258"/>
                      </a:lnTo>
                      <a:lnTo>
                        <a:pt x="410" y="258"/>
                      </a:lnTo>
                      <a:lnTo>
                        <a:pt x="410" y="262"/>
                      </a:lnTo>
                      <a:lnTo>
                        <a:pt x="410" y="262"/>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30" name="Freeform 301">
                  <a:extLst>
                    <a:ext uri="{FF2B5EF4-FFF2-40B4-BE49-F238E27FC236}">
                      <a16:creationId xmlns="" xmlns:a16="http://schemas.microsoft.com/office/drawing/2014/main" id="{422B9968-2D2E-47C3-B38F-406809EC28A4}"/>
                    </a:ext>
                  </a:extLst>
                </p:cNvPr>
                <p:cNvSpPr>
                  <a:spLocks noChangeAspect="1"/>
                </p:cNvSpPr>
                <p:nvPr/>
              </p:nvSpPr>
              <p:spPr bwMode="auto">
                <a:xfrm>
                  <a:off x="3390" y="1168"/>
                  <a:ext cx="405" cy="500"/>
                </a:xfrm>
                <a:custGeom>
                  <a:avLst/>
                  <a:gdLst>
                    <a:gd name="T0" fmla="*/ 387 w 405"/>
                    <a:gd name="T1" fmla="*/ 332 h 500"/>
                    <a:gd name="T2" fmla="*/ 355 w 405"/>
                    <a:gd name="T3" fmla="*/ 323 h 500"/>
                    <a:gd name="T4" fmla="*/ 337 w 405"/>
                    <a:gd name="T5" fmla="*/ 305 h 500"/>
                    <a:gd name="T6" fmla="*/ 323 w 405"/>
                    <a:gd name="T7" fmla="*/ 282 h 500"/>
                    <a:gd name="T8" fmla="*/ 319 w 405"/>
                    <a:gd name="T9" fmla="*/ 255 h 500"/>
                    <a:gd name="T10" fmla="*/ 332 w 405"/>
                    <a:gd name="T11" fmla="*/ 241 h 500"/>
                    <a:gd name="T12" fmla="*/ 328 w 405"/>
                    <a:gd name="T13" fmla="*/ 209 h 500"/>
                    <a:gd name="T14" fmla="*/ 305 w 405"/>
                    <a:gd name="T15" fmla="*/ 196 h 500"/>
                    <a:gd name="T16" fmla="*/ 291 w 405"/>
                    <a:gd name="T17" fmla="*/ 182 h 500"/>
                    <a:gd name="T18" fmla="*/ 287 w 405"/>
                    <a:gd name="T19" fmla="*/ 164 h 500"/>
                    <a:gd name="T20" fmla="*/ 269 w 405"/>
                    <a:gd name="T21" fmla="*/ 159 h 500"/>
                    <a:gd name="T22" fmla="*/ 250 w 405"/>
                    <a:gd name="T23" fmla="*/ 155 h 500"/>
                    <a:gd name="T24" fmla="*/ 246 w 405"/>
                    <a:gd name="T25" fmla="*/ 132 h 500"/>
                    <a:gd name="T26" fmla="*/ 250 w 405"/>
                    <a:gd name="T27" fmla="*/ 123 h 500"/>
                    <a:gd name="T28" fmla="*/ 232 w 405"/>
                    <a:gd name="T29" fmla="*/ 109 h 500"/>
                    <a:gd name="T30" fmla="*/ 200 w 405"/>
                    <a:gd name="T31" fmla="*/ 87 h 500"/>
                    <a:gd name="T32" fmla="*/ 159 w 405"/>
                    <a:gd name="T33" fmla="*/ 59 h 500"/>
                    <a:gd name="T34" fmla="*/ 105 w 405"/>
                    <a:gd name="T35" fmla="*/ 23 h 500"/>
                    <a:gd name="T36" fmla="*/ 86 w 405"/>
                    <a:gd name="T37" fmla="*/ 5 h 500"/>
                    <a:gd name="T38" fmla="*/ 68 w 405"/>
                    <a:gd name="T39" fmla="*/ 14 h 500"/>
                    <a:gd name="T40" fmla="*/ 59 w 405"/>
                    <a:gd name="T41" fmla="*/ 27 h 500"/>
                    <a:gd name="T42" fmla="*/ 64 w 405"/>
                    <a:gd name="T43" fmla="*/ 41 h 500"/>
                    <a:gd name="T44" fmla="*/ 55 w 405"/>
                    <a:gd name="T45" fmla="*/ 55 h 500"/>
                    <a:gd name="T46" fmla="*/ 41 w 405"/>
                    <a:gd name="T47" fmla="*/ 59 h 500"/>
                    <a:gd name="T48" fmla="*/ 36 w 405"/>
                    <a:gd name="T49" fmla="*/ 68 h 500"/>
                    <a:gd name="T50" fmla="*/ 45 w 405"/>
                    <a:gd name="T51" fmla="*/ 77 h 500"/>
                    <a:gd name="T52" fmla="*/ 41 w 405"/>
                    <a:gd name="T53" fmla="*/ 87 h 500"/>
                    <a:gd name="T54" fmla="*/ 14 w 405"/>
                    <a:gd name="T55" fmla="*/ 96 h 500"/>
                    <a:gd name="T56" fmla="*/ 0 w 405"/>
                    <a:gd name="T57" fmla="*/ 96 h 500"/>
                    <a:gd name="T58" fmla="*/ 0 w 405"/>
                    <a:gd name="T59" fmla="*/ 114 h 500"/>
                    <a:gd name="T60" fmla="*/ 55 w 405"/>
                    <a:gd name="T61" fmla="*/ 164 h 500"/>
                    <a:gd name="T62" fmla="*/ 82 w 405"/>
                    <a:gd name="T63" fmla="*/ 241 h 500"/>
                    <a:gd name="T64" fmla="*/ 59 w 405"/>
                    <a:gd name="T65" fmla="*/ 273 h 500"/>
                    <a:gd name="T66" fmla="*/ 27 w 405"/>
                    <a:gd name="T67" fmla="*/ 296 h 500"/>
                    <a:gd name="T68" fmla="*/ 27 w 405"/>
                    <a:gd name="T69" fmla="*/ 305 h 500"/>
                    <a:gd name="T70" fmla="*/ 18 w 405"/>
                    <a:gd name="T71" fmla="*/ 314 h 500"/>
                    <a:gd name="T72" fmla="*/ 77 w 405"/>
                    <a:gd name="T73" fmla="*/ 350 h 500"/>
                    <a:gd name="T74" fmla="*/ 109 w 405"/>
                    <a:gd name="T75" fmla="*/ 405 h 500"/>
                    <a:gd name="T76" fmla="*/ 109 w 405"/>
                    <a:gd name="T77" fmla="*/ 423 h 500"/>
                    <a:gd name="T78" fmla="*/ 100 w 405"/>
                    <a:gd name="T79" fmla="*/ 432 h 500"/>
                    <a:gd name="T80" fmla="*/ 100 w 405"/>
                    <a:gd name="T81" fmla="*/ 459 h 500"/>
                    <a:gd name="T82" fmla="*/ 118 w 405"/>
                    <a:gd name="T83" fmla="*/ 459 h 500"/>
                    <a:gd name="T84" fmla="*/ 127 w 405"/>
                    <a:gd name="T85" fmla="*/ 455 h 500"/>
                    <a:gd name="T86" fmla="*/ 132 w 405"/>
                    <a:gd name="T87" fmla="*/ 450 h 500"/>
                    <a:gd name="T88" fmla="*/ 141 w 405"/>
                    <a:gd name="T89" fmla="*/ 473 h 500"/>
                    <a:gd name="T90" fmla="*/ 159 w 405"/>
                    <a:gd name="T91" fmla="*/ 468 h 500"/>
                    <a:gd name="T92" fmla="*/ 187 w 405"/>
                    <a:gd name="T93" fmla="*/ 482 h 500"/>
                    <a:gd name="T94" fmla="*/ 219 w 405"/>
                    <a:gd name="T95" fmla="*/ 500 h 500"/>
                    <a:gd name="T96" fmla="*/ 246 w 405"/>
                    <a:gd name="T97" fmla="*/ 482 h 500"/>
                    <a:gd name="T98" fmla="*/ 273 w 405"/>
                    <a:gd name="T99" fmla="*/ 464 h 500"/>
                    <a:gd name="T100" fmla="*/ 296 w 405"/>
                    <a:gd name="T101" fmla="*/ 468 h 500"/>
                    <a:gd name="T102" fmla="*/ 319 w 405"/>
                    <a:gd name="T103" fmla="*/ 477 h 500"/>
                    <a:gd name="T104" fmla="*/ 346 w 405"/>
                    <a:gd name="T105" fmla="*/ 459 h 500"/>
                    <a:gd name="T106" fmla="*/ 342 w 405"/>
                    <a:gd name="T107" fmla="*/ 423 h 500"/>
                    <a:gd name="T108" fmla="*/ 369 w 405"/>
                    <a:gd name="T109" fmla="*/ 382 h 500"/>
                    <a:gd name="T110" fmla="*/ 401 w 405"/>
                    <a:gd name="T111" fmla="*/ 346 h 500"/>
                    <a:gd name="T112" fmla="*/ 405 w 405"/>
                    <a:gd name="T113" fmla="*/ 346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5" h="500">
                      <a:moveTo>
                        <a:pt x="405" y="346"/>
                      </a:moveTo>
                      <a:lnTo>
                        <a:pt x="387" y="332"/>
                      </a:lnTo>
                      <a:lnTo>
                        <a:pt x="369" y="327"/>
                      </a:lnTo>
                      <a:lnTo>
                        <a:pt x="355" y="323"/>
                      </a:lnTo>
                      <a:lnTo>
                        <a:pt x="346" y="314"/>
                      </a:lnTo>
                      <a:lnTo>
                        <a:pt x="337" y="305"/>
                      </a:lnTo>
                      <a:lnTo>
                        <a:pt x="328" y="291"/>
                      </a:lnTo>
                      <a:lnTo>
                        <a:pt x="323" y="282"/>
                      </a:lnTo>
                      <a:lnTo>
                        <a:pt x="319" y="268"/>
                      </a:lnTo>
                      <a:lnTo>
                        <a:pt x="319" y="255"/>
                      </a:lnTo>
                      <a:lnTo>
                        <a:pt x="328" y="246"/>
                      </a:lnTo>
                      <a:lnTo>
                        <a:pt x="332" y="241"/>
                      </a:lnTo>
                      <a:lnTo>
                        <a:pt x="332" y="227"/>
                      </a:lnTo>
                      <a:lnTo>
                        <a:pt x="328" y="209"/>
                      </a:lnTo>
                      <a:lnTo>
                        <a:pt x="319" y="200"/>
                      </a:lnTo>
                      <a:lnTo>
                        <a:pt x="305" y="196"/>
                      </a:lnTo>
                      <a:lnTo>
                        <a:pt x="296" y="187"/>
                      </a:lnTo>
                      <a:lnTo>
                        <a:pt x="291" y="182"/>
                      </a:lnTo>
                      <a:lnTo>
                        <a:pt x="287" y="173"/>
                      </a:lnTo>
                      <a:lnTo>
                        <a:pt x="287" y="164"/>
                      </a:lnTo>
                      <a:lnTo>
                        <a:pt x="282" y="159"/>
                      </a:lnTo>
                      <a:lnTo>
                        <a:pt x="269" y="159"/>
                      </a:lnTo>
                      <a:lnTo>
                        <a:pt x="260" y="155"/>
                      </a:lnTo>
                      <a:lnTo>
                        <a:pt x="250" y="155"/>
                      </a:lnTo>
                      <a:lnTo>
                        <a:pt x="246" y="141"/>
                      </a:lnTo>
                      <a:lnTo>
                        <a:pt x="246" y="132"/>
                      </a:lnTo>
                      <a:lnTo>
                        <a:pt x="250" y="127"/>
                      </a:lnTo>
                      <a:lnTo>
                        <a:pt x="250" y="123"/>
                      </a:lnTo>
                      <a:lnTo>
                        <a:pt x="250" y="118"/>
                      </a:lnTo>
                      <a:lnTo>
                        <a:pt x="232" y="109"/>
                      </a:lnTo>
                      <a:lnTo>
                        <a:pt x="214" y="96"/>
                      </a:lnTo>
                      <a:lnTo>
                        <a:pt x="200" y="87"/>
                      </a:lnTo>
                      <a:lnTo>
                        <a:pt x="182" y="73"/>
                      </a:lnTo>
                      <a:lnTo>
                        <a:pt x="159" y="59"/>
                      </a:lnTo>
                      <a:lnTo>
                        <a:pt x="127" y="41"/>
                      </a:lnTo>
                      <a:lnTo>
                        <a:pt x="105" y="23"/>
                      </a:lnTo>
                      <a:lnTo>
                        <a:pt x="96" y="0"/>
                      </a:lnTo>
                      <a:lnTo>
                        <a:pt x="86" y="5"/>
                      </a:lnTo>
                      <a:lnTo>
                        <a:pt x="77" y="9"/>
                      </a:lnTo>
                      <a:lnTo>
                        <a:pt x="68" y="14"/>
                      </a:lnTo>
                      <a:lnTo>
                        <a:pt x="64" y="18"/>
                      </a:lnTo>
                      <a:lnTo>
                        <a:pt x="59" y="27"/>
                      </a:lnTo>
                      <a:lnTo>
                        <a:pt x="64" y="37"/>
                      </a:lnTo>
                      <a:lnTo>
                        <a:pt x="64" y="41"/>
                      </a:lnTo>
                      <a:lnTo>
                        <a:pt x="59" y="50"/>
                      </a:lnTo>
                      <a:lnTo>
                        <a:pt x="55" y="55"/>
                      </a:lnTo>
                      <a:lnTo>
                        <a:pt x="45" y="55"/>
                      </a:lnTo>
                      <a:lnTo>
                        <a:pt x="41" y="59"/>
                      </a:lnTo>
                      <a:lnTo>
                        <a:pt x="36" y="64"/>
                      </a:lnTo>
                      <a:lnTo>
                        <a:pt x="36" y="68"/>
                      </a:lnTo>
                      <a:lnTo>
                        <a:pt x="41" y="73"/>
                      </a:lnTo>
                      <a:lnTo>
                        <a:pt x="45" y="77"/>
                      </a:lnTo>
                      <a:lnTo>
                        <a:pt x="45" y="82"/>
                      </a:lnTo>
                      <a:lnTo>
                        <a:pt x="41" y="87"/>
                      </a:lnTo>
                      <a:lnTo>
                        <a:pt x="27" y="91"/>
                      </a:lnTo>
                      <a:lnTo>
                        <a:pt x="14" y="96"/>
                      </a:lnTo>
                      <a:lnTo>
                        <a:pt x="0" y="96"/>
                      </a:lnTo>
                      <a:lnTo>
                        <a:pt x="0" y="96"/>
                      </a:lnTo>
                      <a:lnTo>
                        <a:pt x="0" y="114"/>
                      </a:lnTo>
                      <a:lnTo>
                        <a:pt x="0" y="114"/>
                      </a:lnTo>
                      <a:lnTo>
                        <a:pt x="27" y="141"/>
                      </a:lnTo>
                      <a:lnTo>
                        <a:pt x="55" y="164"/>
                      </a:lnTo>
                      <a:lnTo>
                        <a:pt x="73" y="196"/>
                      </a:lnTo>
                      <a:lnTo>
                        <a:pt x="82" y="241"/>
                      </a:lnTo>
                      <a:lnTo>
                        <a:pt x="73" y="264"/>
                      </a:lnTo>
                      <a:lnTo>
                        <a:pt x="59" y="273"/>
                      </a:lnTo>
                      <a:lnTo>
                        <a:pt x="41" y="287"/>
                      </a:lnTo>
                      <a:lnTo>
                        <a:pt x="27" y="296"/>
                      </a:lnTo>
                      <a:lnTo>
                        <a:pt x="27" y="300"/>
                      </a:lnTo>
                      <a:lnTo>
                        <a:pt x="27" y="305"/>
                      </a:lnTo>
                      <a:lnTo>
                        <a:pt x="23" y="309"/>
                      </a:lnTo>
                      <a:lnTo>
                        <a:pt x="18" y="314"/>
                      </a:lnTo>
                      <a:lnTo>
                        <a:pt x="50" y="327"/>
                      </a:lnTo>
                      <a:lnTo>
                        <a:pt x="77" y="350"/>
                      </a:lnTo>
                      <a:lnTo>
                        <a:pt x="96" y="377"/>
                      </a:lnTo>
                      <a:lnTo>
                        <a:pt x="109" y="405"/>
                      </a:lnTo>
                      <a:lnTo>
                        <a:pt x="109" y="414"/>
                      </a:lnTo>
                      <a:lnTo>
                        <a:pt x="109" y="423"/>
                      </a:lnTo>
                      <a:lnTo>
                        <a:pt x="105" y="427"/>
                      </a:lnTo>
                      <a:lnTo>
                        <a:pt x="100" y="432"/>
                      </a:lnTo>
                      <a:lnTo>
                        <a:pt x="100" y="432"/>
                      </a:lnTo>
                      <a:lnTo>
                        <a:pt x="100" y="459"/>
                      </a:lnTo>
                      <a:lnTo>
                        <a:pt x="118" y="459"/>
                      </a:lnTo>
                      <a:lnTo>
                        <a:pt x="118" y="459"/>
                      </a:lnTo>
                      <a:lnTo>
                        <a:pt x="123" y="455"/>
                      </a:lnTo>
                      <a:lnTo>
                        <a:pt x="127" y="455"/>
                      </a:lnTo>
                      <a:lnTo>
                        <a:pt x="132" y="450"/>
                      </a:lnTo>
                      <a:lnTo>
                        <a:pt x="132" y="450"/>
                      </a:lnTo>
                      <a:lnTo>
                        <a:pt x="137" y="468"/>
                      </a:lnTo>
                      <a:lnTo>
                        <a:pt x="141" y="473"/>
                      </a:lnTo>
                      <a:lnTo>
                        <a:pt x="146" y="473"/>
                      </a:lnTo>
                      <a:lnTo>
                        <a:pt x="159" y="468"/>
                      </a:lnTo>
                      <a:lnTo>
                        <a:pt x="173" y="468"/>
                      </a:lnTo>
                      <a:lnTo>
                        <a:pt x="187" y="482"/>
                      </a:lnTo>
                      <a:lnTo>
                        <a:pt x="200" y="496"/>
                      </a:lnTo>
                      <a:lnTo>
                        <a:pt x="219" y="500"/>
                      </a:lnTo>
                      <a:lnTo>
                        <a:pt x="237" y="496"/>
                      </a:lnTo>
                      <a:lnTo>
                        <a:pt x="246" y="482"/>
                      </a:lnTo>
                      <a:lnTo>
                        <a:pt x="255" y="468"/>
                      </a:lnTo>
                      <a:lnTo>
                        <a:pt x="273" y="464"/>
                      </a:lnTo>
                      <a:lnTo>
                        <a:pt x="287" y="464"/>
                      </a:lnTo>
                      <a:lnTo>
                        <a:pt x="296" y="468"/>
                      </a:lnTo>
                      <a:lnTo>
                        <a:pt x="305" y="477"/>
                      </a:lnTo>
                      <a:lnTo>
                        <a:pt x="319" y="477"/>
                      </a:lnTo>
                      <a:lnTo>
                        <a:pt x="337" y="473"/>
                      </a:lnTo>
                      <a:lnTo>
                        <a:pt x="346" y="459"/>
                      </a:lnTo>
                      <a:lnTo>
                        <a:pt x="342" y="441"/>
                      </a:lnTo>
                      <a:lnTo>
                        <a:pt x="342" y="423"/>
                      </a:lnTo>
                      <a:lnTo>
                        <a:pt x="351" y="396"/>
                      </a:lnTo>
                      <a:lnTo>
                        <a:pt x="369" y="382"/>
                      </a:lnTo>
                      <a:lnTo>
                        <a:pt x="387" y="368"/>
                      </a:lnTo>
                      <a:lnTo>
                        <a:pt x="401" y="346"/>
                      </a:lnTo>
                      <a:lnTo>
                        <a:pt x="401" y="346"/>
                      </a:lnTo>
                      <a:lnTo>
                        <a:pt x="405" y="346"/>
                      </a:lnTo>
                      <a:lnTo>
                        <a:pt x="405" y="346"/>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sp>
              <p:nvSpPr>
                <p:cNvPr id="31" name="Freeform 302">
                  <a:extLst>
                    <a:ext uri="{FF2B5EF4-FFF2-40B4-BE49-F238E27FC236}">
                      <a16:creationId xmlns="" xmlns:a16="http://schemas.microsoft.com/office/drawing/2014/main" id="{6C84B138-DF82-4764-B155-EFD72829957E}"/>
                    </a:ext>
                  </a:extLst>
                </p:cNvPr>
                <p:cNvSpPr>
                  <a:spLocks noChangeAspect="1"/>
                </p:cNvSpPr>
                <p:nvPr/>
              </p:nvSpPr>
              <p:spPr bwMode="auto">
                <a:xfrm>
                  <a:off x="2966" y="1173"/>
                  <a:ext cx="506" cy="363"/>
                </a:xfrm>
                <a:custGeom>
                  <a:avLst/>
                  <a:gdLst>
                    <a:gd name="T0" fmla="*/ 82 w 506"/>
                    <a:gd name="T1" fmla="*/ 59 h 363"/>
                    <a:gd name="T2" fmla="*/ 91 w 506"/>
                    <a:gd name="T3" fmla="*/ 72 h 363"/>
                    <a:gd name="T4" fmla="*/ 119 w 506"/>
                    <a:gd name="T5" fmla="*/ 82 h 363"/>
                    <a:gd name="T6" fmla="*/ 151 w 506"/>
                    <a:gd name="T7" fmla="*/ 82 h 363"/>
                    <a:gd name="T8" fmla="*/ 173 w 506"/>
                    <a:gd name="T9" fmla="*/ 77 h 363"/>
                    <a:gd name="T10" fmla="*/ 201 w 506"/>
                    <a:gd name="T11" fmla="*/ 41 h 363"/>
                    <a:gd name="T12" fmla="*/ 223 w 506"/>
                    <a:gd name="T13" fmla="*/ 22 h 363"/>
                    <a:gd name="T14" fmla="*/ 274 w 506"/>
                    <a:gd name="T15" fmla="*/ 4 h 363"/>
                    <a:gd name="T16" fmla="*/ 296 w 506"/>
                    <a:gd name="T17" fmla="*/ 0 h 363"/>
                    <a:gd name="T18" fmla="*/ 305 w 506"/>
                    <a:gd name="T19" fmla="*/ 4 h 363"/>
                    <a:gd name="T20" fmla="*/ 305 w 506"/>
                    <a:gd name="T21" fmla="*/ 18 h 363"/>
                    <a:gd name="T22" fmla="*/ 305 w 506"/>
                    <a:gd name="T23" fmla="*/ 32 h 363"/>
                    <a:gd name="T24" fmla="*/ 319 w 506"/>
                    <a:gd name="T25" fmla="*/ 54 h 363"/>
                    <a:gd name="T26" fmla="*/ 392 w 506"/>
                    <a:gd name="T27" fmla="*/ 86 h 363"/>
                    <a:gd name="T28" fmla="*/ 424 w 506"/>
                    <a:gd name="T29" fmla="*/ 91 h 363"/>
                    <a:gd name="T30" fmla="*/ 424 w 506"/>
                    <a:gd name="T31" fmla="*/ 109 h 363"/>
                    <a:gd name="T32" fmla="*/ 479 w 506"/>
                    <a:gd name="T33" fmla="*/ 159 h 363"/>
                    <a:gd name="T34" fmla="*/ 506 w 506"/>
                    <a:gd name="T35" fmla="*/ 236 h 363"/>
                    <a:gd name="T36" fmla="*/ 483 w 506"/>
                    <a:gd name="T37" fmla="*/ 268 h 363"/>
                    <a:gd name="T38" fmla="*/ 451 w 506"/>
                    <a:gd name="T39" fmla="*/ 291 h 363"/>
                    <a:gd name="T40" fmla="*/ 451 w 506"/>
                    <a:gd name="T41" fmla="*/ 300 h 363"/>
                    <a:gd name="T42" fmla="*/ 447 w 506"/>
                    <a:gd name="T43" fmla="*/ 309 h 363"/>
                    <a:gd name="T44" fmla="*/ 424 w 506"/>
                    <a:gd name="T45" fmla="*/ 313 h 363"/>
                    <a:gd name="T46" fmla="*/ 397 w 506"/>
                    <a:gd name="T47" fmla="*/ 318 h 363"/>
                    <a:gd name="T48" fmla="*/ 383 w 506"/>
                    <a:gd name="T49" fmla="*/ 336 h 363"/>
                    <a:gd name="T50" fmla="*/ 360 w 506"/>
                    <a:gd name="T51" fmla="*/ 350 h 363"/>
                    <a:gd name="T52" fmla="*/ 342 w 506"/>
                    <a:gd name="T53" fmla="*/ 350 h 363"/>
                    <a:gd name="T54" fmla="*/ 328 w 506"/>
                    <a:gd name="T55" fmla="*/ 350 h 363"/>
                    <a:gd name="T56" fmla="*/ 310 w 506"/>
                    <a:gd name="T57" fmla="*/ 354 h 363"/>
                    <a:gd name="T58" fmla="*/ 292 w 506"/>
                    <a:gd name="T59" fmla="*/ 363 h 363"/>
                    <a:gd name="T60" fmla="*/ 264 w 506"/>
                    <a:gd name="T61" fmla="*/ 359 h 363"/>
                    <a:gd name="T62" fmla="*/ 237 w 506"/>
                    <a:gd name="T63" fmla="*/ 359 h 363"/>
                    <a:gd name="T64" fmla="*/ 182 w 506"/>
                    <a:gd name="T65" fmla="*/ 332 h 363"/>
                    <a:gd name="T66" fmla="*/ 160 w 506"/>
                    <a:gd name="T67" fmla="*/ 286 h 363"/>
                    <a:gd name="T68" fmla="*/ 151 w 506"/>
                    <a:gd name="T69" fmla="*/ 272 h 363"/>
                    <a:gd name="T70" fmla="*/ 146 w 506"/>
                    <a:gd name="T71" fmla="*/ 259 h 363"/>
                    <a:gd name="T72" fmla="*/ 137 w 506"/>
                    <a:gd name="T73" fmla="*/ 259 h 363"/>
                    <a:gd name="T74" fmla="*/ 123 w 506"/>
                    <a:gd name="T75" fmla="*/ 259 h 363"/>
                    <a:gd name="T76" fmla="*/ 100 w 506"/>
                    <a:gd name="T77" fmla="*/ 227 h 363"/>
                    <a:gd name="T78" fmla="*/ 91 w 506"/>
                    <a:gd name="T79" fmla="*/ 186 h 363"/>
                    <a:gd name="T80" fmla="*/ 78 w 506"/>
                    <a:gd name="T81" fmla="*/ 177 h 363"/>
                    <a:gd name="T82" fmla="*/ 69 w 506"/>
                    <a:gd name="T83" fmla="*/ 168 h 363"/>
                    <a:gd name="T84" fmla="*/ 32 w 506"/>
                    <a:gd name="T85" fmla="*/ 159 h 363"/>
                    <a:gd name="T86" fmla="*/ 0 w 506"/>
                    <a:gd name="T87" fmla="*/ 141 h 363"/>
                    <a:gd name="T88" fmla="*/ 32 w 506"/>
                    <a:gd name="T89" fmla="*/ 95 h 363"/>
                    <a:gd name="T90" fmla="*/ 78 w 506"/>
                    <a:gd name="T91" fmla="*/ 50 h 363"/>
                    <a:gd name="T92" fmla="*/ 78 w 506"/>
                    <a:gd name="T93" fmla="*/ 5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6" h="363">
                      <a:moveTo>
                        <a:pt x="78" y="50"/>
                      </a:moveTo>
                      <a:lnTo>
                        <a:pt x="82" y="59"/>
                      </a:lnTo>
                      <a:lnTo>
                        <a:pt x="87" y="68"/>
                      </a:lnTo>
                      <a:lnTo>
                        <a:pt x="91" y="72"/>
                      </a:lnTo>
                      <a:lnTo>
                        <a:pt x="100" y="82"/>
                      </a:lnTo>
                      <a:lnTo>
                        <a:pt x="119" y="82"/>
                      </a:lnTo>
                      <a:lnTo>
                        <a:pt x="137" y="82"/>
                      </a:lnTo>
                      <a:lnTo>
                        <a:pt x="151" y="82"/>
                      </a:lnTo>
                      <a:lnTo>
                        <a:pt x="160" y="82"/>
                      </a:lnTo>
                      <a:lnTo>
                        <a:pt x="173" y="77"/>
                      </a:lnTo>
                      <a:lnTo>
                        <a:pt x="187" y="59"/>
                      </a:lnTo>
                      <a:lnTo>
                        <a:pt x="201" y="41"/>
                      </a:lnTo>
                      <a:lnTo>
                        <a:pt x="210" y="27"/>
                      </a:lnTo>
                      <a:lnTo>
                        <a:pt x="223" y="22"/>
                      </a:lnTo>
                      <a:lnTo>
                        <a:pt x="246" y="13"/>
                      </a:lnTo>
                      <a:lnTo>
                        <a:pt x="274" y="4"/>
                      </a:lnTo>
                      <a:lnTo>
                        <a:pt x="292" y="0"/>
                      </a:lnTo>
                      <a:lnTo>
                        <a:pt x="296" y="0"/>
                      </a:lnTo>
                      <a:lnTo>
                        <a:pt x="301" y="4"/>
                      </a:lnTo>
                      <a:lnTo>
                        <a:pt x="305" y="4"/>
                      </a:lnTo>
                      <a:lnTo>
                        <a:pt x="305" y="9"/>
                      </a:lnTo>
                      <a:lnTo>
                        <a:pt x="305" y="18"/>
                      </a:lnTo>
                      <a:lnTo>
                        <a:pt x="305" y="22"/>
                      </a:lnTo>
                      <a:lnTo>
                        <a:pt x="305" y="32"/>
                      </a:lnTo>
                      <a:lnTo>
                        <a:pt x="305" y="36"/>
                      </a:lnTo>
                      <a:lnTo>
                        <a:pt x="319" y="54"/>
                      </a:lnTo>
                      <a:lnTo>
                        <a:pt x="351" y="72"/>
                      </a:lnTo>
                      <a:lnTo>
                        <a:pt x="392" y="86"/>
                      </a:lnTo>
                      <a:lnTo>
                        <a:pt x="424" y="91"/>
                      </a:lnTo>
                      <a:lnTo>
                        <a:pt x="424" y="91"/>
                      </a:lnTo>
                      <a:lnTo>
                        <a:pt x="424" y="109"/>
                      </a:lnTo>
                      <a:lnTo>
                        <a:pt x="424" y="109"/>
                      </a:lnTo>
                      <a:lnTo>
                        <a:pt x="451" y="136"/>
                      </a:lnTo>
                      <a:lnTo>
                        <a:pt x="479" y="159"/>
                      </a:lnTo>
                      <a:lnTo>
                        <a:pt x="497" y="191"/>
                      </a:lnTo>
                      <a:lnTo>
                        <a:pt x="506" y="236"/>
                      </a:lnTo>
                      <a:lnTo>
                        <a:pt x="497" y="259"/>
                      </a:lnTo>
                      <a:lnTo>
                        <a:pt x="483" y="268"/>
                      </a:lnTo>
                      <a:lnTo>
                        <a:pt x="465" y="282"/>
                      </a:lnTo>
                      <a:lnTo>
                        <a:pt x="451" y="291"/>
                      </a:lnTo>
                      <a:lnTo>
                        <a:pt x="451" y="295"/>
                      </a:lnTo>
                      <a:lnTo>
                        <a:pt x="451" y="300"/>
                      </a:lnTo>
                      <a:lnTo>
                        <a:pt x="451" y="304"/>
                      </a:lnTo>
                      <a:lnTo>
                        <a:pt x="447" y="309"/>
                      </a:lnTo>
                      <a:lnTo>
                        <a:pt x="433" y="309"/>
                      </a:lnTo>
                      <a:lnTo>
                        <a:pt x="424" y="313"/>
                      </a:lnTo>
                      <a:lnTo>
                        <a:pt x="410" y="313"/>
                      </a:lnTo>
                      <a:lnTo>
                        <a:pt x="397" y="318"/>
                      </a:lnTo>
                      <a:lnTo>
                        <a:pt x="387" y="327"/>
                      </a:lnTo>
                      <a:lnTo>
                        <a:pt x="383" y="336"/>
                      </a:lnTo>
                      <a:lnTo>
                        <a:pt x="374" y="345"/>
                      </a:lnTo>
                      <a:lnTo>
                        <a:pt x="360" y="350"/>
                      </a:lnTo>
                      <a:lnTo>
                        <a:pt x="351" y="350"/>
                      </a:lnTo>
                      <a:lnTo>
                        <a:pt x="342" y="350"/>
                      </a:lnTo>
                      <a:lnTo>
                        <a:pt x="337" y="350"/>
                      </a:lnTo>
                      <a:lnTo>
                        <a:pt x="328" y="350"/>
                      </a:lnTo>
                      <a:lnTo>
                        <a:pt x="319" y="350"/>
                      </a:lnTo>
                      <a:lnTo>
                        <a:pt x="310" y="354"/>
                      </a:lnTo>
                      <a:lnTo>
                        <a:pt x="301" y="363"/>
                      </a:lnTo>
                      <a:lnTo>
                        <a:pt x="292" y="363"/>
                      </a:lnTo>
                      <a:lnTo>
                        <a:pt x="278" y="363"/>
                      </a:lnTo>
                      <a:lnTo>
                        <a:pt x="264" y="359"/>
                      </a:lnTo>
                      <a:lnTo>
                        <a:pt x="251" y="359"/>
                      </a:lnTo>
                      <a:lnTo>
                        <a:pt x="237" y="359"/>
                      </a:lnTo>
                      <a:lnTo>
                        <a:pt x="201" y="354"/>
                      </a:lnTo>
                      <a:lnTo>
                        <a:pt x="182" y="332"/>
                      </a:lnTo>
                      <a:lnTo>
                        <a:pt x="173" y="304"/>
                      </a:lnTo>
                      <a:lnTo>
                        <a:pt x="160" y="286"/>
                      </a:lnTo>
                      <a:lnTo>
                        <a:pt x="151" y="277"/>
                      </a:lnTo>
                      <a:lnTo>
                        <a:pt x="151" y="272"/>
                      </a:lnTo>
                      <a:lnTo>
                        <a:pt x="146" y="263"/>
                      </a:lnTo>
                      <a:lnTo>
                        <a:pt x="146" y="259"/>
                      </a:lnTo>
                      <a:lnTo>
                        <a:pt x="137" y="259"/>
                      </a:lnTo>
                      <a:lnTo>
                        <a:pt x="137" y="259"/>
                      </a:lnTo>
                      <a:lnTo>
                        <a:pt x="132" y="259"/>
                      </a:lnTo>
                      <a:lnTo>
                        <a:pt x="123" y="259"/>
                      </a:lnTo>
                      <a:lnTo>
                        <a:pt x="110" y="250"/>
                      </a:lnTo>
                      <a:lnTo>
                        <a:pt x="100" y="227"/>
                      </a:lnTo>
                      <a:lnTo>
                        <a:pt x="100" y="204"/>
                      </a:lnTo>
                      <a:lnTo>
                        <a:pt x="91" y="186"/>
                      </a:lnTo>
                      <a:lnTo>
                        <a:pt x="87" y="182"/>
                      </a:lnTo>
                      <a:lnTo>
                        <a:pt x="78" y="177"/>
                      </a:lnTo>
                      <a:lnTo>
                        <a:pt x="73" y="172"/>
                      </a:lnTo>
                      <a:lnTo>
                        <a:pt x="69" y="168"/>
                      </a:lnTo>
                      <a:lnTo>
                        <a:pt x="55" y="163"/>
                      </a:lnTo>
                      <a:lnTo>
                        <a:pt x="32" y="159"/>
                      </a:lnTo>
                      <a:lnTo>
                        <a:pt x="9" y="154"/>
                      </a:lnTo>
                      <a:lnTo>
                        <a:pt x="0" y="141"/>
                      </a:lnTo>
                      <a:lnTo>
                        <a:pt x="9" y="113"/>
                      </a:lnTo>
                      <a:lnTo>
                        <a:pt x="32" y="95"/>
                      </a:lnTo>
                      <a:lnTo>
                        <a:pt x="59" y="72"/>
                      </a:lnTo>
                      <a:lnTo>
                        <a:pt x="78" y="50"/>
                      </a:lnTo>
                      <a:lnTo>
                        <a:pt x="78" y="50"/>
                      </a:lnTo>
                      <a:lnTo>
                        <a:pt x="78" y="50"/>
                      </a:lnTo>
                      <a:lnTo>
                        <a:pt x="78" y="50"/>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anchor="ctr"/>
                <a:lstStyle/>
                <a:p>
                  <a:pPr defTabSz="913204" fontAlgn="auto">
                    <a:spcBef>
                      <a:spcPts val="0"/>
                    </a:spcBef>
                    <a:spcAft>
                      <a:spcPts val="0"/>
                    </a:spcAft>
                    <a:defRPr/>
                  </a:pPr>
                  <a:endParaRPr lang="en-US">
                    <a:solidFill>
                      <a:srgbClr val="000000"/>
                    </a:solidFill>
                    <a:latin typeface="+mn-lt"/>
                    <a:cs typeface="+mn-cs"/>
                  </a:endParaRPr>
                </a:p>
              </p:txBody>
            </p:sp>
          </p:grpSp>
          <p:grpSp>
            <p:nvGrpSpPr>
              <p:cNvPr id="18" name="Group 303">
                <a:extLst>
                  <a:ext uri="{FF2B5EF4-FFF2-40B4-BE49-F238E27FC236}">
                    <a16:creationId xmlns="" xmlns:a16="http://schemas.microsoft.com/office/drawing/2014/main" id="{427EDC88-3CD5-47AB-9F40-E79C42074772}"/>
                  </a:ext>
                </a:extLst>
              </p:cNvPr>
              <p:cNvGrpSpPr>
                <a:grpSpLocks noChangeAspect="1"/>
              </p:cNvGrpSpPr>
              <p:nvPr/>
            </p:nvGrpSpPr>
            <p:grpSpPr bwMode="auto">
              <a:xfrm>
                <a:off x="4293" y="1815"/>
                <a:ext cx="419" cy="639"/>
                <a:chOff x="3595" y="1473"/>
                <a:chExt cx="578" cy="813"/>
              </a:xfrm>
              <a:grpFill/>
            </p:grpSpPr>
            <p:sp>
              <p:nvSpPr>
                <p:cNvPr id="24" name="Freeform 304">
                  <a:extLst>
                    <a:ext uri="{FF2B5EF4-FFF2-40B4-BE49-F238E27FC236}">
                      <a16:creationId xmlns="" xmlns:a16="http://schemas.microsoft.com/office/drawing/2014/main" id="{FF6250F9-9E70-4B6E-B69A-F8C9549CD50B}"/>
                    </a:ext>
                  </a:extLst>
                </p:cNvPr>
                <p:cNvSpPr>
                  <a:spLocks noChangeAspect="1"/>
                </p:cNvSpPr>
                <p:nvPr/>
              </p:nvSpPr>
              <p:spPr bwMode="auto">
                <a:xfrm>
                  <a:off x="4064" y="1555"/>
                  <a:ext cx="109" cy="163"/>
                </a:xfrm>
                <a:custGeom>
                  <a:avLst/>
                  <a:gdLst>
                    <a:gd name="T0" fmla="*/ 50 w 109"/>
                    <a:gd name="T1" fmla="*/ 163 h 163"/>
                    <a:gd name="T2" fmla="*/ 55 w 109"/>
                    <a:gd name="T3" fmla="*/ 154 h 163"/>
                    <a:gd name="T4" fmla="*/ 64 w 109"/>
                    <a:gd name="T5" fmla="*/ 150 h 163"/>
                    <a:gd name="T6" fmla="*/ 68 w 109"/>
                    <a:gd name="T7" fmla="*/ 140 h 163"/>
                    <a:gd name="T8" fmla="*/ 68 w 109"/>
                    <a:gd name="T9" fmla="*/ 136 h 163"/>
                    <a:gd name="T10" fmla="*/ 68 w 109"/>
                    <a:gd name="T11" fmla="*/ 131 h 163"/>
                    <a:gd name="T12" fmla="*/ 64 w 109"/>
                    <a:gd name="T13" fmla="*/ 127 h 163"/>
                    <a:gd name="T14" fmla="*/ 64 w 109"/>
                    <a:gd name="T15" fmla="*/ 122 h 163"/>
                    <a:gd name="T16" fmla="*/ 68 w 109"/>
                    <a:gd name="T17" fmla="*/ 118 h 163"/>
                    <a:gd name="T18" fmla="*/ 78 w 109"/>
                    <a:gd name="T19" fmla="*/ 122 h 163"/>
                    <a:gd name="T20" fmla="*/ 87 w 109"/>
                    <a:gd name="T21" fmla="*/ 127 h 163"/>
                    <a:gd name="T22" fmla="*/ 96 w 109"/>
                    <a:gd name="T23" fmla="*/ 131 h 163"/>
                    <a:gd name="T24" fmla="*/ 109 w 109"/>
                    <a:gd name="T25" fmla="*/ 131 h 163"/>
                    <a:gd name="T26" fmla="*/ 105 w 109"/>
                    <a:gd name="T27" fmla="*/ 118 h 163"/>
                    <a:gd name="T28" fmla="*/ 96 w 109"/>
                    <a:gd name="T29" fmla="*/ 109 h 163"/>
                    <a:gd name="T30" fmla="*/ 87 w 109"/>
                    <a:gd name="T31" fmla="*/ 95 h 163"/>
                    <a:gd name="T32" fmla="*/ 82 w 109"/>
                    <a:gd name="T33" fmla="*/ 86 h 163"/>
                    <a:gd name="T34" fmla="*/ 78 w 109"/>
                    <a:gd name="T35" fmla="*/ 72 h 163"/>
                    <a:gd name="T36" fmla="*/ 78 w 109"/>
                    <a:gd name="T37" fmla="*/ 59 h 163"/>
                    <a:gd name="T38" fmla="*/ 73 w 109"/>
                    <a:gd name="T39" fmla="*/ 45 h 163"/>
                    <a:gd name="T40" fmla="*/ 68 w 109"/>
                    <a:gd name="T41" fmla="*/ 36 h 163"/>
                    <a:gd name="T42" fmla="*/ 59 w 109"/>
                    <a:gd name="T43" fmla="*/ 27 h 163"/>
                    <a:gd name="T44" fmla="*/ 46 w 109"/>
                    <a:gd name="T45" fmla="*/ 27 h 163"/>
                    <a:gd name="T46" fmla="*/ 37 w 109"/>
                    <a:gd name="T47" fmla="*/ 22 h 163"/>
                    <a:gd name="T48" fmla="*/ 27 w 109"/>
                    <a:gd name="T49" fmla="*/ 9 h 163"/>
                    <a:gd name="T50" fmla="*/ 27 w 109"/>
                    <a:gd name="T51" fmla="*/ 9 h 163"/>
                    <a:gd name="T52" fmla="*/ 23 w 109"/>
                    <a:gd name="T53" fmla="*/ 0 h 163"/>
                    <a:gd name="T54" fmla="*/ 23 w 109"/>
                    <a:gd name="T55" fmla="*/ 0 h 163"/>
                    <a:gd name="T56" fmla="*/ 18 w 109"/>
                    <a:gd name="T57" fmla="*/ 13 h 163"/>
                    <a:gd name="T58" fmla="*/ 9 w 109"/>
                    <a:gd name="T59" fmla="*/ 22 h 163"/>
                    <a:gd name="T60" fmla="*/ 5 w 109"/>
                    <a:gd name="T61" fmla="*/ 31 h 163"/>
                    <a:gd name="T62" fmla="*/ 0 w 109"/>
                    <a:gd name="T63" fmla="*/ 45 h 163"/>
                    <a:gd name="T64" fmla="*/ 0 w 109"/>
                    <a:gd name="T65" fmla="*/ 54 h 163"/>
                    <a:gd name="T66" fmla="*/ 0 w 109"/>
                    <a:gd name="T67" fmla="*/ 63 h 163"/>
                    <a:gd name="T68" fmla="*/ 0 w 109"/>
                    <a:gd name="T69" fmla="*/ 77 h 163"/>
                    <a:gd name="T70" fmla="*/ 0 w 109"/>
                    <a:gd name="T71" fmla="*/ 86 h 163"/>
                    <a:gd name="T72" fmla="*/ 5 w 109"/>
                    <a:gd name="T73" fmla="*/ 100 h 163"/>
                    <a:gd name="T74" fmla="*/ 9 w 109"/>
                    <a:gd name="T75" fmla="*/ 109 h 163"/>
                    <a:gd name="T76" fmla="*/ 23 w 109"/>
                    <a:gd name="T77" fmla="*/ 113 h 163"/>
                    <a:gd name="T78" fmla="*/ 32 w 109"/>
                    <a:gd name="T79" fmla="*/ 118 h 163"/>
                    <a:gd name="T80" fmla="*/ 37 w 109"/>
                    <a:gd name="T81" fmla="*/ 122 h 163"/>
                    <a:gd name="T82" fmla="*/ 41 w 109"/>
                    <a:gd name="T83" fmla="*/ 127 h 163"/>
                    <a:gd name="T84" fmla="*/ 46 w 109"/>
                    <a:gd name="T85" fmla="*/ 131 h 163"/>
                    <a:gd name="T86" fmla="*/ 46 w 109"/>
                    <a:gd name="T87" fmla="*/ 136 h 163"/>
                    <a:gd name="T88" fmla="*/ 46 w 109"/>
                    <a:gd name="T89" fmla="*/ 145 h 163"/>
                    <a:gd name="T90" fmla="*/ 50 w 109"/>
                    <a:gd name="T91" fmla="*/ 150 h 163"/>
                    <a:gd name="T92" fmla="*/ 50 w 109"/>
                    <a:gd name="T93" fmla="*/ 159 h 163"/>
                    <a:gd name="T94" fmla="*/ 50 w 109"/>
                    <a:gd name="T95" fmla="*/ 163 h 163"/>
                    <a:gd name="T96" fmla="*/ 50 w 109"/>
                    <a:gd name="T97" fmla="*/ 163 h 163"/>
                    <a:gd name="T98" fmla="*/ 50 w 109"/>
                    <a:gd name="T99" fmla="*/ 163 h 163"/>
                    <a:gd name="T100" fmla="*/ 50 w 109"/>
                    <a:gd name="T101"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9" h="163">
                      <a:moveTo>
                        <a:pt x="50" y="163"/>
                      </a:moveTo>
                      <a:lnTo>
                        <a:pt x="55" y="154"/>
                      </a:lnTo>
                      <a:lnTo>
                        <a:pt x="64" y="150"/>
                      </a:lnTo>
                      <a:lnTo>
                        <a:pt x="68" y="140"/>
                      </a:lnTo>
                      <a:lnTo>
                        <a:pt x="68" y="136"/>
                      </a:lnTo>
                      <a:lnTo>
                        <a:pt x="68" y="131"/>
                      </a:lnTo>
                      <a:lnTo>
                        <a:pt x="64" y="127"/>
                      </a:lnTo>
                      <a:lnTo>
                        <a:pt x="64" y="122"/>
                      </a:lnTo>
                      <a:lnTo>
                        <a:pt x="68" y="118"/>
                      </a:lnTo>
                      <a:lnTo>
                        <a:pt x="78" y="122"/>
                      </a:lnTo>
                      <a:lnTo>
                        <a:pt x="87" y="127"/>
                      </a:lnTo>
                      <a:lnTo>
                        <a:pt x="96" y="131"/>
                      </a:lnTo>
                      <a:lnTo>
                        <a:pt x="109" y="131"/>
                      </a:lnTo>
                      <a:lnTo>
                        <a:pt x="105" y="118"/>
                      </a:lnTo>
                      <a:lnTo>
                        <a:pt x="96" y="109"/>
                      </a:lnTo>
                      <a:lnTo>
                        <a:pt x="87" y="95"/>
                      </a:lnTo>
                      <a:lnTo>
                        <a:pt x="82" y="86"/>
                      </a:lnTo>
                      <a:lnTo>
                        <a:pt x="78" y="72"/>
                      </a:lnTo>
                      <a:lnTo>
                        <a:pt x="78" y="59"/>
                      </a:lnTo>
                      <a:lnTo>
                        <a:pt x="73" y="45"/>
                      </a:lnTo>
                      <a:lnTo>
                        <a:pt x="68" y="36"/>
                      </a:lnTo>
                      <a:lnTo>
                        <a:pt x="59" y="27"/>
                      </a:lnTo>
                      <a:lnTo>
                        <a:pt x="46" y="27"/>
                      </a:lnTo>
                      <a:lnTo>
                        <a:pt x="37" y="22"/>
                      </a:lnTo>
                      <a:lnTo>
                        <a:pt x="27" y="9"/>
                      </a:lnTo>
                      <a:lnTo>
                        <a:pt x="27" y="9"/>
                      </a:lnTo>
                      <a:lnTo>
                        <a:pt x="23" y="0"/>
                      </a:lnTo>
                      <a:lnTo>
                        <a:pt x="23" y="0"/>
                      </a:lnTo>
                      <a:lnTo>
                        <a:pt x="18" y="13"/>
                      </a:lnTo>
                      <a:lnTo>
                        <a:pt x="9" y="22"/>
                      </a:lnTo>
                      <a:lnTo>
                        <a:pt x="5" y="31"/>
                      </a:lnTo>
                      <a:lnTo>
                        <a:pt x="0" y="45"/>
                      </a:lnTo>
                      <a:lnTo>
                        <a:pt x="0" y="54"/>
                      </a:lnTo>
                      <a:lnTo>
                        <a:pt x="0" y="63"/>
                      </a:lnTo>
                      <a:lnTo>
                        <a:pt x="0" y="77"/>
                      </a:lnTo>
                      <a:lnTo>
                        <a:pt x="0" y="86"/>
                      </a:lnTo>
                      <a:lnTo>
                        <a:pt x="5" y="100"/>
                      </a:lnTo>
                      <a:lnTo>
                        <a:pt x="9" y="109"/>
                      </a:lnTo>
                      <a:lnTo>
                        <a:pt x="23" y="113"/>
                      </a:lnTo>
                      <a:lnTo>
                        <a:pt x="32" y="118"/>
                      </a:lnTo>
                      <a:lnTo>
                        <a:pt x="37" y="122"/>
                      </a:lnTo>
                      <a:lnTo>
                        <a:pt x="41" y="127"/>
                      </a:lnTo>
                      <a:lnTo>
                        <a:pt x="46" y="131"/>
                      </a:lnTo>
                      <a:lnTo>
                        <a:pt x="46" y="136"/>
                      </a:lnTo>
                      <a:lnTo>
                        <a:pt x="46" y="145"/>
                      </a:lnTo>
                      <a:lnTo>
                        <a:pt x="50" y="150"/>
                      </a:lnTo>
                      <a:lnTo>
                        <a:pt x="50" y="159"/>
                      </a:lnTo>
                      <a:lnTo>
                        <a:pt x="50" y="163"/>
                      </a:lnTo>
                      <a:lnTo>
                        <a:pt x="50" y="163"/>
                      </a:lnTo>
                      <a:lnTo>
                        <a:pt x="50" y="163"/>
                      </a:lnTo>
                      <a:lnTo>
                        <a:pt x="50" y="163"/>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lIns="90000" rIns="18000" anchor="ctr"/>
                <a:lstStyle/>
                <a:p>
                  <a:pPr defTabSz="913204" fontAlgn="auto">
                    <a:spcBef>
                      <a:spcPts val="0"/>
                    </a:spcBef>
                    <a:spcAft>
                      <a:spcPts val="0"/>
                    </a:spcAft>
                    <a:defRPr/>
                  </a:pPr>
                  <a:endParaRPr lang="en-US">
                    <a:solidFill>
                      <a:srgbClr val="000000"/>
                    </a:solidFill>
                    <a:latin typeface="+mn-lt"/>
                    <a:cs typeface="+mn-cs"/>
                  </a:endParaRPr>
                </a:p>
              </p:txBody>
            </p:sp>
            <p:sp>
              <p:nvSpPr>
                <p:cNvPr id="25" name="Freeform 305">
                  <a:extLst>
                    <a:ext uri="{FF2B5EF4-FFF2-40B4-BE49-F238E27FC236}">
                      <a16:creationId xmlns="" xmlns:a16="http://schemas.microsoft.com/office/drawing/2014/main" id="{1B3854B4-7525-4F1B-93C2-45225CCF0391}"/>
                    </a:ext>
                  </a:extLst>
                </p:cNvPr>
                <p:cNvSpPr>
                  <a:spLocks noChangeAspect="1"/>
                </p:cNvSpPr>
                <p:nvPr/>
              </p:nvSpPr>
              <p:spPr bwMode="auto">
                <a:xfrm>
                  <a:off x="3722" y="1668"/>
                  <a:ext cx="429" cy="477"/>
                </a:xfrm>
                <a:custGeom>
                  <a:avLst/>
                  <a:gdLst>
                    <a:gd name="T0" fmla="*/ 164 w 429"/>
                    <a:gd name="T1" fmla="*/ 468 h 477"/>
                    <a:gd name="T2" fmla="*/ 164 w 429"/>
                    <a:gd name="T3" fmla="*/ 459 h 477"/>
                    <a:gd name="T4" fmla="*/ 164 w 429"/>
                    <a:gd name="T5" fmla="*/ 446 h 477"/>
                    <a:gd name="T6" fmla="*/ 183 w 429"/>
                    <a:gd name="T7" fmla="*/ 427 h 477"/>
                    <a:gd name="T8" fmla="*/ 233 w 429"/>
                    <a:gd name="T9" fmla="*/ 387 h 477"/>
                    <a:gd name="T10" fmla="*/ 260 w 429"/>
                    <a:gd name="T11" fmla="*/ 327 h 477"/>
                    <a:gd name="T12" fmla="*/ 251 w 429"/>
                    <a:gd name="T13" fmla="*/ 300 h 477"/>
                    <a:gd name="T14" fmla="*/ 301 w 429"/>
                    <a:gd name="T15" fmla="*/ 246 h 477"/>
                    <a:gd name="T16" fmla="*/ 333 w 429"/>
                    <a:gd name="T17" fmla="*/ 214 h 477"/>
                    <a:gd name="T18" fmla="*/ 365 w 429"/>
                    <a:gd name="T19" fmla="*/ 168 h 477"/>
                    <a:gd name="T20" fmla="*/ 429 w 429"/>
                    <a:gd name="T21" fmla="*/ 100 h 477"/>
                    <a:gd name="T22" fmla="*/ 410 w 429"/>
                    <a:gd name="T23" fmla="*/ 77 h 477"/>
                    <a:gd name="T24" fmla="*/ 401 w 429"/>
                    <a:gd name="T25" fmla="*/ 82 h 477"/>
                    <a:gd name="T26" fmla="*/ 388 w 429"/>
                    <a:gd name="T27" fmla="*/ 87 h 477"/>
                    <a:gd name="T28" fmla="*/ 379 w 429"/>
                    <a:gd name="T29" fmla="*/ 73 h 477"/>
                    <a:gd name="T30" fmla="*/ 388 w 429"/>
                    <a:gd name="T31" fmla="*/ 55 h 477"/>
                    <a:gd name="T32" fmla="*/ 392 w 429"/>
                    <a:gd name="T33" fmla="*/ 37 h 477"/>
                    <a:gd name="T34" fmla="*/ 388 w 429"/>
                    <a:gd name="T35" fmla="*/ 18 h 477"/>
                    <a:gd name="T36" fmla="*/ 374 w 429"/>
                    <a:gd name="T37" fmla="*/ 5 h 477"/>
                    <a:gd name="T38" fmla="*/ 365 w 429"/>
                    <a:gd name="T39" fmla="*/ 0 h 477"/>
                    <a:gd name="T40" fmla="*/ 324 w 429"/>
                    <a:gd name="T41" fmla="*/ 27 h 477"/>
                    <a:gd name="T42" fmla="*/ 265 w 429"/>
                    <a:gd name="T43" fmla="*/ 41 h 477"/>
                    <a:gd name="T44" fmla="*/ 237 w 429"/>
                    <a:gd name="T45" fmla="*/ 41 h 477"/>
                    <a:gd name="T46" fmla="*/ 205 w 429"/>
                    <a:gd name="T47" fmla="*/ 59 h 477"/>
                    <a:gd name="T48" fmla="*/ 183 w 429"/>
                    <a:gd name="T49" fmla="*/ 77 h 477"/>
                    <a:gd name="T50" fmla="*/ 151 w 429"/>
                    <a:gd name="T51" fmla="*/ 96 h 477"/>
                    <a:gd name="T52" fmla="*/ 96 w 429"/>
                    <a:gd name="T53" fmla="*/ 123 h 477"/>
                    <a:gd name="T54" fmla="*/ 28 w 429"/>
                    <a:gd name="T55" fmla="*/ 150 h 477"/>
                    <a:gd name="T56" fmla="*/ 19 w 429"/>
                    <a:gd name="T57" fmla="*/ 168 h 477"/>
                    <a:gd name="T58" fmla="*/ 46 w 429"/>
                    <a:gd name="T59" fmla="*/ 182 h 477"/>
                    <a:gd name="T60" fmla="*/ 55 w 429"/>
                    <a:gd name="T61" fmla="*/ 205 h 477"/>
                    <a:gd name="T62" fmla="*/ 46 w 429"/>
                    <a:gd name="T63" fmla="*/ 246 h 477"/>
                    <a:gd name="T64" fmla="*/ 46 w 429"/>
                    <a:gd name="T65" fmla="*/ 268 h 477"/>
                    <a:gd name="T66" fmla="*/ 60 w 429"/>
                    <a:gd name="T67" fmla="*/ 273 h 477"/>
                    <a:gd name="T68" fmla="*/ 73 w 429"/>
                    <a:gd name="T69" fmla="*/ 264 h 477"/>
                    <a:gd name="T70" fmla="*/ 87 w 429"/>
                    <a:gd name="T71" fmla="*/ 273 h 477"/>
                    <a:gd name="T72" fmla="*/ 110 w 429"/>
                    <a:gd name="T73" fmla="*/ 296 h 477"/>
                    <a:gd name="T74" fmla="*/ 133 w 429"/>
                    <a:gd name="T75" fmla="*/ 337 h 477"/>
                    <a:gd name="T76" fmla="*/ 155 w 429"/>
                    <a:gd name="T77" fmla="*/ 359 h 477"/>
                    <a:gd name="T78" fmla="*/ 178 w 429"/>
                    <a:gd name="T79" fmla="*/ 373 h 477"/>
                    <a:gd name="T80" fmla="*/ 164 w 429"/>
                    <a:gd name="T81" fmla="*/ 418 h 477"/>
                    <a:gd name="T82" fmla="*/ 151 w 429"/>
                    <a:gd name="T83" fmla="*/ 464 h 477"/>
                    <a:gd name="T84" fmla="*/ 160 w 429"/>
                    <a:gd name="T85" fmla="*/ 477 h 477"/>
                    <a:gd name="T86" fmla="*/ 160 w 429"/>
                    <a:gd name="T87"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9" h="477">
                      <a:moveTo>
                        <a:pt x="160" y="477"/>
                      </a:moveTo>
                      <a:lnTo>
                        <a:pt x="160" y="473"/>
                      </a:lnTo>
                      <a:lnTo>
                        <a:pt x="164" y="468"/>
                      </a:lnTo>
                      <a:lnTo>
                        <a:pt x="164" y="468"/>
                      </a:lnTo>
                      <a:lnTo>
                        <a:pt x="164" y="464"/>
                      </a:lnTo>
                      <a:lnTo>
                        <a:pt x="164" y="459"/>
                      </a:lnTo>
                      <a:lnTo>
                        <a:pt x="164" y="455"/>
                      </a:lnTo>
                      <a:lnTo>
                        <a:pt x="164" y="450"/>
                      </a:lnTo>
                      <a:lnTo>
                        <a:pt x="164" y="446"/>
                      </a:lnTo>
                      <a:lnTo>
                        <a:pt x="169" y="441"/>
                      </a:lnTo>
                      <a:lnTo>
                        <a:pt x="174" y="432"/>
                      </a:lnTo>
                      <a:lnTo>
                        <a:pt x="183" y="427"/>
                      </a:lnTo>
                      <a:lnTo>
                        <a:pt x="192" y="423"/>
                      </a:lnTo>
                      <a:lnTo>
                        <a:pt x="210" y="405"/>
                      </a:lnTo>
                      <a:lnTo>
                        <a:pt x="233" y="387"/>
                      </a:lnTo>
                      <a:lnTo>
                        <a:pt x="251" y="364"/>
                      </a:lnTo>
                      <a:lnTo>
                        <a:pt x="260" y="337"/>
                      </a:lnTo>
                      <a:lnTo>
                        <a:pt x="260" y="327"/>
                      </a:lnTo>
                      <a:lnTo>
                        <a:pt x="256" y="318"/>
                      </a:lnTo>
                      <a:lnTo>
                        <a:pt x="251" y="309"/>
                      </a:lnTo>
                      <a:lnTo>
                        <a:pt x="251" y="300"/>
                      </a:lnTo>
                      <a:lnTo>
                        <a:pt x="260" y="277"/>
                      </a:lnTo>
                      <a:lnTo>
                        <a:pt x="278" y="259"/>
                      </a:lnTo>
                      <a:lnTo>
                        <a:pt x="301" y="246"/>
                      </a:lnTo>
                      <a:lnTo>
                        <a:pt x="319" y="232"/>
                      </a:lnTo>
                      <a:lnTo>
                        <a:pt x="328" y="223"/>
                      </a:lnTo>
                      <a:lnTo>
                        <a:pt x="333" y="214"/>
                      </a:lnTo>
                      <a:lnTo>
                        <a:pt x="342" y="200"/>
                      </a:lnTo>
                      <a:lnTo>
                        <a:pt x="351" y="191"/>
                      </a:lnTo>
                      <a:lnTo>
                        <a:pt x="365" y="168"/>
                      </a:lnTo>
                      <a:lnTo>
                        <a:pt x="383" y="146"/>
                      </a:lnTo>
                      <a:lnTo>
                        <a:pt x="406" y="118"/>
                      </a:lnTo>
                      <a:lnTo>
                        <a:pt x="429" y="100"/>
                      </a:lnTo>
                      <a:lnTo>
                        <a:pt x="429" y="100"/>
                      </a:lnTo>
                      <a:lnTo>
                        <a:pt x="429" y="77"/>
                      </a:lnTo>
                      <a:lnTo>
                        <a:pt x="410" y="77"/>
                      </a:lnTo>
                      <a:lnTo>
                        <a:pt x="410" y="77"/>
                      </a:lnTo>
                      <a:lnTo>
                        <a:pt x="406" y="77"/>
                      </a:lnTo>
                      <a:lnTo>
                        <a:pt x="401" y="82"/>
                      </a:lnTo>
                      <a:lnTo>
                        <a:pt x="392" y="87"/>
                      </a:lnTo>
                      <a:lnTo>
                        <a:pt x="392" y="87"/>
                      </a:lnTo>
                      <a:lnTo>
                        <a:pt x="388" y="87"/>
                      </a:lnTo>
                      <a:lnTo>
                        <a:pt x="383" y="82"/>
                      </a:lnTo>
                      <a:lnTo>
                        <a:pt x="379" y="77"/>
                      </a:lnTo>
                      <a:lnTo>
                        <a:pt x="379" y="73"/>
                      </a:lnTo>
                      <a:lnTo>
                        <a:pt x="379" y="64"/>
                      </a:lnTo>
                      <a:lnTo>
                        <a:pt x="383" y="59"/>
                      </a:lnTo>
                      <a:lnTo>
                        <a:pt x="388" y="55"/>
                      </a:lnTo>
                      <a:lnTo>
                        <a:pt x="392" y="50"/>
                      </a:lnTo>
                      <a:lnTo>
                        <a:pt x="392" y="46"/>
                      </a:lnTo>
                      <a:lnTo>
                        <a:pt x="392" y="37"/>
                      </a:lnTo>
                      <a:lnTo>
                        <a:pt x="388" y="32"/>
                      </a:lnTo>
                      <a:lnTo>
                        <a:pt x="388" y="23"/>
                      </a:lnTo>
                      <a:lnTo>
                        <a:pt x="388" y="18"/>
                      </a:lnTo>
                      <a:lnTo>
                        <a:pt x="383" y="14"/>
                      </a:lnTo>
                      <a:lnTo>
                        <a:pt x="379" y="9"/>
                      </a:lnTo>
                      <a:lnTo>
                        <a:pt x="374" y="5"/>
                      </a:lnTo>
                      <a:lnTo>
                        <a:pt x="369" y="5"/>
                      </a:lnTo>
                      <a:lnTo>
                        <a:pt x="369" y="0"/>
                      </a:lnTo>
                      <a:lnTo>
                        <a:pt x="365" y="0"/>
                      </a:lnTo>
                      <a:lnTo>
                        <a:pt x="360" y="0"/>
                      </a:lnTo>
                      <a:lnTo>
                        <a:pt x="347" y="14"/>
                      </a:lnTo>
                      <a:lnTo>
                        <a:pt x="324" y="27"/>
                      </a:lnTo>
                      <a:lnTo>
                        <a:pt x="301" y="37"/>
                      </a:lnTo>
                      <a:lnTo>
                        <a:pt x="278" y="41"/>
                      </a:lnTo>
                      <a:lnTo>
                        <a:pt x="265" y="41"/>
                      </a:lnTo>
                      <a:lnTo>
                        <a:pt x="256" y="41"/>
                      </a:lnTo>
                      <a:lnTo>
                        <a:pt x="246" y="41"/>
                      </a:lnTo>
                      <a:lnTo>
                        <a:pt x="237" y="41"/>
                      </a:lnTo>
                      <a:lnTo>
                        <a:pt x="224" y="46"/>
                      </a:lnTo>
                      <a:lnTo>
                        <a:pt x="215" y="50"/>
                      </a:lnTo>
                      <a:lnTo>
                        <a:pt x="205" y="59"/>
                      </a:lnTo>
                      <a:lnTo>
                        <a:pt x="201" y="68"/>
                      </a:lnTo>
                      <a:lnTo>
                        <a:pt x="192" y="73"/>
                      </a:lnTo>
                      <a:lnTo>
                        <a:pt x="183" y="77"/>
                      </a:lnTo>
                      <a:lnTo>
                        <a:pt x="174" y="77"/>
                      </a:lnTo>
                      <a:lnTo>
                        <a:pt x="164" y="82"/>
                      </a:lnTo>
                      <a:lnTo>
                        <a:pt x="151" y="96"/>
                      </a:lnTo>
                      <a:lnTo>
                        <a:pt x="137" y="109"/>
                      </a:lnTo>
                      <a:lnTo>
                        <a:pt x="119" y="118"/>
                      </a:lnTo>
                      <a:lnTo>
                        <a:pt x="96" y="123"/>
                      </a:lnTo>
                      <a:lnTo>
                        <a:pt x="69" y="127"/>
                      </a:lnTo>
                      <a:lnTo>
                        <a:pt x="51" y="137"/>
                      </a:lnTo>
                      <a:lnTo>
                        <a:pt x="28" y="150"/>
                      </a:lnTo>
                      <a:lnTo>
                        <a:pt x="0" y="155"/>
                      </a:lnTo>
                      <a:lnTo>
                        <a:pt x="10" y="159"/>
                      </a:lnTo>
                      <a:lnTo>
                        <a:pt x="19" y="168"/>
                      </a:lnTo>
                      <a:lnTo>
                        <a:pt x="32" y="173"/>
                      </a:lnTo>
                      <a:lnTo>
                        <a:pt x="41" y="173"/>
                      </a:lnTo>
                      <a:lnTo>
                        <a:pt x="46" y="182"/>
                      </a:lnTo>
                      <a:lnTo>
                        <a:pt x="51" y="187"/>
                      </a:lnTo>
                      <a:lnTo>
                        <a:pt x="55" y="196"/>
                      </a:lnTo>
                      <a:lnTo>
                        <a:pt x="55" y="205"/>
                      </a:lnTo>
                      <a:lnTo>
                        <a:pt x="55" y="218"/>
                      </a:lnTo>
                      <a:lnTo>
                        <a:pt x="51" y="232"/>
                      </a:lnTo>
                      <a:lnTo>
                        <a:pt x="46" y="246"/>
                      </a:lnTo>
                      <a:lnTo>
                        <a:pt x="46" y="259"/>
                      </a:lnTo>
                      <a:lnTo>
                        <a:pt x="46" y="264"/>
                      </a:lnTo>
                      <a:lnTo>
                        <a:pt x="46" y="268"/>
                      </a:lnTo>
                      <a:lnTo>
                        <a:pt x="51" y="273"/>
                      </a:lnTo>
                      <a:lnTo>
                        <a:pt x="55" y="273"/>
                      </a:lnTo>
                      <a:lnTo>
                        <a:pt x="60" y="273"/>
                      </a:lnTo>
                      <a:lnTo>
                        <a:pt x="64" y="268"/>
                      </a:lnTo>
                      <a:lnTo>
                        <a:pt x="69" y="264"/>
                      </a:lnTo>
                      <a:lnTo>
                        <a:pt x="73" y="264"/>
                      </a:lnTo>
                      <a:lnTo>
                        <a:pt x="78" y="264"/>
                      </a:lnTo>
                      <a:lnTo>
                        <a:pt x="82" y="268"/>
                      </a:lnTo>
                      <a:lnTo>
                        <a:pt x="87" y="273"/>
                      </a:lnTo>
                      <a:lnTo>
                        <a:pt x="87" y="277"/>
                      </a:lnTo>
                      <a:lnTo>
                        <a:pt x="101" y="287"/>
                      </a:lnTo>
                      <a:lnTo>
                        <a:pt x="110" y="296"/>
                      </a:lnTo>
                      <a:lnTo>
                        <a:pt x="119" y="309"/>
                      </a:lnTo>
                      <a:lnTo>
                        <a:pt x="128" y="323"/>
                      </a:lnTo>
                      <a:lnTo>
                        <a:pt x="133" y="337"/>
                      </a:lnTo>
                      <a:lnTo>
                        <a:pt x="142" y="346"/>
                      </a:lnTo>
                      <a:lnTo>
                        <a:pt x="146" y="350"/>
                      </a:lnTo>
                      <a:lnTo>
                        <a:pt x="155" y="359"/>
                      </a:lnTo>
                      <a:lnTo>
                        <a:pt x="164" y="364"/>
                      </a:lnTo>
                      <a:lnTo>
                        <a:pt x="174" y="368"/>
                      </a:lnTo>
                      <a:lnTo>
                        <a:pt x="178" y="373"/>
                      </a:lnTo>
                      <a:lnTo>
                        <a:pt x="178" y="382"/>
                      </a:lnTo>
                      <a:lnTo>
                        <a:pt x="174" y="400"/>
                      </a:lnTo>
                      <a:lnTo>
                        <a:pt x="164" y="418"/>
                      </a:lnTo>
                      <a:lnTo>
                        <a:pt x="155" y="437"/>
                      </a:lnTo>
                      <a:lnTo>
                        <a:pt x="151" y="459"/>
                      </a:lnTo>
                      <a:lnTo>
                        <a:pt x="151" y="464"/>
                      </a:lnTo>
                      <a:lnTo>
                        <a:pt x="155" y="473"/>
                      </a:lnTo>
                      <a:lnTo>
                        <a:pt x="155" y="477"/>
                      </a:lnTo>
                      <a:lnTo>
                        <a:pt x="160" y="477"/>
                      </a:lnTo>
                      <a:lnTo>
                        <a:pt x="160" y="477"/>
                      </a:lnTo>
                      <a:lnTo>
                        <a:pt x="160" y="477"/>
                      </a:lnTo>
                      <a:lnTo>
                        <a:pt x="160" y="477"/>
                      </a:lnTo>
                      <a:close/>
                    </a:path>
                  </a:pathLst>
                </a:custGeom>
                <a:solidFill>
                  <a:schemeClr val="accent2">
                    <a:lumMod val="20000"/>
                    <a:lumOff val="80000"/>
                  </a:schemeClr>
                </a:solid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lIns="90000" rIns="18000" anchor="ctr"/>
                <a:lstStyle/>
                <a:p>
                  <a:pPr defTabSz="913204" fontAlgn="auto">
                    <a:spcBef>
                      <a:spcPts val="0"/>
                    </a:spcBef>
                    <a:spcAft>
                      <a:spcPts val="0"/>
                    </a:spcAft>
                    <a:defRPr/>
                  </a:pPr>
                  <a:endParaRPr lang="en-US">
                    <a:solidFill>
                      <a:srgbClr val="000000"/>
                    </a:solidFill>
                    <a:latin typeface="+mn-lt"/>
                    <a:cs typeface="+mn-cs"/>
                  </a:endParaRPr>
                </a:p>
              </p:txBody>
            </p:sp>
            <p:sp>
              <p:nvSpPr>
                <p:cNvPr id="26" name="Freeform 306">
                  <a:extLst>
                    <a:ext uri="{FF2B5EF4-FFF2-40B4-BE49-F238E27FC236}">
                      <a16:creationId xmlns="" xmlns:a16="http://schemas.microsoft.com/office/drawing/2014/main" id="{E979739C-377B-4B2D-8206-5C1BA9B79F43}"/>
                    </a:ext>
                  </a:extLst>
                </p:cNvPr>
                <p:cNvSpPr>
                  <a:spLocks noChangeAspect="1"/>
                </p:cNvSpPr>
                <p:nvPr/>
              </p:nvSpPr>
              <p:spPr bwMode="auto">
                <a:xfrm>
                  <a:off x="3640" y="1473"/>
                  <a:ext cx="447" cy="354"/>
                </a:xfrm>
                <a:custGeom>
                  <a:avLst/>
                  <a:gdLst>
                    <a:gd name="T0" fmla="*/ 5 w 447"/>
                    <a:gd name="T1" fmla="*/ 168 h 354"/>
                    <a:gd name="T2" fmla="*/ 14 w 447"/>
                    <a:gd name="T3" fmla="*/ 159 h 354"/>
                    <a:gd name="T4" fmla="*/ 37 w 447"/>
                    <a:gd name="T5" fmla="*/ 159 h 354"/>
                    <a:gd name="T6" fmla="*/ 55 w 447"/>
                    <a:gd name="T7" fmla="*/ 172 h 354"/>
                    <a:gd name="T8" fmla="*/ 87 w 447"/>
                    <a:gd name="T9" fmla="*/ 168 h 354"/>
                    <a:gd name="T10" fmla="*/ 92 w 447"/>
                    <a:gd name="T11" fmla="*/ 136 h 354"/>
                    <a:gd name="T12" fmla="*/ 101 w 447"/>
                    <a:gd name="T13" fmla="*/ 91 h 354"/>
                    <a:gd name="T14" fmla="*/ 137 w 447"/>
                    <a:gd name="T15" fmla="*/ 63 h 354"/>
                    <a:gd name="T16" fmla="*/ 164 w 447"/>
                    <a:gd name="T17" fmla="*/ 41 h 354"/>
                    <a:gd name="T18" fmla="*/ 187 w 447"/>
                    <a:gd name="T19" fmla="*/ 9 h 354"/>
                    <a:gd name="T20" fmla="*/ 215 w 447"/>
                    <a:gd name="T21" fmla="*/ 4 h 354"/>
                    <a:gd name="T22" fmla="*/ 228 w 447"/>
                    <a:gd name="T23" fmla="*/ 32 h 354"/>
                    <a:gd name="T24" fmla="*/ 242 w 447"/>
                    <a:gd name="T25" fmla="*/ 41 h 354"/>
                    <a:gd name="T26" fmla="*/ 283 w 447"/>
                    <a:gd name="T27" fmla="*/ 32 h 354"/>
                    <a:gd name="T28" fmla="*/ 301 w 447"/>
                    <a:gd name="T29" fmla="*/ 45 h 354"/>
                    <a:gd name="T30" fmla="*/ 319 w 447"/>
                    <a:gd name="T31" fmla="*/ 54 h 354"/>
                    <a:gd name="T32" fmla="*/ 333 w 447"/>
                    <a:gd name="T33" fmla="*/ 45 h 354"/>
                    <a:gd name="T34" fmla="*/ 342 w 447"/>
                    <a:gd name="T35" fmla="*/ 41 h 354"/>
                    <a:gd name="T36" fmla="*/ 397 w 447"/>
                    <a:gd name="T37" fmla="*/ 59 h 354"/>
                    <a:gd name="T38" fmla="*/ 447 w 447"/>
                    <a:gd name="T39" fmla="*/ 82 h 354"/>
                    <a:gd name="T40" fmla="*/ 433 w 447"/>
                    <a:gd name="T41" fmla="*/ 104 h 354"/>
                    <a:gd name="T42" fmla="*/ 424 w 447"/>
                    <a:gd name="T43" fmla="*/ 127 h 354"/>
                    <a:gd name="T44" fmla="*/ 424 w 447"/>
                    <a:gd name="T45" fmla="*/ 145 h 354"/>
                    <a:gd name="T46" fmla="*/ 424 w 447"/>
                    <a:gd name="T47" fmla="*/ 168 h 354"/>
                    <a:gd name="T48" fmla="*/ 429 w 447"/>
                    <a:gd name="T49" fmla="*/ 186 h 354"/>
                    <a:gd name="T50" fmla="*/ 442 w 447"/>
                    <a:gd name="T51" fmla="*/ 195 h 354"/>
                    <a:gd name="T52" fmla="*/ 406 w 447"/>
                    <a:gd name="T53" fmla="*/ 222 h 354"/>
                    <a:gd name="T54" fmla="*/ 360 w 447"/>
                    <a:gd name="T55" fmla="*/ 236 h 354"/>
                    <a:gd name="T56" fmla="*/ 338 w 447"/>
                    <a:gd name="T57" fmla="*/ 236 h 354"/>
                    <a:gd name="T58" fmla="*/ 319 w 447"/>
                    <a:gd name="T59" fmla="*/ 236 h 354"/>
                    <a:gd name="T60" fmla="*/ 297 w 447"/>
                    <a:gd name="T61" fmla="*/ 245 h 354"/>
                    <a:gd name="T62" fmla="*/ 283 w 447"/>
                    <a:gd name="T63" fmla="*/ 263 h 354"/>
                    <a:gd name="T64" fmla="*/ 265 w 447"/>
                    <a:gd name="T65" fmla="*/ 272 h 354"/>
                    <a:gd name="T66" fmla="*/ 246 w 447"/>
                    <a:gd name="T67" fmla="*/ 277 h 354"/>
                    <a:gd name="T68" fmla="*/ 219 w 447"/>
                    <a:gd name="T69" fmla="*/ 304 h 354"/>
                    <a:gd name="T70" fmla="*/ 178 w 447"/>
                    <a:gd name="T71" fmla="*/ 318 h 354"/>
                    <a:gd name="T72" fmla="*/ 133 w 447"/>
                    <a:gd name="T73" fmla="*/ 336 h 354"/>
                    <a:gd name="T74" fmla="*/ 82 w 447"/>
                    <a:gd name="T75" fmla="*/ 354 h 354"/>
                    <a:gd name="T76" fmla="*/ 32 w 447"/>
                    <a:gd name="T77" fmla="*/ 322 h 354"/>
                    <a:gd name="T78" fmla="*/ 5 w 447"/>
                    <a:gd name="T79" fmla="*/ 259 h 354"/>
                    <a:gd name="T80" fmla="*/ 19 w 447"/>
                    <a:gd name="T81" fmla="*/ 241 h 354"/>
                    <a:gd name="T82" fmla="*/ 28 w 447"/>
                    <a:gd name="T83" fmla="*/ 227 h 354"/>
                    <a:gd name="T84" fmla="*/ 19 w 447"/>
                    <a:gd name="T85" fmla="*/ 195 h 354"/>
                    <a:gd name="T86" fmla="*/ 0 w 447"/>
                    <a:gd name="T87" fmla="*/ 177 h 354"/>
                    <a:gd name="T88" fmla="*/ 0 w 447"/>
                    <a:gd name="T89" fmla="*/ 172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7" h="354">
                      <a:moveTo>
                        <a:pt x="0" y="172"/>
                      </a:moveTo>
                      <a:lnTo>
                        <a:pt x="5" y="168"/>
                      </a:lnTo>
                      <a:lnTo>
                        <a:pt x="10" y="163"/>
                      </a:lnTo>
                      <a:lnTo>
                        <a:pt x="14" y="159"/>
                      </a:lnTo>
                      <a:lnTo>
                        <a:pt x="23" y="159"/>
                      </a:lnTo>
                      <a:lnTo>
                        <a:pt x="37" y="159"/>
                      </a:lnTo>
                      <a:lnTo>
                        <a:pt x="46" y="163"/>
                      </a:lnTo>
                      <a:lnTo>
                        <a:pt x="55" y="172"/>
                      </a:lnTo>
                      <a:lnTo>
                        <a:pt x="69" y="172"/>
                      </a:lnTo>
                      <a:lnTo>
                        <a:pt x="87" y="168"/>
                      </a:lnTo>
                      <a:lnTo>
                        <a:pt x="96" y="154"/>
                      </a:lnTo>
                      <a:lnTo>
                        <a:pt x="92" y="136"/>
                      </a:lnTo>
                      <a:lnTo>
                        <a:pt x="92" y="118"/>
                      </a:lnTo>
                      <a:lnTo>
                        <a:pt x="101" y="91"/>
                      </a:lnTo>
                      <a:lnTo>
                        <a:pt x="119" y="77"/>
                      </a:lnTo>
                      <a:lnTo>
                        <a:pt x="137" y="63"/>
                      </a:lnTo>
                      <a:lnTo>
                        <a:pt x="151" y="41"/>
                      </a:lnTo>
                      <a:lnTo>
                        <a:pt x="164" y="41"/>
                      </a:lnTo>
                      <a:lnTo>
                        <a:pt x="174" y="27"/>
                      </a:lnTo>
                      <a:lnTo>
                        <a:pt x="187" y="9"/>
                      </a:lnTo>
                      <a:lnTo>
                        <a:pt x="205" y="0"/>
                      </a:lnTo>
                      <a:lnTo>
                        <a:pt x="215" y="4"/>
                      </a:lnTo>
                      <a:lnTo>
                        <a:pt x="224" y="18"/>
                      </a:lnTo>
                      <a:lnTo>
                        <a:pt x="228" y="32"/>
                      </a:lnTo>
                      <a:lnTo>
                        <a:pt x="242" y="41"/>
                      </a:lnTo>
                      <a:lnTo>
                        <a:pt x="242" y="41"/>
                      </a:lnTo>
                      <a:lnTo>
                        <a:pt x="283" y="32"/>
                      </a:lnTo>
                      <a:lnTo>
                        <a:pt x="283" y="32"/>
                      </a:lnTo>
                      <a:lnTo>
                        <a:pt x="292" y="36"/>
                      </a:lnTo>
                      <a:lnTo>
                        <a:pt x="301" y="45"/>
                      </a:lnTo>
                      <a:lnTo>
                        <a:pt x="310" y="50"/>
                      </a:lnTo>
                      <a:lnTo>
                        <a:pt x="319" y="54"/>
                      </a:lnTo>
                      <a:lnTo>
                        <a:pt x="324" y="54"/>
                      </a:lnTo>
                      <a:lnTo>
                        <a:pt x="333" y="45"/>
                      </a:lnTo>
                      <a:lnTo>
                        <a:pt x="338" y="41"/>
                      </a:lnTo>
                      <a:lnTo>
                        <a:pt x="342" y="41"/>
                      </a:lnTo>
                      <a:lnTo>
                        <a:pt x="369" y="45"/>
                      </a:lnTo>
                      <a:lnTo>
                        <a:pt x="397" y="59"/>
                      </a:lnTo>
                      <a:lnTo>
                        <a:pt x="424" y="77"/>
                      </a:lnTo>
                      <a:lnTo>
                        <a:pt x="447" y="82"/>
                      </a:lnTo>
                      <a:lnTo>
                        <a:pt x="442" y="95"/>
                      </a:lnTo>
                      <a:lnTo>
                        <a:pt x="433" y="104"/>
                      </a:lnTo>
                      <a:lnTo>
                        <a:pt x="429" y="113"/>
                      </a:lnTo>
                      <a:lnTo>
                        <a:pt x="424" y="127"/>
                      </a:lnTo>
                      <a:lnTo>
                        <a:pt x="424" y="136"/>
                      </a:lnTo>
                      <a:lnTo>
                        <a:pt x="424" y="145"/>
                      </a:lnTo>
                      <a:lnTo>
                        <a:pt x="424" y="159"/>
                      </a:lnTo>
                      <a:lnTo>
                        <a:pt x="424" y="168"/>
                      </a:lnTo>
                      <a:lnTo>
                        <a:pt x="424" y="177"/>
                      </a:lnTo>
                      <a:lnTo>
                        <a:pt x="429" y="186"/>
                      </a:lnTo>
                      <a:lnTo>
                        <a:pt x="438" y="191"/>
                      </a:lnTo>
                      <a:lnTo>
                        <a:pt x="442" y="195"/>
                      </a:lnTo>
                      <a:lnTo>
                        <a:pt x="429" y="209"/>
                      </a:lnTo>
                      <a:lnTo>
                        <a:pt x="406" y="222"/>
                      </a:lnTo>
                      <a:lnTo>
                        <a:pt x="383" y="232"/>
                      </a:lnTo>
                      <a:lnTo>
                        <a:pt x="360" y="236"/>
                      </a:lnTo>
                      <a:lnTo>
                        <a:pt x="347" y="236"/>
                      </a:lnTo>
                      <a:lnTo>
                        <a:pt x="338" y="236"/>
                      </a:lnTo>
                      <a:lnTo>
                        <a:pt x="328" y="236"/>
                      </a:lnTo>
                      <a:lnTo>
                        <a:pt x="319" y="236"/>
                      </a:lnTo>
                      <a:lnTo>
                        <a:pt x="306" y="241"/>
                      </a:lnTo>
                      <a:lnTo>
                        <a:pt x="297" y="245"/>
                      </a:lnTo>
                      <a:lnTo>
                        <a:pt x="287" y="254"/>
                      </a:lnTo>
                      <a:lnTo>
                        <a:pt x="283" y="263"/>
                      </a:lnTo>
                      <a:lnTo>
                        <a:pt x="274" y="268"/>
                      </a:lnTo>
                      <a:lnTo>
                        <a:pt x="265" y="272"/>
                      </a:lnTo>
                      <a:lnTo>
                        <a:pt x="256" y="272"/>
                      </a:lnTo>
                      <a:lnTo>
                        <a:pt x="246" y="277"/>
                      </a:lnTo>
                      <a:lnTo>
                        <a:pt x="233" y="291"/>
                      </a:lnTo>
                      <a:lnTo>
                        <a:pt x="219" y="304"/>
                      </a:lnTo>
                      <a:lnTo>
                        <a:pt x="201" y="313"/>
                      </a:lnTo>
                      <a:lnTo>
                        <a:pt x="178" y="318"/>
                      </a:lnTo>
                      <a:lnTo>
                        <a:pt x="151" y="322"/>
                      </a:lnTo>
                      <a:lnTo>
                        <a:pt x="133" y="336"/>
                      </a:lnTo>
                      <a:lnTo>
                        <a:pt x="110" y="350"/>
                      </a:lnTo>
                      <a:lnTo>
                        <a:pt x="82" y="354"/>
                      </a:lnTo>
                      <a:lnTo>
                        <a:pt x="55" y="345"/>
                      </a:lnTo>
                      <a:lnTo>
                        <a:pt x="32" y="322"/>
                      </a:lnTo>
                      <a:lnTo>
                        <a:pt x="14" y="291"/>
                      </a:lnTo>
                      <a:lnTo>
                        <a:pt x="5" y="259"/>
                      </a:lnTo>
                      <a:lnTo>
                        <a:pt x="10" y="245"/>
                      </a:lnTo>
                      <a:lnTo>
                        <a:pt x="19" y="241"/>
                      </a:lnTo>
                      <a:lnTo>
                        <a:pt x="23" y="236"/>
                      </a:lnTo>
                      <a:lnTo>
                        <a:pt x="28" y="227"/>
                      </a:lnTo>
                      <a:lnTo>
                        <a:pt x="23" y="209"/>
                      </a:lnTo>
                      <a:lnTo>
                        <a:pt x="19" y="195"/>
                      </a:lnTo>
                      <a:lnTo>
                        <a:pt x="10" y="186"/>
                      </a:lnTo>
                      <a:lnTo>
                        <a:pt x="0" y="177"/>
                      </a:lnTo>
                      <a:lnTo>
                        <a:pt x="0" y="177"/>
                      </a:lnTo>
                      <a:lnTo>
                        <a:pt x="0" y="172"/>
                      </a:lnTo>
                      <a:lnTo>
                        <a:pt x="0" y="172"/>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lIns="90000" rIns="18000" anchor="ctr"/>
                <a:lstStyle/>
                <a:p>
                  <a:pPr defTabSz="913204" fontAlgn="auto">
                    <a:spcBef>
                      <a:spcPts val="0"/>
                    </a:spcBef>
                    <a:spcAft>
                      <a:spcPts val="0"/>
                    </a:spcAft>
                    <a:defRPr/>
                  </a:pPr>
                  <a:endParaRPr lang="en-US">
                    <a:solidFill>
                      <a:srgbClr val="000000"/>
                    </a:solidFill>
                    <a:latin typeface="+mn-lt"/>
                    <a:cs typeface="+mn-cs"/>
                  </a:endParaRPr>
                </a:p>
              </p:txBody>
            </p:sp>
            <p:sp>
              <p:nvSpPr>
                <p:cNvPr id="27" name="Freeform 307">
                  <a:extLst>
                    <a:ext uri="{FF2B5EF4-FFF2-40B4-BE49-F238E27FC236}">
                      <a16:creationId xmlns="" xmlns:a16="http://schemas.microsoft.com/office/drawing/2014/main" id="{69CCE003-C0F4-44D3-A0D2-66A4337E4B29}"/>
                    </a:ext>
                  </a:extLst>
                </p:cNvPr>
                <p:cNvSpPr>
                  <a:spLocks noChangeAspect="1"/>
                </p:cNvSpPr>
                <p:nvPr/>
              </p:nvSpPr>
              <p:spPr bwMode="auto">
                <a:xfrm>
                  <a:off x="3595" y="1805"/>
                  <a:ext cx="305" cy="481"/>
                </a:xfrm>
                <a:custGeom>
                  <a:avLst/>
                  <a:gdLst>
                    <a:gd name="T0" fmla="*/ 77 w 305"/>
                    <a:gd name="T1" fmla="*/ 27 h 481"/>
                    <a:gd name="T2" fmla="*/ 64 w 305"/>
                    <a:gd name="T3" fmla="*/ 68 h 481"/>
                    <a:gd name="T4" fmla="*/ 36 w 305"/>
                    <a:gd name="T5" fmla="*/ 100 h 481"/>
                    <a:gd name="T6" fmla="*/ 9 w 305"/>
                    <a:gd name="T7" fmla="*/ 136 h 481"/>
                    <a:gd name="T8" fmla="*/ 4 w 305"/>
                    <a:gd name="T9" fmla="*/ 168 h 481"/>
                    <a:gd name="T10" fmla="*/ 45 w 305"/>
                    <a:gd name="T11" fmla="*/ 181 h 481"/>
                    <a:gd name="T12" fmla="*/ 68 w 305"/>
                    <a:gd name="T13" fmla="*/ 195 h 481"/>
                    <a:gd name="T14" fmla="*/ 68 w 305"/>
                    <a:gd name="T15" fmla="*/ 213 h 481"/>
                    <a:gd name="T16" fmla="*/ 55 w 305"/>
                    <a:gd name="T17" fmla="*/ 222 h 481"/>
                    <a:gd name="T18" fmla="*/ 50 w 305"/>
                    <a:gd name="T19" fmla="*/ 236 h 481"/>
                    <a:gd name="T20" fmla="*/ 59 w 305"/>
                    <a:gd name="T21" fmla="*/ 254 h 481"/>
                    <a:gd name="T22" fmla="*/ 77 w 305"/>
                    <a:gd name="T23" fmla="*/ 304 h 481"/>
                    <a:gd name="T24" fmla="*/ 73 w 305"/>
                    <a:gd name="T25" fmla="*/ 318 h 481"/>
                    <a:gd name="T26" fmla="*/ 64 w 305"/>
                    <a:gd name="T27" fmla="*/ 336 h 481"/>
                    <a:gd name="T28" fmla="*/ 64 w 305"/>
                    <a:gd name="T29" fmla="*/ 349 h 481"/>
                    <a:gd name="T30" fmla="*/ 64 w 305"/>
                    <a:gd name="T31" fmla="*/ 354 h 481"/>
                    <a:gd name="T32" fmla="*/ 50 w 305"/>
                    <a:gd name="T33" fmla="*/ 381 h 481"/>
                    <a:gd name="T34" fmla="*/ 41 w 305"/>
                    <a:gd name="T35" fmla="*/ 404 h 481"/>
                    <a:gd name="T36" fmla="*/ 73 w 305"/>
                    <a:gd name="T37" fmla="*/ 449 h 481"/>
                    <a:gd name="T38" fmla="*/ 105 w 305"/>
                    <a:gd name="T39" fmla="*/ 472 h 481"/>
                    <a:gd name="T40" fmla="*/ 127 w 305"/>
                    <a:gd name="T41" fmla="*/ 459 h 481"/>
                    <a:gd name="T42" fmla="*/ 132 w 305"/>
                    <a:gd name="T43" fmla="*/ 449 h 481"/>
                    <a:gd name="T44" fmla="*/ 141 w 305"/>
                    <a:gd name="T45" fmla="*/ 440 h 481"/>
                    <a:gd name="T46" fmla="*/ 159 w 305"/>
                    <a:gd name="T47" fmla="*/ 440 h 481"/>
                    <a:gd name="T48" fmla="*/ 168 w 305"/>
                    <a:gd name="T49" fmla="*/ 454 h 481"/>
                    <a:gd name="T50" fmla="*/ 173 w 305"/>
                    <a:gd name="T51" fmla="*/ 468 h 481"/>
                    <a:gd name="T52" fmla="*/ 182 w 305"/>
                    <a:gd name="T53" fmla="*/ 481 h 481"/>
                    <a:gd name="T54" fmla="*/ 214 w 305"/>
                    <a:gd name="T55" fmla="*/ 472 h 481"/>
                    <a:gd name="T56" fmla="*/ 273 w 305"/>
                    <a:gd name="T57" fmla="*/ 422 h 481"/>
                    <a:gd name="T58" fmla="*/ 287 w 305"/>
                    <a:gd name="T59" fmla="*/ 395 h 481"/>
                    <a:gd name="T60" fmla="*/ 278 w 305"/>
                    <a:gd name="T61" fmla="*/ 381 h 481"/>
                    <a:gd name="T62" fmla="*/ 278 w 305"/>
                    <a:gd name="T63" fmla="*/ 368 h 481"/>
                    <a:gd name="T64" fmla="*/ 282 w 305"/>
                    <a:gd name="T65" fmla="*/ 349 h 481"/>
                    <a:gd name="T66" fmla="*/ 282 w 305"/>
                    <a:gd name="T67" fmla="*/ 340 h 481"/>
                    <a:gd name="T68" fmla="*/ 278 w 305"/>
                    <a:gd name="T69" fmla="*/ 327 h 481"/>
                    <a:gd name="T70" fmla="*/ 282 w 305"/>
                    <a:gd name="T71" fmla="*/ 300 h 481"/>
                    <a:gd name="T72" fmla="*/ 301 w 305"/>
                    <a:gd name="T73" fmla="*/ 263 h 481"/>
                    <a:gd name="T74" fmla="*/ 305 w 305"/>
                    <a:gd name="T75" fmla="*/ 236 h 481"/>
                    <a:gd name="T76" fmla="*/ 291 w 305"/>
                    <a:gd name="T77" fmla="*/ 227 h 481"/>
                    <a:gd name="T78" fmla="*/ 273 w 305"/>
                    <a:gd name="T79" fmla="*/ 213 h 481"/>
                    <a:gd name="T80" fmla="*/ 260 w 305"/>
                    <a:gd name="T81" fmla="*/ 200 h 481"/>
                    <a:gd name="T82" fmla="*/ 246 w 305"/>
                    <a:gd name="T83" fmla="*/ 172 h 481"/>
                    <a:gd name="T84" fmla="*/ 228 w 305"/>
                    <a:gd name="T85" fmla="*/ 150 h 481"/>
                    <a:gd name="T86" fmla="*/ 214 w 305"/>
                    <a:gd name="T87" fmla="*/ 136 h 481"/>
                    <a:gd name="T88" fmla="*/ 205 w 305"/>
                    <a:gd name="T89" fmla="*/ 127 h 481"/>
                    <a:gd name="T90" fmla="*/ 196 w 305"/>
                    <a:gd name="T91" fmla="*/ 127 h 481"/>
                    <a:gd name="T92" fmla="*/ 187 w 305"/>
                    <a:gd name="T93" fmla="*/ 136 h 481"/>
                    <a:gd name="T94" fmla="*/ 178 w 305"/>
                    <a:gd name="T95" fmla="*/ 136 h 481"/>
                    <a:gd name="T96" fmla="*/ 173 w 305"/>
                    <a:gd name="T97" fmla="*/ 127 h 481"/>
                    <a:gd name="T98" fmla="*/ 173 w 305"/>
                    <a:gd name="T99" fmla="*/ 109 h 481"/>
                    <a:gd name="T100" fmla="*/ 182 w 305"/>
                    <a:gd name="T101" fmla="*/ 81 h 481"/>
                    <a:gd name="T102" fmla="*/ 182 w 305"/>
                    <a:gd name="T103" fmla="*/ 59 h 481"/>
                    <a:gd name="T104" fmla="*/ 173 w 305"/>
                    <a:gd name="T105" fmla="*/ 45 h 481"/>
                    <a:gd name="T106" fmla="*/ 159 w 305"/>
                    <a:gd name="T107" fmla="*/ 36 h 481"/>
                    <a:gd name="T108" fmla="*/ 137 w 305"/>
                    <a:gd name="T109" fmla="*/ 22 h 481"/>
                    <a:gd name="T110" fmla="*/ 118 w 305"/>
                    <a:gd name="T111" fmla="*/ 18 h 481"/>
                    <a:gd name="T112" fmla="*/ 96 w 305"/>
                    <a:gd name="T113" fmla="*/ 9 h 481"/>
                    <a:gd name="T114" fmla="*/ 86 w 305"/>
                    <a:gd name="T115" fmla="*/ 0 h 481"/>
                    <a:gd name="T116" fmla="*/ 86 w 305"/>
                    <a:gd name="T117"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5" h="481">
                      <a:moveTo>
                        <a:pt x="86" y="0"/>
                      </a:moveTo>
                      <a:lnTo>
                        <a:pt x="77" y="27"/>
                      </a:lnTo>
                      <a:lnTo>
                        <a:pt x="73" y="50"/>
                      </a:lnTo>
                      <a:lnTo>
                        <a:pt x="64" y="68"/>
                      </a:lnTo>
                      <a:lnTo>
                        <a:pt x="50" y="86"/>
                      </a:lnTo>
                      <a:lnTo>
                        <a:pt x="36" y="100"/>
                      </a:lnTo>
                      <a:lnTo>
                        <a:pt x="23" y="118"/>
                      </a:lnTo>
                      <a:lnTo>
                        <a:pt x="9" y="136"/>
                      </a:lnTo>
                      <a:lnTo>
                        <a:pt x="0" y="159"/>
                      </a:lnTo>
                      <a:lnTo>
                        <a:pt x="4" y="168"/>
                      </a:lnTo>
                      <a:lnTo>
                        <a:pt x="23" y="177"/>
                      </a:lnTo>
                      <a:lnTo>
                        <a:pt x="45" y="181"/>
                      </a:lnTo>
                      <a:lnTo>
                        <a:pt x="68" y="195"/>
                      </a:lnTo>
                      <a:lnTo>
                        <a:pt x="68" y="195"/>
                      </a:lnTo>
                      <a:lnTo>
                        <a:pt x="68" y="213"/>
                      </a:lnTo>
                      <a:lnTo>
                        <a:pt x="68" y="213"/>
                      </a:lnTo>
                      <a:lnTo>
                        <a:pt x="64" y="218"/>
                      </a:lnTo>
                      <a:lnTo>
                        <a:pt x="55" y="222"/>
                      </a:lnTo>
                      <a:lnTo>
                        <a:pt x="50" y="231"/>
                      </a:lnTo>
                      <a:lnTo>
                        <a:pt x="50" y="236"/>
                      </a:lnTo>
                      <a:lnTo>
                        <a:pt x="55" y="245"/>
                      </a:lnTo>
                      <a:lnTo>
                        <a:pt x="59" y="254"/>
                      </a:lnTo>
                      <a:lnTo>
                        <a:pt x="68" y="272"/>
                      </a:lnTo>
                      <a:lnTo>
                        <a:pt x="77" y="304"/>
                      </a:lnTo>
                      <a:lnTo>
                        <a:pt x="77" y="313"/>
                      </a:lnTo>
                      <a:lnTo>
                        <a:pt x="73" y="318"/>
                      </a:lnTo>
                      <a:lnTo>
                        <a:pt x="64" y="327"/>
                      </a:lnTo>
                      <a:lnTo>
                        <a:pt x="64" y="336"/>
                      </a:lnTo>
                      <a:lnTo>
                        <a:pt x="64" y="340"/>
                      </a:lnTo>
                      <a:lnTo>
                        <a:pt x="64" y="349"/>
                      </a:lnTo>
                      <a:lnTo>
                        <a:pt x="64" y="354"/>
                      </a:lnTo>
                      <a:lnTo>
                        <a:pt x="64" y="354"/>
                      </a:lnTo>
                      <a:lnTo>
                        <a:pt x="59" y="372"/>
                      </a:lnTo>
                      <a:lnTo>
                        <a:pt x="50" y="381"/>
                      </a:lnTo>
                      <a:lnTo>
                        <a:pt x="41" y="390"/>
                      </a:lnTo>
                      <a:lnTo>
                        <a:pt x="41" y="404"/>
                      </a:lnTo>
                      <a:lnTo>
                        <a:pt x="55" y="431"/>
                      </a:lnTo>
                      <a:lnTo>
                        <a:pt x="73" y="449"/>
                      </a:lnTo>
                      <a:lnTo>
                        <a:pt x="91" y="463"/>
                      </a:lnTo>
                      <a:lnTo>
                        <a:pt x="105" y="472"/>
                      </a:lnTo>
                      <a:lnTo>
                        <a:pt x="105" y="472"/>
                      </a:lnTo>
                      <a:lnTo>
                        <a:pt x="127" y="459"/>
                      </a:lnTo>
                      <a:lnTo>
                        <a:pt x="127" y="459"/>
                      </a:lnTo>
                      <a:lnTo>
                        <a:pt x="132" y="449"/>
                      </a:lnTo>
                      <a:lnTo>
                        <a:pt x="137" y="445"/>
                      </a:lnTo>
                      <a:lnTo>
                        <a:pt x="141" y="440"/>
                      </a:lnTo>
                      <a:lnTo>
                        <a:pt x="150" y="440"/>
                      </a:lnTo>
                      <a:lnTo>
                        <a:pt x="159" y="440"/>
                      </a:lnTo>
                      <a:lnTo>
                        <a:pt x="164" y="449"/>
                      </a:lnTo>
                      <a:lnTo>
                        <a:pt x="168" y="454"/>
                      </a:lnTo>
                      <a:lnTo>
                        <a:pt x="168" y="463"/>
                      </a:lnTo>
                      <a:lnTo>
                        <a:pt x="173" y="468"/>
                      </a:lnTo>
                      <a:lnTo>
                        <a:pt x="178" y="477"/>
                      </a:lnTo>
                      <a:lnTo>
                        <a:pt x="182" y="481"/>
                      </a:lnTo>
                      <a:lnTo>
                        <a:pt x="187" y="481"/>
                      </a:lnTo>
                      <a:lnTo>
                        <a:pt x="214" y="472"/>
                      </a:lnTo>
                      <a:lnTo>
                        <a:pt x="246" y="449"/>
                      </a:lnTo>
                      <a:lnTo>
                        <a:pt x="273" y="422"/>
                      </a:lnTo>
                      <a:lnTo>
                        <a:pt x="291" y="399"/>
                      </a:lnTo>
                      <a:lnTo>
                        <a:pt x="287" y="395"/>
                      </a:lnTo>
                      <a:lnTo>
                        <a:pt x="282" y="386"/>
                      </a:lnTo>
                      <a:lnTo>
                        <a:pt x="278" y="381"/>
                      </a:lnTo>
                      <a:lnTo>
                        <a:pt x="278" y="377"/>
                      </a:lnTo>
                      <a:lnTo>
                        <a:pt x="278" y="368"/>
                      </a:lnTo>
                      <a:lnTo>
                        <a:pt x="282" y="359"/>
                      </a:lnTo>
                      <a:lnTo>
                        <a:pt x="282" y="349"/>
                      </a:lnTo>
                      <a:lnTo>
                        <a:pt x="287" y="340"/>
                      </a:lnTo>
                      <a:lnTo>
                        <a:pt x="282" y="340"/>
                      </a:lnTo>
                      <a:lnTo>
                        <a:pt x="282" y="336"/>
                      </a:lnTo>
                      <a:lnTo>
                        <a:pt x="278" y="327"/>
                      </a:lnTo>
                      <a:lnTo>
                        <a:pt x="278" y="322"/>
                      </a:lnTo>
                      <a:lnTo>
                        <a:pt x="282" y="300"/>
                      </a:lnTo>
                      <a:lnTo>
                        <a:pt x="291" y="281"/>
                      </a:lnTo>
                      <a:lnTo>
                        <a:pt x="301" y="263"/>
                      </a:lnTo>
                      <a:lnTo>
                        <a:pt x="305" y="245"/>
                      </a:lnTo>
                      <a:lnTo>
                        <a:pt x="305" y="236"/>
                      </a:lnTo>
                      <a:lnTo>
                        <a:pt x="301" y="231"/>
                      </a:lnTo>
                      <a:lnTo>
                        <a:pt x="291" y="227"/>
                      </a:lnTo>
                      <a:lnTo>
                        <a:pt x="282" y="222"/>
                      </a:lnTo>
                      <a:lnTo>
                        <a:pt x="273" y="213"/>
                      </a:lnTo>
                      <a:lnTo>
                        <a:pt x="269" y="209"/>
                      </a:lnTo>
                      <a:lnTo>
                        <a:pt x="260" y="200"/>
                      </a:lnTo>
                      <a:lnTo>
                        <a:pt x="255" y="186"/>
                      </a:lnTo>
                      <a:lnTo>
                        <a:pt x="246" y="172"/>
                      </a:lnTo>
                      <a:lnTo>
                        <a:pt x="237" y="159"/>
                      </a:lnTo>
                      <a:lnTo>
                        <a:pt x="228" y="150"/>
                      </a:lnTo>
                      <a:lnTo>
                        <a:pt x="214" y="140"/>
                      </a:lnTo>
                      <a:lnTo>
                        <a:pt x="214" y="136"/>
                      </a:lnTo>
                      <a:lnTo>
                        <a:pt x="209" y="131"/>
                      </a:lnTo>
                      <a:lnTo>
                        <a:pt x="205" y="127"/>
                      </a:lnTo>
                      <a:lnTo>
                        <a:pt x="200" y="127"/>
                      </a:lnTo>
                      <a:lnTo>
                        <a:pt x="196" y="127"/>
                      </a:lnTo>
                      <a:lnTo>
                        <a:pt x="191" y="131"/>
                      </a:lnTo>
                      <a:lnTo>
                        <a:pt x="187" y="136"/>
                      </a:lnTo>
                      <a:lnTo>
                        <a:pt x="182" y="136"/>
                      </a:lnTo>
                      <a:lnTo>
                        <a:pt x="178" y="136"/>
                      </a:lnTo>
                      <a:lnTo>
                        <a:pt x="173" y="131"/>
                      </a:lnTo>
                      <a:lnTo>
                        <a:pt x="173" y="127"/>
                      </a:lnTo>
                      <a:lnTo>
                        <a:pt x="173" y="122"/>
                      </a:lnTo>
                      <a:lnTo>
                        <a:pt x="173" y="109"/>
                      </a:lnTo>
                      <a:lnTo>
                        <a:pt x="178" y="95"/>
                      </a:lnTo>
                      <a:lnTo>
                        <a:pt x="182" y="81"/>
                      </a:lnTo>
                      <a:lnTo>
                        <a:pt x="182" y="68"/>
                      </a:lnTo>
                      <a:lnTo>
                        <a:pt x="182" y="59"/>
                      </a:lnTo>
                      <a:lnTo>
                        <a:pt x="178" y="50"/>
                      </a:lnTo>
                      <a:lnTo>
                        <a:pt x="173" y="45"/>
                      </a:lnTo>
                      <a:lnTo>
                        <a:pt x="168" y="36"/>
                      </a:lnTo>
                      <a:lnTo>
                        <a:pt x="159" y="36"/>
                      </a:lnTo>
                      <a:lnTo>
                        <a:pt x="146" y="31"/>
                      </a:lnTo>
                      <a:lnTo>
                        <a:pt x="137" y="22"/>
                      </a:lnTo>
                      <a:lnTo>
                        <a:pt x="127" y="18"/>
                      </a:lnTo>
                      <a:lnTo>
                        <a:pt x="118" y="18"/>
                      </a:lnTo>
                      <a:lnTo>
                        <a:pt x="105" y="13"/>
                      </a:lnTo>
                      <a:lnTo>
                        <a:pt x="96" y="9"/>
                      </a:lnTo>
                      <a:lnTo>
                        <a:pt x="86" y="0"/>
                      </a:lnTo>
                      <a:lnTo>
                        <a:pt x="86" y="0"/>
                      </a:lnTo>
                      <a:lnTo>
                        <a:pt x="86" y="0"/>
                      </a:lnTo>
                      <a:lnTo>
                        <a:pt x="86" y="0"/>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lIns="90000" rIns="18000" anchor="ctr"/>
                <a:lstStyle/>
                <a:p>
                  <a:pPr defTabSz="913204" fontAlgn="auto">
                    <a:spcBef>
                      <a:spcPts val="0"/>
                    </a:spcBef>
                    <a:spcAft>
                      <a:spcPts val="0"/>
                    </a:spcAft>
                    <a:defRPr/>
                  </a:pPr>
                  <a:endParaRPr lang="en-US">
                    <a:solidFill>
                      <a:srgbClr val="000000"/>
                    </a:solidFill>
                    <a:latin typeface="+mn-lt"/>
                    <a:cs typeface="+mn-cs"/>
                  </a:endParaRPr>
                </a:p>
              </p:txBody>
            </p:sp>
          </p:grpSp>
          <p:grpSp>
            <p:nvGrpSpPr>
              <p:cNvPr id="19" name="Group 308">
                <a:extLst>
                  <a:ext uri="{FF2B5EF4-FFF2-40B4-BE49-F238E27FC236}">
                    <a16:creationId xmlns="" xmlns:a16="http://schemas.microsoft.com/office/drawing/2014/main" id="{C559B097-812C-4A07-9B0E-F075C3B53C10}"/>
                  </a:ext>
                </a:extLst>
              </p:cNvPr>
              <p:cNvGrpSpPr>
                <a:grpSpLocks noChangeAspect="1"/>
              </p:cNvGrpSpPr>
              <p:nvPr/>
            </p:nvGrpSpPr>
            <p:grpSpPr bwMode="auto">
              <a:xfrm>
                <a:off x="3735" y="1700"/>
                <a:ext cx="621" cy="797"/>
                <a:chOff x="2825" y="1327"/>
                <a:chExt cx="856" cy="1014"/>
              </a:xfrm>
              <a:grpFill/>
            </p:grpSpPr>
            <p:sp>
              <p:nvSpPr>
                <p:cNvPr id="20" name="Freeform 309">
                  <a:extLst>
                    <a:ext uri="{FF2B5EF4-FFF2-40B4-BE49-F238E27FC236}">
                      <a16:creationId xmlns="" xmlns:a16="http://schemas.microsoft.com/office/drawing/2014/main" id="{774DBC57-49C1-4F0A-8615-0653C1DAF25A}"/>
                    </a:ext>
                  </a:extLst>
                </p:cNvPr>
                <p:cNvSpPr>
                  <a:spLocks noChangeAspect="1"/>
                </p:cNvSpPr>
                <p:nvPr/>
              </p:nvSpPr>
              <p:spPr bwMode="auto">
                <a:xfrm>
                  <a:off x="2825" y="1327"/>
                  <a:ext cx="478" cy="491"/>
                </a:xfrm>
                <a:custGeom>
                  <a:avLst/>
                  <a:gdLst>
                    <a:gd name="T0" fmla="*/ 378 w 478"/>
                    <a:gd name="T1" fmla="*/ 482 h 491"/>
                    <a:gd name="T2" fmla="*/ 342 w 478"/>
                    <a:gd name="T3" fmla="*/ 459 h 491"/>
                    <a:gd name="T4" fmla="*/ 323 w 478"/>
                    <a:gd name="T5" fmla="*/ 441 h 491"/>
                    <a:gd name="T6" fmla="*/ 310 w 478"/>
                    <a:gd name="T7" fmla="*/ 455 h 491"/>
                    <a:gd name="T8" fmla="*/ 287 w 478"/>
                    <a:gd name="T9" fmla="*/ 446 h 491"/>
                    <a:gd name="T10" fmla="*/ 264 w 478"/>
                    <a:gd name="T11" fmla="*/ 428 h 491"/>
                    <a:gd name="T12" fmla="*/ 237 w 478"/>
                    <a:gd name="T13" fmla="*/ 418 h 491"/>
                    <a:gd name="T14" fmla="*/ 232 w 478"/>
                    <a:gd name="T15" fmla="*/ 400 h 491"/>
                    <a:gd name="T16" fmla="*/ 196 w 478"/>
                    <a:gd name="T17" fmla="*/ 405 h 491"/>
                    <a:gd name="T18" fmla="*/ 141 w 478"/>
                    <a:gd name="T19" fmla="*/ 414 h 491"/>
                    <a:gd name="T20" fmla="*/ 91 w 478"/>
                    <a:gd name="T21" fmla="*/ 387 h 491"/>
                    <a:gd name="T22" fmla="*/ 87 w 478"/>
                    <a:gd name="T23" fmla="*/ 364 h 491"/>
                    <a:gd name="T24" fmla="*/ 64 w 478"/>
                    <a:gd name="T25" fmla="*/ 368 h 491"/>
                    <a:gd name="T26" fmla="*/ 46 w 478"/>
                    <a:gd name="T27" fmla="*/ 373 h 491"/>
                    <a:gd name="T28" fmla="*/ 41 w 478"/>
                    <a:gd name="T29" fmla="*/ 350 h 491"/>
                    <a:gd name="T30" fmla="*/ 9 w 478"/>
                    <a:gd name="T31" fmla="*/ 318 h 491"/>
                    <a:gd name="T32" fmla="*/ 18 w 478"/>
                    <a:gd name="T33" fmla="*/ 287 h 491"/>
                    <a:gd name="T34" fmla="*/ 50 w 478"/>
                    <a:gd name="T35" fmla="*/ 259 h 491"/>
                    <a:gd name="T36" fmla="*/ 55 w 478"/>
                    <a:gd name="T37" fmla="*/ 214 h 491"/>
                    <a:gd name="T38" fmla="*/ 73 w 478"/>
                    <a:gd name="T39" fmla="*/ 200 h 491"/>
                    <a:gd name="T40" fmla="*/ 82 w 478"/>
                    <a:gd name="T41" fmla="*/ 178 h 491"/>
                    <a:gd name="T42" fmla="*/ 77 w 478"/>
                    <a:gd name="T43" fmla="*/ 150 h 491"/>
                    <a:gd name="T44" fmla="*/ 50 w 478"/>
                    <a:gd name="T45" fmla="*/ 123 h 491"/>
                    <a:gd name="T46" fmla="*/ 27 w 478"/>
                    <a:gd name="T47" fmla="*/ 118 h 491"/>
                    <a:gd name="T48" fmla="*/ 36 w 478"/>
                    <a:gd name="T49" fmla="*/ 91 h 491"/>
                    <a:gd name="T50" fmla="*/ 59 w 478"/>
                    <a:gd name="T51" fmla="*/ 59 h 491"/>
                    <a:gd name="T52" fmla="*/ 91 w 478"/>
                    <a:gd name="T53" fmla="*/ 14 h 491"/>
                    <a:gd name="T54" fmla="*/ 137 w 478"/>
                    <a:gd name="T55" fmla="*/ 5 h 491"/>
                    <a:gd name="T56" fmla="*/ 182 w 478"/>
                    <a:gd name="T57" fmla="*/ 5 h 491"/>
                    <a:gd name="T58" fmla="*/ 214 w 478"/>
                    <a:gd name="T59" fmla="*/ 18 h 491"/>
                    <a:gd name="T60" fmla="*/ 232 w 478"/>
                    <a:gd name="T61" fmla="*/ 32 h 491"/>
                    <a:gd name="T62" fmla="*/ 251 w 478"/>
                    <a:gd name="T63" fmla="*/ 96 h 491"/>
                    <a:gd name="T64" fmla="*/ 278 w 478"/>
                    <a:gd name="T65" fmla="*/ 105 h 491"/>
                    <a:gd name="T66" fmla="*/ 287 w 478"/>
                    <a:gd name="T67" fmla="*/ 109 h 491"/>
                    <a:gd name="T68" fmla="*/ 301 w 478"/>
                    <a:gd name="T69" fmla="*/ 132 h 491"/>
                    <a:gd name="T70" fmla="*/ 342 w 478"/>
                    <a:gd name="T71" fmla="*/ 200 h 491"/>
                    <a:gd name="T72" fmla="*/ 405 w 478"/>
                    <a:gd name="T73" fmla="*/ 205 h 491"/>
                    <a:gd name="T74" fmla="*/ 442 w 478"/>
                    <a:gd name="T75" fmla="*/ 223 h 491"/>
                    <a:gd name="T76" fmla="*/ 478 w 478"/>
                    <a:gd name="T77" fmla="*/ 273 h 491"/>
                    <a:gd name="T78" fmla="*/ 465 w 478"/>
                    <a:gd name="T79" fmla="*/ 282 h 491"/>
                    <a:gd name="T80" fmla="*/ 456 w 478"/>
                    <a:gd name="T81" fmla="*/ 296 h 491"/>
                    <a:gd name="T82" fmla="*/ 446 w 478"/>
                    <a:gd name="T83" fmla="*/ 318 h 491"/>
                    <a:gd name="T84" fmla="*/ 437 w 478"/>
                    <a:gd name="T85" fmla="*/ 382 h 491"/>
                    <a:gd name="T86" fmla="*/ 415 w 478"/>
                    <a:gd name="T87" fmla="*/ 441 h 491"/>
                    <a:gd name="T88" fmla="*/ 415 w 478"/>
                    <a:gd name="T89" fmla="*/ 482 h 491"/>
                    <a:gd name="T90" fmla="*/ 424 w 478"/>
                    <a:gd name="T91" fmla="*/ 49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8" h="491">
                      <a:moveTo>
                        <a:pt x="424" y="491"/>
                      </a:moveTo>
                      <a:lnTo>
                        <a:pt x="401" y="491"/>
                      </a:lnTo>
                      <a:lnTo>
                        <a:pt x="378" y="482"/>
                      </a:lnTo>
                      <a:lnTo>
                        <a:pt x="360" y="478"/>
                      </a:lnTo>
                      <a:lnTo>
                        <a:pt x="346" y="464"/>
                      </a:lnTo>
                      <a:lnTo>
                        <a:pt x="342" y="459"/>
                      </a:lnTo>
                      <a:lnTo>
                        <a:pt x="337" y="450"/>
                      </a:lnTo>
                      <a:lnTo>
                        <a:pt x="333" y="446"/>
                      </a:lnTo>
                      <a:lnTo>
                        <a:pt x="323" y="441"/>
                      </a:lnTo>
                      <a:lnTo>
                        <a:pt x="319" y="446"/>
                      </a:lnTo>
                      <a:lnTo>
                        <a:pt x="314" y="450"/>
                      </a:lnTo>
                      <a:lnTo>
                        <a:pt x="310" y="455"/>
                      </a:lnTo>
                      <a:lnTo>
                        <a:pt x="301" y="459"/>
                      </a:lnTo>
                      <a:lnTo>
                        <a:pt x="292" y="455"/>
                      </a:lnTo>
                      <a:lnTo>
                        <a:pt x="287" y="446"/>
                      </a:lnTo>
                      <a:lnTo>
                        <a:pt x="282" y="437"/>
                      </a:lnTo>
                      <a:lnTo>
                        <a:pt x="273" y="428"/>
                      </a:lnTo>
                      <a:lnTo>
                        <a:pt x="264" y="428"/>
                      </a:lnTo>
                      <a:lnTo>
                        <a:pt x="255" y="423"/>
                      </a:lnTo>
                      <a:lnTo>
                        <a:pt x="246" y="423"/>
                      </a:lnTo>
                      <a:lnTo>
                        <a:pt x="237" y="418"/>
                      </a:lnTo>
                      <a:lnTo>
                        <a:pt x="237" y="414"/>
                      </a:lnTo>
                      <a:lnTo>
                        <a:pt x="232" y="405"/>
                      </a:lnTo>
                      <a:lnTo>
                        <a:pt x="232" y="400"/>
                      </a:lnTo>
                      <a:lnTo>
                        <a:pt x="223" y="396"/>
                      </a:lnTo>
                      <a:lnTo>
                        <a:pt x="210" y="400"/>
                      </a:lnTo>
                      <a:lnTo>
                        <a:pt x="196" y="405"/>
                      </a:lnTo>
                      <a:lnTo>
                        <a:pt x="178" y="414"/>
                      </a:lnTo>
                      <a:lnTo>
                        <a:pt x="159" y="418"/>
                      </a:lnTo>
                      <a:lnTo>
                        <a:pt x="141" y="414"/>
                      </a:lnTo>
                      <a:lnTo>
                        <a:pt x="128" y="409"/>
                      </a:lnTo>
                      <a:lnTo>
                        <a:pt x="114" y="400"/>
                      </a:lnTo>
                      <a:lnTo>
                        <a:pt x="91" y="387"/>
                      </a:lnTo>
                      <a:lnTo>
                        <a:pt x="91" y="382"/>
                      </a:lnTo>
                      <a:lnTo>
                        <a:pt x="87" y="373"/>
                      </a:lnTo>
                      <a:lnTo>
                        <a:pt x="87" y="364"/>
                      </a:lnTo>
                      <a:lnTo>
                        <a:pt x="77" y="359"/>
                      </a:lnTo>
                      <a:lnTo>
                        <a:pt x="68" y="364"/>
                      </a:lnTo>
                      <a:lnTo>
                        <a:pt x="64" y="368"/>
                      </a:lnTo>
                      <a:lnTo>
                        <a:pt x="59" y="373"/>
                      </a:lnTo>
                      <a:lnTo>
                        <a:pt x="50" y="378"/>
                      </a:lnTo>
                      <a:lnTo>
                        <a:pt x="46" y="373"/>
                      </a:lnTo>
                      <a:lnTo>
                        <a:pt x="41" y="368"/>
                      </a:lnTo>
                      <a:lnTo>
                        <a:pt x="41" y="359"/>
                      </a:lnTo>
                      <a:lnTo>
                        <a:pt x="41" y="350"/>
                      </a:lnTo>
                      <a:lnTo>
                        <a:pt x="32" y="337"/>
                      </a:lnTo>
                      <a:lnTo>
                        <a:pt x="23" y="328"/>
                      </a:lnTo>
                      <a:lnTo>
                        <a:pt x="9" y="318"/>
                      </a:lnTo>
                      <a:lnTo>
                        <a:pt x="0" y="305"/>
                      </a:lnTo>
                      <a:lnTo>
                        <a:pt x="0" y="296"/>
                      </a:lnTo>
                      <a:lnTo>
                        <a:pt x="18" y="287"/>
                      </a:lnTo>
                      <a:lnTo>
                        <a:pt x="32" y="282"/>
                      </a:lnTo>
                      <a:lnTo>
                        <a:pt x="46" y="273"/>
                      </a:lnTo>
                      <a:lnTo>
                        <a:pt x="50" y="259"/>
                      </a:lnTo>
                      <a:lnTo>
                        <a:pt x="55" y="246"/>
                      </a:lnTo>
                      <a:lnTo>
                        <a:pt x="55" y="232"/>
                      </a:lnTo>
                      <a:lnTo>
                        <a:pt x="55" y="214"/>
                      </a:lnTo>
                      <a:lnTo>
                        <a:pt x="59" y="209"/>
                      </a:lnTo>
                      <a:lnTo>
                        <a:pt x="68" y="205"/>
                      </a:lnTo>
                      <a:lnTo>
                        <a:pt x="73" y="200"/>
                      </a:lnTo>
                      <a:lnTo>
                        <a:pt x="77" y="191"/>
                      </a:lnTo>
                      <a:lnTo>
                        <a:pt x="82" y="187"/>
                      </a:lnTo>
                      <a:lnTo>
                        <a:pt x="82" y="178"/>
                      </a:lnTo>
                      <a:lnTo>
                        <a:pt x="82" y="173"/>
                      </a:lnTo>
                      <a:lnTo>
                        <a:pt x="82" y="168"/>
                      </a:lnTo>
                      <a:lnTo>
                        <a:pt x="77" y="150"/>
                      </a:lnTo>
                      <a:lnTo>
                        <a:pt x="73" y="137"/>
                      </a:lnTo>
                      <a:lnTo>
                        <a:pt x="64" y="128"/>
                      </a:lnTo>
                      <a:lnTo>
                        <a:pt x="50" y="123"/>
                      </a:lnTo>
                      <a:lnTo>
                        <a:pt x="46" y="123"/>
                      </a:lnTo>
                      <a:lnTo>
                        <a:pt x="36" y="118"/>
                      </a:lnTo>
                      <a:lnTo>
                        <a:pt x="27" y="118"/>
                      </a:lnTo>
                      <a:lnTo>
                        <a:pt x="23" y="114"/>
                      </a:lnTo>
                      <a:lnTo>
                        <a:pt x="27" y="105"/>
                      </a:lnTo>
                      <a:lnTo>
                        <a:pt x="36" y="91"/>
                      </a:lnTo>
                      <a:lnTo>
                        <a:pt x="46" y="82"/>
                      </a:lnTo>
                      <a:lnTo>
                        <a:pt x="50" y="73"/>
                      </a:lnTo>
                      <a:lnTo>
                        <a:pt x="59" y="59"/>
                      </a:lnTo>
                      <a:lnTo>
                        <a:pt x="64" y="41"/>
                      </a:lnTo>
                      <a:lnTo>
                        <a:pt x="77" y="23"/>
                      </a:lnTo>
                      <a:lnTo>
                        <a:pt x="91" y="14"/>
                      </a:lnTo>
                      <a:lnTo>
                        <a:pt x="109" y="9"/>
                      </a:lnTo>
                      <a:lnTo>
                        <a:pt x="123" y="9"/>
                      </a:lnTo>
                      <a:lnTo>
                        <a:pt x="137" y="5"/>
                      </a:lnTo>
                      <a:lnTo>
                        <a:pt x="150" y="0"/>
                      </a:lnTo>
                      <a:lnTo>
                        <a:pt x="164" y="5"/>
                      </a:lnTo>
                      <a:lnTo>
                        <a:pt x="182" y="5"/>
                      </a:lnTo>
                      <a:lnTo>
                        <a:pt x="200" y="9"/>
                      </a:lnTo>
                      <a:lnTo>
                        <a:pt x="210" y="14"/>
                      </a:lnTo>
                      <a:lnTo>
                        <a:pt x="214" y="18"/>
                      </a:lnTo>
                      <a:lnTo>
                        <a:pt x="219" y="23"/>
                      </a:lnTo>
                      <a:lnTo>
                        <a:pt x="228" y="28"/>
                      </a:lnTo>
                      <a:lnTo>
                        <a:pt x="232" y="32"/>
                      </a:lnTo>
                      <a:lnTo>
                        <a:pt x="241" y="50"/>
                      </a:lnTo>
                      <a:lnTo>
                        <a:pt x="241" y="73"/>
                      </a:lnTo>
                      <a:lnTo>
                        <a:pt x="251" y="96"/>
                      </a:lnTo>
                      <a:lnTo>
                        <a:pt x="264" y="105"/>
                      </a:lnTo>
                      <a:lnTo>
                        <a:pt x="273" y="105"/>
                      </a:lnTo>
                      <a:lnTo>
                        <a:pt x="278" y="105"/>
                      </a:lnTo>
                      <a:lnTo>
                        <a:pt x="278" y="105"/>
                      </a:lnTo>
                      <a:lnTo>
                        <a:pt x="287" y="105"/>
                      </a:lnTo>
                      <a:lnTo>
                        <a:pt x="287" y="109"/>
                      </a:lnTo>
                      <a:lnTo>
                        <a:pt x="292" y="118"/>
                      </a:lnTo>
                      <a:lnTo>
                        <a:pt x="292" y="123"/>
                      </a:lnTo>
                      <a:lnTo>
                        <a:pt x="301" y="132"/>
                      </a:lnTo>
                      <a:lnTo>
                        <a:pt x="314" y="150"/>
                      </a:lnTo>
                      <a:lnTo>
                        <a:pt x="323" y="178"/>
                      </a:lnTo>
                      <a:lnTo>
                        <a:pt x="342" y="200"/>
                      </a:lnTo>
                      <a:lnTo>
                        <a:pt x="378" y="205"/>
                      </a:lnTo>
                      <a:lnTo>
                        <a:pt x="392" y="205"/>
                      </a:lnTo>
                      <a:lnTo>
                        <a:pt x="405" y="205"/>
                      </a:lnTo>
                      <a:lnTo>
                        <a:pt x="419" y="209"/>
                      </a:lnTo>
                      <a:lnTo>
                        <a:pt x="433" y="209"/>
                      </a:lnTo>
                      <a:lnTo>
                        <a:pt x="442" y="223"/>
                      </a:lnTo>
                      <a:lnTo>
                        <a:pt x="460" y="237"/>
                      </a:lnTo>
                      <a:lnTo>
                        <a:pt x="474" y="255"/>
                      </a:lnTo>
                      <a:lnTo>
                        <a:pt x="478" y="273"/>
                      </a:lnTo>
                      <a:lnTo>
                        <a:pt x="478" y="278"/>
                      </a:lnTo>
                      <a:lnTo>
                        <a:pt x="469" y="282"/>
                      </a:lnTo>
                      <a:lnTo>
                        <a:pt x="465" y="282"/>
                      </a:lnTo>
                      <a:lnTo>
                        <a:pt x="460" y="287"/>
                      </a:lnTo>
                      <a:lnTo>
                        <a:pt x="456" y="291"/>
                      </a:lnTo>
                      <a:lnTo>
                        <a:pt x="456" y="296"/>
                      </a:lnTo>
                      <a:lnTo>
                        <a:pt x="451" y="309"/>
                      </a:lnTo>
                      <a:lnTo>
                        <a:pt x="446" y="318"/>
                      </a:lnTo>
                      <a:lnTo>
                        <a:pt x="446" y="318"/>
                      </a:lnTo>
                      <a:lnTo>
                        <a:pt x="446" y="359"/>
                      </a:lnTo>
                      <a:lnTo>
                        <a:pt x="446" y="359"/>
                      </a:lnTo>
                      <a:lnTo>
                        <a:pt x="437" y="382"/>
                      </a:lnTo>
                      <a:lnTo>
                        <a:pt x="424" y="400"/>
                      </a:lnTo>
                      <a:lnTo>
                        <a:pt x="419" y="418"/>
                      </a:lnTo>
                      <a:lnTo>
                        <a:pt x="415" y="441"/>
                      </a:lnTo>
                      <a:lnTo>
                        <a:pt x="415" y="455"/>
                      </a:lnTo>
                      <a:lnTo>
                        <a:pt x="415" y="468"/>
                      </a:lnTo>
                      <a:lnTo>
                        <a:pt x="415" y="482"/>
                      </a:lnTo>
                      <a:lnTo>
                        <a:pt x="419" y="491"/>
                      </a:lnTo>
                      <a:lnTo>
                        <a:pt x="419" y="491"/>
                      </a:lnTo>
                      <a:lnTo>
                        <a:pt x="424" y="491"/>
                      </a:lnTo>
                      <a:lnTo>
                        <a:pt x="424" y="491"/>
                      </a:lnTo>
                      <a:close/>
                    </a:path>
                  </a:pathLst>
                </a:custGeom>
                <a:solidFill>
                  <a:schemeClr val="accent2"/>
                </a:solid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21" name="Freeform 310">
                  <a:extLst>
                    <a:ext uri="{FF2B5EF4-FFF2-40B4-BE49-F238E27FC236}">
                      <a16:creationId xmlns="" xmlns:a16="http://schemas.microsoft.com/office/drawing/2014/main" id="{CA2D60FB-418F-4C33-8E12-EECF9089C2EC}"/>
                    </a:ext>
                  </a:extLst>
                </p:cNvPr>
                <p:cNvSpPr>
                  <a:spLocks noChangeAspect="1"/>
                </p:cNvSpPr>
                <p:nvPr/>
              </p:nvSpPr>
              <p:spPr bwMode="auto">
                <a:xfrm>
                  <a:off x="3240" y="1482"/>
                  <a:ext cx="441" cy="504"/>
                </a:xfrm>
                <a:custGeom>
                  <a:avLst/>
                  <a:gdLst>
                    <a:gd name="T0" fmla="*/ 27 w 441"/>
                    <a:gd name="T1" fmla="*/ 54 h 504"/>
                    <a:gd name="T2" fmla="*/ 45 w 441"/>
                    <a:gd name="T3" fmla="*/ 41 h 504"/>
                    <a:gd name="T4" fmla="*/ 63 w 441"/>
                    <a:gd name="T5" fmla="*/ 41 h 504"/>
                    <a:gd name="T6" fmla="*/ 77 w 441"/>
                    <a:gd name="T7" fmla="*/ 41 h 504"/>
                    <a:gd name="T8" fmla="*/ 100 w 441"/>
                    <a:gd name="T9" fmla="*/ 36 h 504"/>
                    <a:gd name="T10" fmla="*/ 113 w 441"/>
                    <a:gd name="T11" fmla="*/ 18 h 504"/>
                    <a:gd name="T12" fmla="*/ 136 w 441"/>
                    <a:gd name="T13" fmla="*/ 4 h 504"/>
                    <a:gd name="T14" fmla="*/ 159 w 441"/>
                    <a:gd name="T15" fmla="*/ 0 h 504"/>
                    <a:gd name="T16" fmla="*/ 200 w 441"/>
                    <a:gd name="T17" fmla="*/ 13 h 504"/>
                    <a:gd name="T18" fmla="*/ 246 w 441"/>
                    <a:gd name="T19" fmla="*/ 63 h 504"/>
                    <a:gd name="T20" fmla="*/ 259 w 441"/>
                    <a:gd name="T21" fmla="*/ 100 h 504"/>
                    <a:gd name="T22" fmla="*/ 255 w 441"/>
                    <a:gd name="T23" fmla="*/ 113 h 504"/>
                    <a:gd name="T24" fmla="*/ 250 w 441"/>
                    <a:gd name="T25" fmla="*/ 118 h 504"/>
                    <a:gd name="T26" fmla="*/ 268 w 441"/>
                    <a:gd name="T27" fmla="*/ 145 h 504"/>
                    <a:gd name="T28" fmla="*/ 273 w 441"/>
                    <a:gd name="T29" fmla="*/ 141 h 504"/>
                    <a:gd name="T30" fmla="*/ 282 w 441"/>
                    <a:gd name="T31" fmla="*/ 136 h 504"/>
                    <a:gd name="T32" fmla="*/ 287 w 441"/>
                    <a:gd name="T33" fmla="*/ 154 h 504"/>
                    <a:gd name="T34" fmla="*/ 296 w 441"/>
                    <a:gd name="T35" fmla="*/ 159 h 504"/>
                    <a:gd name="T36" fmla="*/ 323 w 441"/>
                    <a:gd name="T37" fmla="*/ 154 h 504"/>
                    <a:gd name="T38" fmla="*/ 350 w 441"/>
                    <a:gd name="T39" fmla="*/ 182 h 504"/>
                    <a:gd name="T40" fmla="*/ 382 w 441"/>
                    <a:gd name="T41" fmla="*/ 186 h 504"/>
                    <a:gd name="T42" fmla="*/ 396 w 441"/>
                    <a:gd name="T43" fmla="*/ 173 h 504"/>
                    <a:gd name="T44" fmla="*/ 410 w 441"/>
                    <a:gd name="T45" fmla="*/ 173 h 504"/>
                    <a:gd name="T46" fmla="*/ 423 w 441"/>
                    <a:gd name="T47" fmla="*/ 200 h 504"/>
                    <a:gd name="T48" fmla="*/ 423 w 441"/>
                    <a:gd name="T49" fmla="*/ 227 h 504"/>
                    <a:gd name="T50" fmla="*/ 410 w 441"/>
                    <a:gd name="T51" fmla="*/ 236 h 504"/>
                    <a:gd name="T52" fmla="*/ 410 w 441"/>
                    <a:gd name="T53" fmla="*/ 268 h 504"/>
                    <a:gd name="T54" fmla="*/ 428 w 441"/>
                    <a:gd name="T55" fmla="*/ 309 h 504"/>
                    <a:gd name="T56" fmla="*/ 432 w 441"/>
                    <a:gd name="T57" fmla="*/ 350 h 504"/>
                    <a:gd name="T58" fmla="*/ 419 w 441"/>
                    <a:gd name="T59" fmla="*/ 391 h 504"/>
                    <a:gd name="T60" fmla="*/ 391 w 441"/>
                    <a:gd name="T61" fmla="*/ 423 h 504"/>
                    <a:gd name="T62" fmla="*/ 364 w 441"/>
                    <a:gd name="T63" fmla="*/ 459 h 504"/>
                    <a:gd name="T64" fmla="*/ 350 w 441"/>
                    <a:gd name="T65" fmla="*/ 482 h 504"/>
                    <a:gd name="T66" fmla="*/ 341 w 441"/>
                    <a:gd name="T67" fmla="*/ 486 h 504"/>
                    <a:gd name="T68" fmla="*/ 337 w 441"/>
                    <a:gd name="T69" fmla="*/ 486 h 504"/>
                    <a:gd name="T70" fmla="*/ 259 w 441"/>
                    <a:gd name="T71" fmla="*/ 491 h 504"/>
                    <a:gd name="T72" fmla="*/ 232 w 441"/>
                    <a:gd name="T73" fmla="*/ 500 h 504"/>
                    <a:gd name="T74" fmla="*/ 200 w 441"/>
                    <a:gd name="T75" fmla="*/ 504 h 504"/>
                    <a:gd name="T76" fmla="*/ 182 w 441"/>
                    <a:gd name="T77" fmla="*/ 495 h 504"/>
                    <a:gd name="T78" fmla="*/ 164 w 441"/>
                    <a:gd name="T79" fmla="*/ 482 h 504"/>
                    <a:gd name="T80" fmla="*/ 118 w 441"/>
                    <a:gd name="T81" fmla="*/ 459 h 504"/>
                    <a:gd name="T82" fmla="*/ 82 w 441"/>
                    <a:gd name="T83" fmla="*/ 441 h 504"/>
                    <a:gd name="T84" fmla="*/ 77 w 441"/>
                    <a:gd name="T85" fmla="*/ 423 h 504"/>
                    <a:gd name="T86" fmla="*/ 68 w 441"/>
                    <a:gd name="T87" fmla="*/ 404 h 504"/>
                    <a:gd name="T88" fmla="*/ 54 w 441"/>
                    <a:gd name="T89" fmla="*/ 400 h 504"/>
                    <a:gd name="T90" fmla="*/ 36 w 441"/>
                    <a:gd name="T91" fmla="*/ 395 h 504"/>
                    <a:gd name="T92" fmla="*/ 31 w 441"/>
                    <a:gd name="T93" fmla="*/ 391 h 504"/>
                    <a:gd name="T94" fmla="*/ 27 w 441"/>
                    <a:gd name="T95" fmla="*/ 377 h 504"/>
                    <a:gd name="T96" fmla="*/ 9 w 441"/>
                    <a:gd name="T97" fmla="*/ 341 h 504"/>
                    <a:gd name="T98" fmla="*/ 0 w 441"/>
                    <a:gd name="T99" fmla="*/ 286 h 504"/>
                    <a:gd name="T100" fmla="*/ 9 w 441"/>
                    <a:gd name="T101" fmla="*/ 245 h 504"/>
                    <a:gd name="T102" fmla="*/ 31 w 441"/>
                    <a:gd name="T103" fmla="*/ 204 h 504"/>
                    <a:gd name="T104" fmla="*/ 31 w 441"/>
                    <a:gd name="T105" fmla="*/ 163 h 504"/>
                    <a:gd name="T106" fmla="*/ 36 w 441"/>
                    <a:gd name="T107" fmla="*/ 154 h 504"/>
                    <a:gd name="T108" fmla="*/ 41 w 441"/>
                    <a:gd name="T109" fmla="*/ 136 h 504"/>
                    <a:gd name="T110" fmla="*/ 50 w 441"/>
                    <a:gd name="T111" fmla="*/ 127 h 504"/>
                    <a:gd name="T112" fmla="*/ 63 w 441"/>
                    <a:gd name="T113" fmla="*/ 123 h 504"/>
                    <a:gd name="T114" fmla="*/ 59 w 441"/>
                    <a:gd name="T115" fmla="*/ 100 h 504"/>
                    <a:gd name="T116" fmla="*/ 27 w 441"/>
                    <a:gd name="T117" fmla="*/ 68 h 504"/>
                    <a:gd name="T118" fmla="*/ 18 w 441"/>
                    <a:gd name="T119" fmla="*/ 54 h 504"/>
                    <a:gd name="T120" fmla="*/ 18 w 441"/>
                    <a:gd name="T121" fmla="*/ 5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1" h="504">
                      <a:moveTo>
                        <a:pt x="18" y="54"/>
                      </a:moveTo>
                      <a:lnTo>
                        <a:pt x="27" y="54"/>
                      </a:lnTo>
                      <a:lnTo>
                        <a:pt x="36" y="45"/>
                      </a:lnTo>
                      <a:lnTo>
                        <a:pt x="45" y="41"/>
                      </a:lnTo>
                      <a:lnTo>
                        <a:pt x="54" y="41"/>
                      </a:lnTo>
                      <a:lnTo>
                        <a:pt x="63" y="41"/>
                      </a:lnTo>
                      <a:lnTo>
                        <a:pt x="68" y="41"/>
                      </a:lnTo>
                      <a:lnTo>
                        <a:pt x="77" y="41"/>
                      </a:lnTo>
                      <a:lnTo>
                        <a:pt x="86" y="41"/>
                      </a:lnTo>
                      <a:lnTo>
                        <a:pt x="100" y="36"/>
                      </a:lnTo>
                      <a:lnTo>
                        <a:pt x="109" y="27"/>
                      </a:lnTo>
                      <a:lnTo>
                        <a:pt x="113" y="18"/>
                      </a:lnTo>
                      <a:lnTo>
                        <a:pt x="123" y="9"/>
                      </a:lnTo>
                      <a:lnTo>
                        <a:pt x="136" y="4"/>
                      </a:lnTo>
                      <a:lnTo>
                        <a:pt x="150" y="4"/>
                      </a:lnTo>
                      <a:lnTo>
                        <a:pt x="159" y="0"/>
                      </a:lnTo>
                      <a:lnTo>
                        <a:pt x="173" y="0"/>
                      </a:lnTo>
                      <a:lnTo>
                        <a:pt x="200" y="13"/>
                      </a:lnTo>
                      <a:lnTo>
                        <a:pt x="227" y="36"/>
                      </a:lnTo>
                      <a:lnTo>
                        <a:pt x="246" y="63"/>
                      </a:lnTo>
                      <a:lnTo>
                        <a:pt x="259" y="91"/>
                      </a:lnTo>
                      <a:lnTo>
                        <a:pt x="259" y="100"/>
                      </a:lnTo>
                      <a:lnTo>
                        <a:pt x="259" y="109"/>
                      </a:lnTo>
                      <a:lnTo>
                        <a:pt x="255" y="113"/>
                      </a:lnTo>
                      <a:lnTo>
                        <a:pt x="250" y="118"/>
                      </a:lnTo>
                      <a:lnTo>
                        <a:pt x="250" y="118"/>
                      </a:lnTo>
                      <a:lnTo>
                        <a:pt x="250" y="145"/>
                      </a:lnTo>
                      <a:lnTo>
                        <a:pt x="268" y="145"/>
                      </a:lnTo>
                      <a:lnTo>
                        <a:pt x="268" y="145"/>
                      </a:lnTo>
                      <a:lnTo>
                        <a:pt x="273" y="141"/>
                      </a:lnTo>
                      <a:lnTo>
                        <a:pt x="277" y="141"/>
                      </a:lnTo>
                      <a:lnTo>
                        <a:pt x="282" y="136"/>
                      </a:lnTo>
                      <a:lnTo>
                        <a:pt x="282" y="136"/>
                      </a:lnTo>
                      <a:lnTo>
                        <a:pt x="287" y="154"/>
                      </a:lnTo>
                      <a:lnTo>
                        <a:pt x="291" y="159"/>
                      </a:lnTo>
                      <a:lnTo>
                        <a:pt x="296" y="159"/>
                      </a:lnTo>
                      <a:lnTo>
                        <a:pt x="309" y="154"/>
                      </a:lnTo>
                      <a:lnTo>
                        <a:pt x="323" y="154"/>
                      </a:lnTo>
                      <a:lnTo>
                        <a:pt x="337" y="168"/>
                      </a:lnTo>
                      <a:lnTo>
                        <a:pt x="350" y="182"/>
                      </a:lnTo>
                      <a:lnTo>
                        <a:pt x="369" y="186"/>
                      </a:lnTo>
                      <a:lnTo>
                        <a:pt x="382" y="186"/>
                      </a:lnTo>
                      <a:lnTo>
                        <a:pt x="387" y="182"/>
                      </a:lnTo>
                      <a:lnTo>
                        <a:pt x="396" y="173"/>
                      </a:lnTo>
                      <a:lnTo>
                        <a:pt x="400" y="163"/>
                      </a:lnTo>
                      <a:lnTo>
                        <a:pt x="410" y="173"/>
                      </a:lnTo>
                      <a:lnTo>
                        <a:pt x="419" y="186"/>
                      </a:lnTo>
                      <a:lnTo>
                        <a:pt x="423" y="200"/>
                      </a:lnTo>
                      <a:lnTo>
                        <a:pt x="428" y="218"/>
                      </a:lnTo>
                      <a:lnTo>
                        <a:pt x="423" y="227"/>
                      </a:lnTo>
                      <a:lnTo>
                        <a:pt x="419" y="232"/>
                      </a:lnTo>
                      <a:lnTo>
                        <a:pt x="410" y="236"/>
                      </a:lnTo>
                      <a:lnTo>
                        <a:pt x="405" y="250"/>
                      </a:lnTo>
                      <a:lnTo>
                        <a:pt x="410" y="268"/>
                      </a:lnTo>
                      <a:lnTo>
                        <a:pt x="414" y="286"/>
                      </a:lnTo>
                      <a:lnTo>
                        <a:pt x="428" y="309"/>
                      </a:lnTo>
                      <a:lnTo>
                        <a:pt x="441" y="323"/>
                      </a:lnTo>
                      <a:lnTo>
                        <a:pt x="432" y="350"/>
                      </a:lnTo>
                      <a:lnTo>
                        <a:pt x="428" y="373"/>
                      </a:lnTo>
                      <a:lnTo>
                        <a:pt x="419" y="391"/>
                      </a:lnTo>
                      <a:lnTo>
                        <a:pt x="405" y="409"/>
                      </a:lnTo>
                      <a:lnTo>
                        <a:pt x="391" y="423"/>
                      </a:lnTo>
                      <a:lnTo>
                        <a:pt x="378" y="441"/>
                      </a:lnTo>
                      <a:lnTo>
                        <a:pt x="364" y="459"/>
                      </a:lnTo>
                      <a:lnTo>
                        <a:pt x="355" y="482"/>
                      </a:lnTo>
                      <a:lnTo>
                        <a:pt x="350" y="482"/>
                      </a:lnTo>
                      <a:lnTo>
                        <a:pt x="346" y="482"/>
                      </a:lnTo>
                      <a:lnTo>
                        <a:pt x="341" y="486"/>
                      </a:lnTo>
                      <a:lnTo>
                        <a:pt x="337" y="486"/>
                      </a:lnTo>
                      <a:lnTo>
                        <a:pt x="337" y="486"/>
                      </a:lnTo>
                      <a:lnTo>
                        <a:pt x="259" y="491"/>
                      </a:lnTo>
                      <a:lnTo>
                        <a:pt x="259" y="491"/>
                      </a:lnTo>
                      <a:lnTo>
                        <a:pt x="246" y="495"/>
                      </a:lnTo>
                      <a:lnTo>
                        <a:pt x="232" y="500"/>
                      </a:lnTo>
                      <a:lnTo>
                        <a:pt x="214" y="504"/>
                      </a:lnTo>
                      <a:lnTo>
                        <a:pt x="200" y="504"/>
                      </a:lnTo>
                      <a:lnTo>
                        <a:pt x="186" y="500"/>
                      </a:lnTo>
                      <a:lnTo>
                        <a:pt x="182" y="495"/>
                      </a:lnTo>
                      <a:lnTo>
                        <a:pt x="173" y="491"/>
                      </a:lnTo>
                      <a:lnTo>
                        <a:pt x="164" y="482"/>
                      </a:lnTo>
                      <a:lnTo>
                        <a:pt x="141" y="468"/>
                      </a:lnTo>
                      <a:lnTo>
                        <a:pt x="118" y="459"/>
                      </a:lnTo>
                      <a:lnTo>
                        <a:pt x="95" y="450"/>
                      </a:lnTo>
                      <a:lnTo>
                        <a:pt x="82" y="441"/>
                      </a:lnTo>
                      <a:lnTo>
                        <a:pt x="77" y="432"/>
                      </a:lnTo>
                      <a:lnTo>
                        <a:pt x="77" y="423"/>
                      </a:lnTo>
                      <a:lnTo>
                        <a:pt x="72" y="413"/>
                      </a:lnTo>
                      <a:lnTo>
                        <a:pt x="68" y="404"/>
                      </a:lnTo>
                      <a:lnTo>
                        <a:pt x="59" y="404"/>
                      </a:lnTo>
                      <a:lnTo>
                        <a:pt x="54" y="400"/>
                      </a:lnTo>
                      <a:lnTo>
                        <a:pt x="45" y="400"/>
                      </a:lnTo>
                      <a:lnTo>
                        <a:pt x="36" y="395"/>
                      </a:lnTo>
                      <a:lnTo>
                        <a:pt x="36" y="395"/>
                      </a:lnTo>
                      <a:lnTo>
                        <a:pt x="31" y="391"/>
                      </a:lnTo>
                      <a:lnTo>
                        <a:pt x="31" y="382"/>
                      </a:lnTo>
                      <a:lnTo>
                        <a:pt x="27" y="377"/>
                      </a:lnTo>
                      <a:lnTo>
                        <a:pt x="13" y="359"/>
                      </a:lnTo>
                      <a:lnTo>
                        <a:pt x="9" y="341"/>
                      </a:lnTo>
                      <a:lnTo>
                        <a:pt x="0" y="318"/>
                      </a:lnTo>
                      <a:lnTo>
                        <a:pt x="0" y="286"/>
                      </a:lnTo>
                      <a:lnTo>
                        <a:pt x="4" y="263"/>
                      </a:lnTo>
                      <a:lnTo>
                        <a:pt x="9" y="245"/>
                      </a:lnTo>
                      <a:lnTo>
                        <a:pt x="22" y="227"/>
                      </a:lnTo>
                      <a:lnTo>
                        <a:pt x="31" y="204"/>
                      </a:lnTo>
                      <a:lnTo>
                        <a:pt x="31" y="204"/>
                      </a:lnTo>
                      <a:lnTo>
                        <a:pt x="31" y="163"/>
                      </a:lnTo>
                      <a:lnTo>
                        <a:pt x="31" y="163"/>
                      </a:lnTo>
                      <a:lnTo>
                        <a:pt x="36" y="154"/>
                      </a:lnTo>
                      <a:lnTo>
                        <a:pt x="41" y="141"/>
                      </a:lnTo>
                      <a:lnTo>
                        <a:pt x="41" y="136"/>
                      </a:lnTo>
                      <a:lnTo>
                        <a:pt x="45" y="132"/>
                      </a:lnTo>
                      <a:lnTo>
                        <a:pt x="50" y="127"/>
                      </a:lnTo>
                      <a:lnTo>
                        <a:pt x="54" y="127"/>
                      </a:lnTo>
                      <a:lnTo>
                        <a:pt x="63" y="123"/>
                      </a:lnTo>
                      <a:lnTo>
                        <a:pt x="63" y="118"/>
                      </a:lnTo>
                      <a:lnTo>
                        <a:pt x="59" y="100"/>
                      </a:lnTo>
                      <a:lnTo>
                        <a:pt x="45" y="82"/>
                      </a:lnTo>
                      <a:lnTo>
                        <a:pt x="27" y="68"/>
                      </a:lnTo>
                      <a:lnTo>
                        <a:pt x="18" y="54"/>
                      </a:lnTo>
                      <a:lnTo>
                        <a:pt x="18" y="54"/>
                      </a:lnTo>
                      <a:lnTo>
                        <a:pt x="18" y="54"/>
                      </a:lnTo>
                      <a:lnTo>
                        <a:pt x="18" y="54"/>
                      </a:lnTo>
                      <a:close/>
                    </a:path>
                  </a:pathLst>
                </a:custGeom>
                <a:solidFill>
                  <a:schemeClr val="accent2"/>
                </a:solid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22" name="Freeform 311">
                  <a:extLst>
                    <a:ext uri="{FF2B5EF4-FFF2-40B4-BE49-F238E27FC236}">
                      <a16:creationId xmlns="" xmlns:a16="http://schemas.microsoft.com/office/drawing/2014/main" id="{429C447A-E29E-49AE-B635-7C13073E6CFF}"/>
                    </a:ext>
                  </a:extLst>
                </p:cNvPr>
                <p:cNvSpPr>
                  <a:spLocks noChangeAspect="1"/>
                </p:cNvSpPr>
                <p:nvPr/>
              </p:nvSpPr>
              <p:spPr bwMode="auto">
                <a:xfrm>
                  <a:off x="3089" y="1877"/>
                  <a:ext cx="583" cy="464"/>
                </a:xfrm>
                <a:custGeom>
                  <a:avLst/>
                  <a:gdLst>
                    <a:gd name="T0" fmla="*/ 556 w 583"/>
                    <a:gd name="T1" fmla="*/ 309 h 464"/>
                    <a:gd name="T2" fmla="*/ 570 w 583"/>
                    <a:gd name="T3" fmla="*/ 282 h 464"/>
                    <a:gd name="T4" fmla="*/ 570 w 583"/>
                    <a:gd name="T5" fmla="*/ 264 h 464"/>
                    <a:gd name="T6" fmla="*/ 583 w 583"/>
                    <a:gd name="T7" fmla="*/ 241 h 464"/>
                    <a:gd name="T8" fmla="*/ 565 w 583"/>
                    <a:gd name="T9" fmla="*/ 182 h 464"/>
                    <a:gd name="T10" fmla="*/ 556 w 583"/>
                    <a:gd name="T11" fmla="*/ 159 h 464"/>
                    <a:gd name="T12" fmla="*/ 574 w 583"/>
                    <a:gd name="T13" fmla="*/ 141 h 464"/>
                    <a:gd name="T14" fmla="*/ 574 w 583"/>
                    <a:gd name="T15" fmla="*/ 123 h 464"/>
                    <a:gd name="T16" fmla="*/ 510 w 583"/>
                    <a:gd name="T17" fmla="*/ 96 h 464"/>
                    <a:gd name="T18" fmla="*/ 497 w 583"/>
                    <a:gd name="T19" fmla="*/ 87 h 464"/>
                    <a:gd name="T20" fmla="*/ 488 w 583"/>
                    <a:gd name="T21" fmla="*/ 91 h 464"/>
                    <a:gd name="T22" fmla="*/ 397 w 583"/>
                    <a:gd name="T23" fmla="*/ 100 h 464"/>
                    <a:gd name="T24" fmla="*/ 351 w 583"/>
                    <a:gd name="T25" fmla="*/ 109 h 464"/>
                    <a:gd name="T26" fmla="*/ 324 w 583"/>
                    <a:gd name="T27" fmla="*/ 96 h 464"/>
                    <a:gd name="T28" fmla="*/ 269 w 583"/>
                    <a:gd name="T29" fmla="*/ 64 h 464"/>
                    <a:gd name="T30" fmla="*/ 228 w 583"/>
                    <a:gd name="T31" fmla="*/ 37 h 464"/>
                    <a:gd name="T32" fmla="*/ 219 w 583"/>
                    <a:gd name="T33" fmla="*/ 9 h 464"/>
                    <a:gd name="T34" fmla="*/ 196 w 583"/>
                    <a:gd name="T35" fmla="*/ 5 h 464"/>
                    <a:gd name="T36" fmla="*/ 151 w 583"/>
                    <a:gd name="T37" fmla="*/ 18 h 464"/>
                    <a:gd name="T38" fmla="*/ 128 w 583"/>
                    <a:gd name="T39" fmla="*/ 59 h 464"/>
                    <a:gd name="T40" fmla="*/ 119 w 583"/>
                    <a:gd name="T41" fmla="*/ 82 h 464"/>
                    <a:gd name="T42" fmla="*/ 123 w 583"/>
                    <a:gd name="T43" fmla="*/ 96 h 464"/>
                    <a:gd name="T44" fmla="*/ 137 w 583"/>
                    <a:gd name="T45" fmla="*/ 118 h 464"/>
                    <a:gd name="T46" fmla="*/ 141 w 583"/>
                    <a:gd name="T47" fmla="*/ 168 h 464"/>
                    <a:gd name="T48" fmla="*/ 91 w 583"/>
                    <a:gd name="T49" fmla="*/ 200 h 464"/>
                    <a:gd name="T50" fmla="*/ 73 w 583"/>
                    <a:gd name="T51" fmla="*/ 218 h 464"/>
                    <a:gd name="T52" fmla="*/ 32 w 583"/>
                    <a:gd name="T53" fmla="*/ 209 h 464"/>
                    <a:gd name="T54" fmla="*/ 5 w 583"/>
                    <a:gd name="T55" fmla="*/ 228 h 464"/>
                    <a:gd name="T56" fmla="*/ 41 w 583"/>
                    <a:gd name="T57" fmla="*/ 282 h 464"/>
                    <a:gd name="T58" fmla="*/ 100 w 583"/>
                    <a:gd name="T59" fmla="*/ 305 h 464"/>
                    <a:gd name="T60" fmla="*/ 123 w 583"/>
                    <a:gd name="T61" fmla="*/ 350 h 464"/>
                    <a:gd name="T62" fmla="*/ 119 w 583"/>
                    <a:gd name="T63" fmla="*/ 405 h 464"/>
                    <a:gd name="T64" fmla="*/ 78 w 583"/>
                    <a:gd name="T65" fmla="*/ 432 h 464"/>
                    <a:gd name="T66" fmla="*/ 128 w 583"/>
                    <a:gd name="T67" fmla="*/ 464 h 464"/>
                    <a:gd name="T68" fmla="*/ 173 w 583"/>
                    <a:gd name="T69" fmla="*/ 464 h 464"/>
                    <a:gd name="T70" fmla="*/ 178 w 583"/>
                    <a:gd name="T71" fmla="*/ 464 h 464"/>
                    <a:gd name="T72" fmla="*/ 182 w 583"/>
                    <a:gd name="T73" fmla="*/ 464 h 464"/>
                    <a:gd name="T74" fmla="*/ 255 w 583"/>
                    <a:gd name="T75" fmla="*/ 432 h 464"/>
                    <a:gd name="T76" fmla="*/ 315 w 583"/>
                    <a:gd name="T77" fmla="*/ 405 h 464"/>
                    <a:gd name="T78" fmla="*/ 346 w 583"/>
                    <a:gd name="T79" fmla="*/ 414 h 464"/>
                    <a:gd name="T80" fmla="*/ 365 w 583"/>
                    <a:gd name="T81" fmla="*/ 432 h 464"/>
                    <a:gd name="T82" fmla="*/ 383 w 583"/>
                    <a:gd name="T83" fmla="*/ 446 h 464"/>
                    <a:gd name="T84" fmla="*/ 383 w 583"/>
                    <a:gd name="T85" fmla="*/ 427 h 464"/>
                    <a:gd name="T86" fmla="*/ 397 w 583"/>
                    <a:gd name="T87" fmla="*/ 387 h 464"/>
                    <a:gd name="T88" fmla="*/ 419 w 583"/>
                    <a:gd name="T89" fmla="*/ 341 h 464"/>
                    <a:gd name="T90" fmla="*/ 451 w 583"/>
                    <a:gd name="T91" fmla="*/ 318 h 464"/>
                    <a:gd name="T92" fmla="*/ 465 w 583"/>
                    <a:gd name="T93" fmla="*/ 318 h 464"/>
                    <a:gd name="T94" fmla="*/ 524 w 583"/>
                    <a:gd name="T95" fmla="*/ 332 h 464"/>
                    <a:gd name="T96" fmla="*/ 547 w 583"/>
                    <a:gd name="T97" fmla="*/ 332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3" h="464">
                      <a:moveTo>
                        <a:pt x="547" y="332"/>
                      </a:moveTo>
                      <a:lnTo>
                        <a:pt x="547" y="318"/>
                      </a:lnTo>
                      <a:lnTo>
                        <a:pt x="556" y="309"/>
                      </a:lnTo>
                      <a:lnTo>
                        <a:pt x="565" y="300"/>
                      </a:lnTo>
                      <a:lnTo>
                        <a:pt x="570" y="282"/>
                      </a:lnTo>
                      <a:lnTo>
                        <a:pt x="570" y="282"/>
                      </a:lnTo>
                      <a:lnTo>
                        <a:pt x="570" y="277"/>
                      </a:lnTo>
                      <a:lnTo>
                        <a:pt x="570" y="268"/>
                      </a:lnTo>
                      <a:lnTo>
                        <a:pt x="570" y="264"/>
                      </a:lnTo>
                      <a:lnTo>
                        <a:pt x="570" y="255"/>
                      </a:lnTo>
                      <a:lnTo>
                        <a:pt x="579" y="246"/>
                      </a:lnTo>
                      <a:lnTo>
                        <a:pt x="583" y="241"/>
                      </a:lnTo>
                      <a:lnTo>
                        <a:pt x="583" y="232"/>
                      </a:lnTo>
                      <a:lnTo>
                        <a:pt x="574" y="200"/>
                      </a:lnTo>
                      <a:lnTo>
                        <a:pt x="565" y="182"/>
                      </a:lnTo>
                      <a:lnTo>
                        <a:pt x="561" y="173"/>
                      </a:lnTo>
                      <a:lnTo>
                        <a:pt x="556" y="164"/>
                      </a:lnTo>
                      <a:lnTo>
                        <a:pt x="556" y="159"/>
                      </a:lnTo>
                      <a:lnTo>
                        <a:pt x="561" y="150"/>
                      </a:lnTo>
                      <a:lnTo>
                        <a:pt x="570" y="146"/>
                      </a:lnTo>
                      <a:lnTo>
                        <a:pt x="574" y="141"/>
                      </a:lnTo>
                      <a:lnTo>
                        <a:pt x="574" y="141"/>
                      </a:lnTo>
                      <a:lnTo>
                        <a:pt x="574" y="123"/>
                      </a:lnTo>
                      <a:lnTo>
                        <a:pt x="574" y="123"/>
                      </a:lnTo>
                      <a:lnTo>
                        <a:pt x="551" y="109"/>
                      </a:lnTo>
                      <a:lnTo>
                        <a:pt x="529" y="105"/>
                      </a:lnTo>
                      <a:lnTo>
                        <a:pt x="510" y="96"/>
                      </a:lnTo>
                      <a:lnTo>
                        <a:pt x="506" y="87"/>
                      </a:lnTo>
                      <a:lnTo>
                        <a:pt x="501" y="87"/>
                      </a:lnTo>
                      <a:lnTo>
                        <a:pt x="497" y="87"/>
                      </a:lnTo>
                      <a:lnTo>
                        <a:pt x="492" y="91"/>
                      </a:lnTo>
                      <a:lnTo>
                        <a:pt x="488" y="91"/>
                      </a:lnTo>
                      <a:lnTo>
                        <a:pt x="488" y="91"/>
                      </a:lnTo>
                      <a:lnTo>
                        <a:pt x="410" y="96"/>
                      </a:lnTo>
                      <a:lnTo>
                        <a:pt x="410" y="96"/>
                      </a:lnTo>
                      <a:lnTo>
                        <a:pt x="397" y="100"/>
                      </a:lnTo>
                      <a:lnTo>
                        <a:pt x="383" y="105"/>
                      </a:lnTo>
                      <a:lnTo>
                        <a:pt x="365" y="109"/>
                      </a:lnTo>
                      <a:lnTo>
                        <a:pt x="351" y="109"/>
                      </a:lnTo>
                      <a:lnTo>
                        <a:pt x="337" y="105"/>
                      </a:lnTo>
                      <a:lnTo>
                        <a:pt x="333" y="100"/>
                      </a:lnTo>
                      <a:lnTo>
                        <a:pt x="324" y="96"/>
                      </a:lnTo>
                      <a:lnTo>
                        <a:pt x="315" y="87"/>
                      </a:lnTo>
                      <a:lnTo>
                        <a:pt x="292" y="73"/>
                      </a:lnTo>
                      <a:lnTo>
                        <a:pt x="269" y="64"/>
                      </a:lnTo>
                      <a:lnTo>
                        <a:pt x="246" y="55"/>
                      </a:lnTo>
                      <a:lnTo>
                        <a:pt x="233" y="46"/>
                      </a:lnTo>
                      <a:lnTo>
                        <a:pt x="228" y="37"/>
                      </a:lnTo>
                      <a:lnTo>
                        <a:pt x="228" y="28"/>
                      </a:lnTo>
                      <a:lnTo>
                        <a:pt x="223" y="18"/>
                      </a:lnTo>
                      <a:lnTo>
                        <a:pt x="219" y="9"/>
                      </a:lnTo>
                      <a:lnTo>
                        <a:pt x="210" y="9"/>
                      </a:lnTo>
                      <a:lnTo>
                        <a:pt x="205" y="5"/>
                      </a:lnTo>
                      <a:lnTo>
                        <a:pt x="196" y="5"/>
                      </a:lnTo>
                      <a:lnTo>
                        <a:pt x="187" y="0"/>
                      </a:lnTo>
                      <a:lnTo>
                        <a:pt x="169" y="9"/>
                      </a:lnTo>
                      <a:lnTo>
                        <a:pt x="151" y="18"/>
                      </a:lnTo>
                      <a:lnTo>
                        <a:pt x="132" y="32"/>
                      </a:lnTo>
                      <a:lnTo>
                        <a:pt x="128" y="50"/>
                      </a:lnTo>
                      <a:lnTo>
                        <a:pt x="128" y="59"/>
                      </a:lnTo>
                      <a:lnTo>
                        <a:pt x="123" y="64"/>
                      </a:lnTo>
                      <a:lnTo>
                        <a:pt x="119" y="73"/>
                      </a:lnTo>
                      <a:lnTo>
                        <a:pt x="119" y="82"/>
                      </a:lnTo>
                      <a:lnTo>
                        <a:pt x="119" y="87"/>
                      </a:lnTo>
                      <a:lnTo>
                        <a:pt x="123" y="91"/>
                      </a:lnTo>
                      <a:lnTo>
                        <a:pt x="123" y="96"/>
                      </a:lnTo>
                      <a:lnTo>
                        <a:pt x="128" y="96"/>
                      </a:lnTo>
                      <a:lnTo>
                        <a:pt x="132" y="105"/>
                      </a:lnTo>
                      <a:lnTo>
                        <a:pt x="137" y="118"/>
                      </a:lnTo>
                      <a:lnTo>
                        <a:pt x="146" y="132"/>
                      </a:lnTo>
                      <a:lnTo>
                        <a:pt x="146" y="141"/>
                      </a:lnTo>
                      <a:lnTo>
                        <a:pt x="141" y="168"/>
                      </a:lnTo>
                      <a:lnTo>
                        <a:pt x="128" y="182"/>
                      </a:lnTo>
                      <a:lnTo>
                        <a:pt x="110" y="191"/>
                      </a:lnTo>
                      <a:lnTo>
                        <a:pt x="91" y="200"/>
                      </a:lnTo>
                      <a:lnTo>
                        <a:pt x="87" y="205"/>
                      </a:lnTo>
                      <a:lnTo>
                        <a:pt x="78" y="209"/>
                      </a:lnTo>
                      <a:lnTo>
                        <a:pt x="73" y="218"/>
                      </a:lnTo>
                      <a:lnTo>
                        <a:pt x="59" y="218"/>
                      </a:lnTo>
                      <a:lnTo>
                        <a:pt x="41" y="218"/>
                      </a:lnTo>
                      <a:lnTo>
                        <a:pt x="32" y="209"/>
                      </a:lnTo>
                      <a:lnTo>
                        <a:pt x="18" y="205"/>
                      </a:lnTo>
                      <a:lnTo>
                        <a:pt x="0" y="205"/>
                      </a:lnTo>
                      <a:lnTo>
                        <a:pt x="5" y="228"/>
                      </a:lnTo>
                      <a:lnTo>
                        <a:pt x="14" y="246"/>
                      </a:lnTo>
                      <a:lnTo>
                        <a:pt x="28" y="264"/>
                      </a:lnTo>
                      <a:lnTo>
                        <a:pt x="41" y="282"/>
                      </a:lnTo>
                      <a:lnTo>
                        <a:pt x="55" y="291"/>
                      </a:lnTo>
                      <a:lnTo>
                        <a:pt x="78" y="300"/>
                      </a:lnTo>
                      <a:lnTo>
                        <a:pt x="100" y="305"/>
                      </a:lnTo>
                      <a:lnTo>
                        <a:pt x="114" y="318"/>
                      </a:lnTo>
                      <a:lnTo>
                        <a:pt x="119" y="332"/>
                      </a:lnTo>
                      <a:lnTo>
                        <a:pt x="123" y="350"/>
                      </a:lnTo>
                      <a:lnTo>
                        <a:pt x="128" y="373"/>
                      </a:lnTo>
                      <a:lnTo>
                        <a:pt x="128" y="391"/>
                      </a:lnTo>
                      <a:lnTo>
                        <a:pt x="119" y="405"/>
                      </a:lnTo>
                      <a:lnTo>
                        <a:pt x="105" y="409"/>
                      </a:lnTo>
                      <a:lnTo>
                        <a:pt x="87" y="418"/>
                      </a:lnTo>
                      <a:lnTo>
                        <a:pt x="78" y="432"/>
                      </a:lnTo>
                      <a:lnTo>
                        <a:pt x="87" y="446"/>
                      </a:lnTo>
                      <a:lnTo>
                        <a:pt x="105" y="455"/>
                      </a:lnTo>
                      <a:lnTo>
                        <a:pt x="128" y="464"/>
                      </a:lnTo>
                      <a:lnTo>
                        <a:pt x="151" y="464"/>
                      </a:lnTo>
                      <a:lnTo>
                        <a:pt x="151" y="464"/>
                      </a:lnTo>
                      <a:lnTo>
                        <a:pt x="173" y="464"/>
                      </a:lnTo>
                      <a:lnTo>
                        <a:pt x="173" y="464"/>
                      </a:lnTo>
                      <a:lnTo>
                        <a:pt x="178" y="464"/>
                      </a:lnTo>
                      <a:lnTo>
                        <a:pt x="178" y="464"/>
                      </a:lnTo>
                      <a:lnTo>
                        <a:pt x="182" y="464"/>
                      </a:lnTo>
                      <a:lnTo>
                        <a:pt x="182" y="464"/>
                      </a:lnTo>
                      <a:lnTo>
                        <a:pt x="182" y="464"/>
                      </a:lnTo>
                      <a:lnTo>
                        <a:pt x="251" y="459"/>
                      </a:lnTo>
                      <a:lnTo>
                        <a:pt x="251" y="459"/>
                      </a:lnTo>
                      <a:lnTo>
                        <a:pt x="255" y="432"/>
                      </a:lnTo>
                      <a:lnTo>
                        <a:pt x="269" y="414"/>
                      </a:lnTo>
                      <a:lnTo>
                        <a:pt x="287" y="405"/>
                      </a:lnTo>
                      <a:lnTo>
                        <a:pt x="315" y="405"/>
                      </a:lnTo>
                      <a:lnTo>
                        <a:pt x="324" y="405"/>
                      </a:lnTo>
                      <a:lnTo>
                        <a:pt x="337" y="409"/>
                      </a:lnTo>
                      <a:lnTo>
                        <a:pt x="346" y="414"/>
                      </a:lnTo>
                      <a:lnTo>
                        <a:pt x="351" y="414"/>
                      </a:lnTo>
                      <a:lnTo>
                        <a:pt x="360" y="423"/>
                      </a:lnTo>
                      <a:lnTo>
                        <a:pt x="365" y="432"/>
                      </a:lnTo>
                      <a:lnTo>
                        <a:pt x="369" y="446"/>
                      </a:lnTo>
                      <a:lnTo>
                        <a:pt x="378" y="450"/>
                      </a:lnTo>
                      <a:lnTo>
                        <a:pt x="383" y="446"/>
                      </a:lnTo>
                      <a:lnTo>
                        <a:pt x="383" y="441"/>
                      </a:lnTo>
                      <a:lnTo>
                        <a:pt x="383" y="432"/>
                      </a:lnTo>
                      <a:lnTo>
                        <a:pt x="383" y="427"/>
                      </a:lnTo>
                      <a:lnTo>
                        <a:pt x="383" y="414"/>
                      </a:lnTo>
                      <a:lnTo>
                        <a:pt x="392" y="400"/>
                      </a:lnTo>
                      <a:lnTo>
                        <a:pt x="397" y="387"/>
                      </a:lnTo>
                      <a:lnTo>
                        <a:pt x="401" y="377"/>
                      </a:lnTo>
                      <a:lnTo>
                        <a:pt x="406" y="364"/>
                      </a:lnTo>
                      <a:lnTo>
                        <a:pt x="419" y="341"/>
                      </a:lnTo>
                      <a:lnTo>
                        <a:pt x="433" y="327"/>
                      </a:lnTo>
                      <a:lnTo>
                        <a:pt x="447" y="318"/>
                      </a:lnTo>
                      <a:lnTo>
                        <a:pt x="451" y="318"/>
                      </a:lnTo>
                      <a:lnTo>
                        <a:pt x="456" y="318"/>
                      </a:lnTo>
                      <a:lnTo>
                        <a:pt x="460" y="318"/>
                      </a:lnTo>
                      <a:lnTo>
                        <a:pt x="465" y="318"/>
                      </a:lnTo>
                      <a:lnTo>
                        <a:pt x="488" y="318"/>
                      </a:lnTo>
                      <a:lnTo>
                        <a:pt x="506" y="323"/>
                      </a:lnTo>
                      <a:lnTo>
                        <a:pt x="524" y="332"/>
                      </a:lnTo>
                      <a:lnTo>
                        <a:pt x="547" y="332"/>
                      </a:lnTo>
                      <a:lnTo>
                        <a:pt x="547" y="332"/>
                      </a:lnTo>
                      <a:lnTo>
                        <a:pt x="547" y="332"/>
                      </a:lnTo>
                      <a:lnTo>
                        <a:pt x="547" y="332"/>
                      </a:lnTo>
                      <a:close/>
                    </a:path>
                  </a:pathLst>
                </a:custGeom>
                <a:solidFill>
                  <a:schemeClr val="accent2"/>
                </a:solid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sp>
              <p:nvSpPr>
                <p:cNvPr id="23" name="Freeform 312">
                  <a:extLst>
                    <a:ext uri="{FF2B5EF4-FFF2-40B4-BE49-F238E27FC236}">
                      <a16:creationId xmlns="" xmlns:a16="http://schemas.microsoft.com/office/drawing/2014/main" id="{FE6799CB-B74C-425E-A542-3B176FFC9C31}"/>
                    </a:ext>
                  </a:extLst>
                </p:cNvPr>
                <p:cNvSpPr>
                  <a:spLocks noChangeAspect="1"/>
                </p:cNvSpPr>
                <p:nvPr/>
              </p:nvSpPr>
              <p:spPr bwMode="auto">
                <a:xfrm>
                  <a:off x="2834" y="1686"/>
                  <a:ext cx="442" cy="419"/>
                </a:xfrm>
                <a:custGeom>
                  <a:avLst/>
                  <a:gdLst>
                    <a:gd name="T0" fmla="*/ 50 w 442"/>
                    <a:gd name="T1" fmla="*/ 14 h 419"/>
                    <a:gd name="T2" fmla="*/ 59 w 442"/>
                    <a:gd name="T3" fmla="*/ 5 h 419"/>
                    <a:gd name="T4" fmla="*/ 78 w 442"/>
                    <a:gd name="T5" fmla="*/ 5 h 419"/>
                    <a:gd name="T6" fmla="*/ 82 w 442"/>
                    <a:gd name="T7" fmla="*/ 23 h 419"/>
                    <a:gd name="T8" fmla="*/ 105 w 442"/>
                    <a:gd name="T9" fmla="*/ 41 h 419"/>
                    <a:gd name="T10" fmla="*/ 132 w 442"/>
                    <a:gd name="T11" fmla="*/ 55 h 419"/>
                    <a:gd name="T12" fmla="*/ 169 w 442"/>
                    <a:gd name="T13" fmla="*/ 55 h 419"/>
                    <a:gd name="T14" fmla="*/ 201 w 442"/>
                    <a:gd name="T15" fmla="*/ 41 h 419"/>
                    <a:gd name="T16" fmla="*/ 223 w 442"/>
                    <a:gd name="T17" fmla="*/ 41 h 419"/>
                    <a:gd name="T18" fmla="*/ 228 w 442"/>
                    <a:gd name="T19" fmla="*/ 55 h 419"/>
                    <a:gd name="T20" fmla="*/ 237 w 442"/>
                    <a:gd name="T21" fmla="*/ 64 h 419"/>
                    <a:gd name="T22" fmla="*/ 255 w 442"/>
                    <a:gd name="T23" fmla="*/ 69 h 419"/>
                    <a:gd name="T24" fmla="*/ 273 w 442"/>
                    <a:gd name="T25" fmla="*/ 78 h 419"/>
                    <a:gd name="T26" fmla="*/ 283 w 442"/>
                    <a:gd name="T27" fmla="*/ 96 h 419"/>
                    <a:gd name="T28" fmla="*/ 301 w 442"/>
                    <a:gd name="T29" fmla="*/ 96 h 419"/>
                    <a:gd name="T30" fmla="*/ 310 w 442"/>
                    <a:gd name="T31" fmla="*/ 87 h 419"/>
                    <a:gd name="T32" fmla="*/ 324 w 442"/>
                    <a:gd name="T33" fmla="*/ 87 h 419"/>
                    <a:gd name="T34" fmla="*/ 333 w 442"/>
                    <a:gd name="T35" fmla="*/ 100 h 419"/>
                    <a:gd name="T36" fmla="*/ 351 w 442"/>
                    <a:gd name="T37" fmla="*/ 119 h 419"/>
                    <a:gd name="T38" fmla="*/ 392 w 442"/>
                    <a:gd name="T39" fmla="*/ 132 h 419"/>
                    <a:gd name="T40" fmla="*/ 419 w 442"/>
                    <a:gd name="T41" fmla="*/ 146 h 419"/>
                    <a:gd name="T42" fmla="*/ 428 w 442"/>
                    <a:gd name="T43" fmla="*/ 164 h 419"/>
                    <a:gd name="T44" fmla="*/ 437 w 442"/>
                    <a:gd name="T45" fmla="*/ 178 h 419"/>
                    <a:gd name="T46" fmla="*/ 442 w 442"/>
                    <a:gd name="T47" fmla="*/ 191 h 419"/>
                    <a:gd name="T48" fmla="*/ 424 w 442"/>
                    <a:gd name="T49" fmla="*/ 200 h 419"/>
                    <a:gd name="T50" fmla="*/ 387 w 442"/>
                    <a:gd name="T51" fmla="*/ 223 h 419"/>
                    <a:gd name="T52" fmla="*/ 383 w 442"/>
                    <a:gd name="T53" fmla="*/ 250 h 419"/>
                    <a:gd name="T54" fmla="*/ 374 w 442"/>
                    <a:gd name="T55" fmla="*/ 264 h 419"/>
                    <a:gd name="T56" fmla="*/ 374 w 442"/>
                    <a:gd name="T57" fmla="*/ 278 h 419"/>
                    <a:gd name="T58" fmla="*/ 378 w 442"/>
                    <a:gd name="T59" fmla="*/ 287 h 419"/>
                    <a:gd name="T60" fmla="*/ 387 w 442"/>
                    <a:gd name="T61" fmla="*/ 296 h 419"/>
                    <a:gd name="T62" fmla="*/ 401 w 442"/>
                    <a:gd name="T63" fmla="*/ 323 h 419"/>
                    <a:gd name="T64" fmla="*/ 396 w 442"/>
                    <a:gd name="T65" fmla="*/ 359 h 419"/>
                    <a:gd name="T66" fmla="*/ 365 w 442"/>
                    <a:gd name="T67" fmla="*/ 382 h 419"/>
                    <a:gd name="T68" fmla="*/ 342 w 442"/>
                    <a:gd name="T69" fmla="*/ 396 h 419"/>
                    <a:gd name="T70" fmla="*/ 328 w 442"/>
                    <a:gd name="T71" fmla="*/ 409 h 419"/>
                    <a:gd name="T72" fmla="*/ 296 w 442"/>
                    <a:gd name="T73" fmla="*/ 409 h 419"/>
                    <a:gd name="T74" fmla="*/ 269 w 442"/>
                    <a:gd name="T75" fmla="*/ 396 h 419"/>
                    <a:gd name="T76" fmla="*/ 237 w 442"/>
                    <a:gd name="T77" fmla="*/ 400 h 419"/>
                    <a:gd name="T78" fmla="*/ 214 w 442"/>
                    <a:gd name="T79" fmla="*/ 414 h 419"/>
                    <a:gd name="T80" fmla="*/ 187 w 442"/>
                    <a:gd name="T81" fmla="*/ 414 h 419"/>
                    <a:gd name="T82" fmla="*/ 173 w 442"/>
                    <a:gd name="T83" fmla="*/ 405 h 419"/>
                    <a:gd name="T84" fmla="*/ 155 w 442"/>
                    <a:gd name="T85" fmla="*/ 400 h 419"/>
                    <a:gd name="T86" fmla="*/ 132 w 442"/>
                    <a:gd name="T87" fmla="*/ 409 h 419"/>
                    <a:gd name="T88" fmla="*/ 100 w 442"/>
                    <a:gd name="T89" fmla="*/ 405 h 419"/>
                    <a:gd name="T90" fmla="*/ 73 w 442"/>
                    <a:gd name="T91" fmla="*/ 387 h 419"/>
                    <a:gd name="T92" fmla="*/ 68 w 442"/>
                    <a:gd name="T93" fmla="*/ 369 h 419"/>
                    <a:gd name="T94" fmla="*/ 82 w 442"/>
                    <a:gd name="T95" fmla="*/ 337 h 419"/>
                    <a:gd name="T96" fmla="*/ 78 w 442"/>
                    <a:gd name="T97" fmla="*/ 287 h 419"/>
                    <a:gd name="T98" fmla="*/ 59 w 442"/>
                    <a:gd name="T99" fmla="*/ 250 h 419"/>
                    <a:gd name="T100" fmla="*/ 55 w 442"/>
                    <a:gd name="T101" fmla="*/ 214 h 419"/>
                    <a:gd name="T102" fmla="*/ 55 w 442"/>
                    <a:gd name="T103" fmla="*/ 191 h 419"/>
                    <a:gd name="T104" fmla="*/ 41 w 442"/>
                    <a:gd name="T105" fmla="*/ 164 h 419"/>
                    <a:gd name="T106" fmla="*/ 27 w 442"/>
                    <a:gd name="T107" fmla="*/ 137 h 419"/>
                    <a:gd name="T108" fmla="*/ 23 w 442"/>
                    <a:gd name="T109" fmla="*/ 100 h 419"/>
                    <a:gd name="T110" fmla="*/ 23 w 442"/>
                    <a:gd name="T111" fmla="*/ 69 h 419"/>
                    <a:gd name="T112" fmla="*/ 14 w 442"/>
                    <a:gd name="T113" fmla="*/ 50 h 419"/>
                    <a:gd name="T114" fmla="*/ 0 w 442"/>
                    <a:gd name="T115" fmla="*/ 37 h 419"/>
                    <a:gd name="T116" fmla="*/ 5 w 442"/>
                    <a:gd name="T117" fmla="*/ 23 h 419"/>
                    <a:gd name="T118" fmla="*/ 23 w 442"/>
                    <a:gd name="T119" fmla="*/ 19 h 419"/>
                    <a:gd name="T120" fmla="*/ 37 w 442"/>
                    <a:gd name="T121" fmla="*/ 19 h 419"/>
                    <a:gd name="T122" fmla="*/ 41 w 442"/>
                    <a:gd name="T123" fmla="*/ 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2" h="419">
                      <a:moveTo>
                        <a:pt x="41" y="19"/>
                      </a:moveTo>
                      <a:lnTo>
                        <a:pt x="50" y="14"/>
                      </a:lnTo>
                      <a:lnTo>
                        <a:pt x="55" y="9"/>
                      </a:lnTo>
                      <a:lnTo>
                        <a:pt x="59" y="5"/>
                      </a:lnTo>
                      <a:lnTo>
                        <a:pt x="68" y="0"/>
                      </a:lnTo>
                      <a:lnTo>
                        <a:pt x="78" y="5"/>
                      </a:lnTo>
                      <a:lnTo>
                        <a:pt x="78" y="14"/>
                      </a:lnTo>
                      <a:lnTo>
                        <a:pt x="82" y="23"/>
                      </a:lnTo>
                      <a:lnTo>
                        <a:pt x="82" y="28"/>
                      </a:lnTo>
                      <a:lnTo>
                        <a:pt x="105" y="41"/>
                      </a:lnTo>
                      <a:lnTo>
                        <a:pt x="119" y="50"/>
                      </a:lnTo>
                      <a:lnTo>
                        <a:pt x="132" y="55"/>
                      </a:lnTo>
                      <a:lnTo>
                        <a:pt x="150" y="59"/>
                      </a:lnTo>
                      <a:lnTo>
                        <a:pt x="169" y="55"/>
                      </a:lnTo>
                      <a:lnTo>
                        <a:pt x="187" y="46"/>
                      </a:lnTo>
                      <a:lnTo>
                        <a:pt x="201" y="41"/>
                      </a:lnTo>
                      <a:lnTo>
                        <a:pt x="214" y="37"/>
                      </a:lnTo>
                      <a:lnTo>
                        <a:pt x="223" y="41"/>
                      </a:lnTo>
                      <a:lnTo>
                        <a:pt x="223" y="46"/>
                      </a:lnTo>
                      <a:lnTo>
                        <a:pt x="228" y="55"/>
                      </a:lnTo>
                      <a:lnTo>
                        <a:pt x="228" y="59"/>
                      </a:lnTo>
                      <a:lnTo>
                        <a:pt x="237" y="64"/>
                      </a:lnTo>
                      <a:lnTo>
                        <a:pt x="246" y="64"/>
                      </a:lnTo>
                      <a:lnTo>
                        <a:pt x="255" y="69"/>
                      </a:lnTo>
                      <a:lnTo>
                        <a:pt x="264" y="69"/>
                      </a:lnTo>
                      <a:lnTo>
                        <a:pt x="273" y="78"/>
                      </a:lnTo>
                      <a:lnTo>
                        <a:pt x="278" y="87"/>
                      </a:lnTo>
                      <a:lnTo>
                        <a:pt x="283" y="96"/>
                      </a:lnTo>
                      <a:lnTo>
                        <a:pt x="292" y="100"/>
                      </a:lnTo>
                      <a:lnTo>
                        <a:pt x="301" y="96"/>
                      </a:lnTo>
                      <a:lnTo>
                        <a:pt x="305" y="91"/>
                      </a:lnTo>
                      <a:lnTo>
                        <a:pt x="310" y="87"/>
                      </a:lnTo>
                      <a:lnTo>
                        <a:pt x="314" y="82"/>
                      </a:lnTo>
                      <a:lnTo>
                        <a:pt x="324" y="87"/>
                      </a:lnTo>
                      <a:lnTo>
                        <a:pt x="328" y="91"/>
                      </a:lnTo>
                      <a:lnTo>
                        <a:pt x="333" y="100"/>
                      </a:lnTo>
                      <a:lnTo>
                        <a:pt x="337" y="105"/>
                      </a:lnTo>
                      <a:lnTo>
                        <a:pt x="351" y="119"/>
                      </a:lnTo>
                      <a:lnTo>
                        <a:pt x="369" y="123"/>
                      </a:lnTo>
                      <a:lnTo>
                        <a:pt x="392" y="132"/>
                      </a:lnTo>
                      <a:lnTo>
                        <a:pt x="415" y="132"/>
                      </a:lnTo>
                      <a:lnTo>
                        <a:pt x="419" y="146"/>
                      </a:lnTo>
                      <a:lnTo>
                        <a:pt x="424" y="155"/>
                      </a:lnTo>
                      <a:lnTo>
                        <a:pt x="428" y="164"/>
                      </a:lnTo>
                      <a:lnTo>
                        <a:pt x="433" y="173"/>
                      </a:lnTo>
                      <a:lnTo>
                        <a:pt x="437" y="178"/>
                      </a:lnTo>
                      <a:lnTo>
                        <a:pt x="437" y="187"/>
                      </a:lnTo>
                      <a:lnTo>
                        <a:pt x="442" y="191"/>
                      </a:lnTo>
                      <a:lnTo>
                        <a:pt x="442" y="191"/>
                      </a:lnTo>
                      <a:lnTo>
                        <a:pt x="424" y="200"/>
                      </a:lnTo>
                      <a:lnTo>
                        <a:pt x="406" y="209"/>
                      </a:lnTo>
                      <a:lnTo>
                        <a:pt x="387" y="223"/>
                      </a:lnTo>
                      <a:lnTo>
                        <a:pt x="383" y="241"/>
                      </a:lnTo>
                      <a:lnTo>
                        <a:pt x="383" y="250"/>
                      </a:lnTo>
                      <a:lnTo>
                        <a:pt x="378" y="255"/>
                      </a:lnTo>
                      <a:lnTo>
                        <a:pt x="374" y="264"/>
                      </a:lnTo>
                      <a:lnTo>
                        <a:pt x="374" y="273"/>
                      </a:lnTo>
                      <a:lnTo>
                        <a:pt x="374" y="278"/>
                      </a:lnTo>
                      <a:lnTo>
                        <a:pt x="378" y="282"/>
                      </a:lnTo>
                      <a:lnTo>
                        <a:pt x="378" y="287"/>
                      </a:lnTo>
                      <a:lnTo>
                        <a:pt x="383" y="287"/>
                      </a:lnTo>
                      <a:lnTo>
                        <a:pt x="387" y="296"/>
                      </a:lnTo>
                      <a:lnTo>
                        <a:pt x="392" y="309"/>
                      </a:lnTo>
                      <a:lnTo>
                        <a:pt x="401" y="323"/>
                      </a:lnTo>
                      <a:lnTo>
                        <a:pt x="401" y="332"/>
                      </a:lnTo>
                      <a:lnTo>
                        <a:pt x="396" y="359"/>
                      </a:lnTo>
                      <a:lnTo>
                        <a:pt x="383" y="373"/>
                      </a:lnTo>
                      <a:lnTo>
                        <a:pt x="365" y="382"/>
                      </a:lnTo>
                      <a:lnTo>
                        <a:pt x="346" y="391"/>
                      </a:lnTo>
                      <a:lnTo>
                        <a:pt x="342" y="396"/>
                      </a:lnTo>
                      <a:lnTo>
                        <a:pt x="333" y="400"/>
                      </a:lnTo>
                      <a:lnTo>
                        <a:pt x="328" y="409"/>
                      </a:lnTo>
                      <a:lnTo>
                        <a:pt x="314" y="409"/>
                      </a:lnTo>
                      <a:lnTo>
                        <a:pt x="296" y="409"/>
                      </a:lnTo>
                      <a:lnTo>
                        <a:pt x="283" y="400"/>
                      </a:lnTo>
                      <a:lnTo>
                        <a:pt x="269" y="396"/>
                      </a:lnTo>
                      <a:lnTo>
                        <a:pt x="255" y="396"/>
                      </a:lnTo>
                      <a:lnTo>
                        <a:pt x="237" y="400"/>
                      </a:lnTo>
                      <a:lnTo>
                        <a:pt x="228" y="405"/>
                      </a:lnTo>
                      <a:lnTo>
                        <a:pt x="214" y="414"/>
                      </a:lnTo>
                      <a:lnTo>
                        <a:pt x="201" y="419"/>
                      </a:lnTo>
                      <a:lnTo>
                        <a:pt x="187" y="414"/>
                      </a:lnTo>
                      <a:lnTo>
                        <a:pt x="182" y="409"/>
                      </a:lnTo>
                      <a:lnTo>
                        <a:pt x="173" y="405"/>
                      </a:lnTo>
                      <a:lnTo>
                        <a:pt x="164" y="400"/>
                      </a:lnTo>
                      <a:lnTo>
                        <a:pt x="155" y="400"/>
                      </a:lnTo>
                      <a:lnTo>
                        <a:pt x="146" y="405"/>
                      </a:lnTo>
                      <a:lnTo>
                        <a:pt x="132" y="409"/>
                      </a:lnTo>
                      <a:lnTo>
                        <a:pt x="123" y="409"/>
                      </a:lnTo>
                      <a:lnTo>
                        <a:pt x="100" y="405"/>
                      </a:lnTo>
                      <a:lnTo>
                        <a:pt x="87" y="396"/>
                      </a:lnTo>
                      <a:lnTo>
                        <a:pt x="73" y="387"/>
                      </a:lnTo>
                      <a:lnTo>
                        <a:pt x="64" y="382"/>
                      </a:lnTo>
                      <a:lnTo>
                        <a:pt x="68" y="369"/>
                      </a:lnTo>
                      <a:lnTo>
                        <a:pt x="78" y="350"/>
                      </a:lnTo>
                      <a:lnTo>
                        <a:pt x="82" y="337"/>
                      </a:lnTo>
                      <a:lnTo>
                        <a:pt x="82" y="314"/>
                      </a:lnTo>
                      <a:lnTo>
                        <a:pt x="78" y="287"/>
                      </a:lnTo>
                      <a:lnTo>
                        <a:pt x="68" y="269"/>
                      </a:lnTo>
                      <a:lnTo>
                        <a:pt x="59" y="250"/>
                      </a:lnTo>
                      <a:lnTo>
                        <a:pt x="55" y="228"/>
                      </a:lnTo>
                      <a:lnTo>
                        <a:pt x="55" y="214"/>
                      </a:lnTo>
                      <a:lnTo>
                        <a:pt x="55" y="200"/>
                      </a:lnTo>
                      <a:lnTo>
                        <a:pt x="55" y="191"/>
                      </a:lnTo>
                      <a:lnTo>
                        <a:pt x="50" y="178"/>
                      </a:lnTo>
                      <a:lnTo>
                        <a:pt x="41" y="164"/>
                      </a:lnTo>
                      <a:lnTo>
                        <a:pt x="32" y="150"/>
                      </a:lnTo>
                      <a:lnTo>
                        <a:pt x="27" y="137"/>
                      </a:lnTo>
                      <a:lnTo>
                        <a:pt x="23" y="119"/>
                      </a:lnTo>
                      <a:lnTo>
                        <a:pt x="23" y="100"/>
                      </a:lnTo>
                      <a:lnTo>
                        <a:pt x="27" y="82"/>
                      </a:lnTo>
                      <a:lnTo>
                        <a:pt x="23" y="69"/>
                      </a:lnTo>
                      <a:lnTo>
                        <a:pt x="18" y="55"/>
                      </a:lnTo>
                      <a:lnTo>
                        <a:pt x="14" y="50"/>
                      </a:lnTo>
                      <a:lnTo>
                        <a:pt x="9" y="46"/>
                      </a:lnTo>
                      <a:lnTo>
                        <a:pt x="0" y="37"/>
                      </a:lnTo>
                      <a:lnTo>
                        <a:pt x="0" y="32"/>
                      </a:lnTo>
                      <a:lnTo>
                        <a:pt x="5" y="23"/>
                      </a:lnTo>
                      <a:lnTo>
                        <a:pt x="14" y="23"/>
                      </a:lnTo>
                      <a:lnTo>
                        <a:pt x="23" y="19"/>
                      </a:lnTo>
                      <a:lnTo>
                        <a:pt x="37" y="19"/>
                      </a:lnTo>
                      <a:lnTo>
                        <a:pt x="37" y="19"/>
                      </a:lnTo>
                      <a:lnTo>
                        <a:pt x="41" y="19"/>
                      </a:lnTo>
                      <a:lnTo>
                        <a:pt x="41" y="19"/>
                      </a:lnTo>
                      <a:close/>
                    </a:path>
                  </a:pathLst>
                </a:custGeom>
                <a:grp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wrap="none" anchor="ctr"/>
                <a:lstStyle/>
                <a:p>
                  <a:pPr defTabSz="913204" fontAlgn="auto">
                    <a:spcBef>
                      <a:spcPts val="0"/>
                    </a:spcBef>
                    <a:spcAft>
                      <a:spcPts val="0"/>
                    </a:spcAft>
                    <a:defRPr/>
                  </a:pPr>
                  <a:endParaRPr lang="en-US">
                    <a:solidFill>
                      <a:srgbClr val="000000"/>
                    </a:solidFill>
                    <a:latin typeface="+mn-lt"/>
                    <a:cs typeface="+mn-cs"/>
                  </a:endParaRPr>
                </a:p>
              </p:txBody>
            </p:sp>
          </p:grpSp>
        </p:grpSp>
        <p:sp>
          <p:nvSpPr>
            <p:cNvPr id="146" name="Freeform 53">
              <a:extLst>
                <a:ext uri="{FF2B5EF4-FFF2-40B4-BE49-F238E27FC236}">
                  <a16:creationId xmlns="" xmlns:a16="http://schemas.microsoft.com/office/drawing/2014/main" id="{A1EADE0A-7594-4325-8F62-B8D70EA65F3B}"/>
                </a:ext>
              </a:extLst>
            </p:cNvPr>
            <p:cNvSpPr>
              <a:spLocks/>
            </p:cNvSpPr>
            <p:nvPr/>
          </p:nvSpPr>
          <p:spPr bwMode="auto">
            <a:xfrm>
              <a:off x="5219284" y="5160945"/>
              <a:ext cx="267092" cy="558773"/>
            </a:xfrm>
            <a:custGeom>
              <a:avLst/>
              <a:gdLst>
                <a:gd name="T0" fmla="*/ 175 w 175"/>
                <a:gd name="T1" fmla="*/ 1 h 343"/>
                <a:gd name="T2" fmla="*/ 175 w 175"/>
                <a:gd name="T3" fmla="*/ 1 h 343"/>
                <a:gd name="T4" fmla="*/ 173 w 175"/>
                <a:gd name="T5" fmla="*/ 23 h 343"/>
                <a:gd name="T6" fmla="*/ 172 w 175"/>
                <a:gd name="T7" fmla="*/ 45 h 343"/>
                <a:gd name="T8" fmla="*/ 173 w 175"/>
                <a:gd name="T9" fmla="*/ 91 h 343"/>
                <a:gd name="T10" fmla="*/ 175 w 175"/>
                <a:gd name="T11" fmla="*/ 138 h 343"/>
                <a:gd name="T12" fmla="*/ 173 w 175"/>
                <a:gd name="T13" fmla="*/ 183 h 343"/>
                <a:gd name="T14" fmla="*/ 173 w 175"/>
                <a:gd name="T15" fmla="*/ 206 h 343"/>
                <a:gd name="T16" fmla="*/ 170 w 175"/>
                <a:gd name="T17" fmla="*/ 228 h 343"/>
                <a:gd name="T18" fmla="*/ 165 w 175"/>
                <a:gd name="T19" fmla="*/ 249 h 343"/>
                <a:gd name="T20" fmla="*/ 159 w 175"/>
                <a:gd name="T21" fmla="*/ 270 h 343"/>
                <a:gd name="T22" fmla="*/ 150 w 175"/>
                <a:gd name="T23" fmla="*/ 292 h 343"/>
                <a:gd name="T24" fmla="*/ 139 w 175"/>
                <a:gd name="T25" fmla="*/ 309 h 343"/>
                <a:gd name="T26" fmla="*/ 125 w 175"/>
                <a:gd name="T27" fmla="*/ 327 h 343"/>
                <a:gd name="T28" fmla="*/ 108 w 175"/>
                <a:gd name="T29" fmla="*/ 343 h 343"/>
                <a:gd name="T30" fmla="*/ 108 w 175"/>
                <a:gd name="T31" fmla="*/ 343 h 343"/>
                <a:gd name="T32" fmla="*/ 97 w 175"/>
                <a:gd name="T33" fmla="*/ 340 h 343"/>
                <a:gd name="T34" fmla="*/ 87 w 175"/>
                <a:gd name="T35" fmla="*/ 337 h 343"/>
                <a:gd name="T36" fmla="*/ 78 w 175"/>
                <a:gd name="T37" fmla="*/ 330 h 343"/>
                <a:gd name="T38" fmla="*/ 71 w 175"/>
                <a:gd name="T39" fmla="*/ 324 h 343"/>
                <a:gd name="T40" fmla="*/ 65 w 175"/>
                <a:gd name="T41" fmla="*/ 314 h 343"/>
                <a:gd name="T42" fmla="*/ 58 w 175"/>
                <a:gd name="T43" fmla="*/ 306 h 343"/>
                <a:gd name="T44" fmla="*/ 48 w 175"/>
                <a:gd name="T45" fmla="*/ 287 h 343"/>
                <a:gd name="T46" fmla="*/ 40 w 175"/>
                <a:gd name="T47" fmla="*/ 266 h 343"/>
                <a:gd name="T48" fmla="*/ 29 w 175"/>
                <a:gd name="T49" fmla="*/ 246 h 343"/>
                <a:gd name="T50" fmla="*/ 24 w 175"/>
                <a:gd name="T51" fmla="*/ 236 h 343"/>
                <a:gd name="T52" fmla="*/ 16 w 175"/>
                <a:gd name="T53" fmla="*/ 228 h 343"/>
                <a:gd name="T54" fmla="*/ 9 w 175"/>
                <a:gd name="T55" fmla="*/ 222 h 343"/>
                <a:gd name="T56" fmla="*/ 0 w 175"/>
                <a:gd name="T57" fmla="*/ 215 h 343"/>
                <a:gd name="T58" fmla="*/ 0 w 175"/>
                <a:gd name="T59" fmla="*/ 215 h 343"/>
                <a:gd name="T60" fmla="*/ 5 w 175"/>
                <a:gd name="T61" fmla="*/ 196 h 343"/>
                <a:gd name="T62" fmla="*/ 6 w 175"/>
                <a:gd name="T63" fmla="*/ 176 h 343"/>
                <a:gd name="T64" fmla="*/ 5 w 175"/>
                <a:gd name="T65" fmla="*/ 157 h 343"/>
                <a:gd name="T66" fmla="*/ 3 w 175"/>
                <a:gd name="T67" fmla="*/ 136 h 343"/>
                <a:gd name="T68" fmla="*/ 3 w 175"/>
                <a:gd name="T69" fmla="*/ 136 h 343"/>
                <a:gd name="T70" fmla="*/ 6 w 175"/>
                <a:gd name="T71" fmla="*/ 128 h 343"/>
                <a:gd name="T72" fmla="*/ 13 w 175"/>
                <a:gd name="T73" fmla="*/ 121 h 343"/>
                <a:gd name="T74" fmla="*/ 18 w 175"/>
                <a:gd name="T75" fmla="*/ 117 h 343"/>
                <a:gd name="T76" fmla="*/ 24 w 175"/>
                <a:gd name="T77" fmla="*/ 112 h 343"/>
                <a:gd name="T78" fmla="*/ 39 w 175"/>
                <a:gd name="T79" fmla="*/ 105 h 343"/>
                <a:gd name="T80" fmla="*/ 55 w 175"/>
                <a:gd name="T81" fmla="*/ 100 h 343"/>
                <a:gd name="T82" fmla="*/ 86 w 175"/>
                <a:gd name="T83" fmla="*/ 94 h 343"/>
                <a:gd name="T84" fmla="*/ 102 w 175"/>
                <a:gd name="T85" fmla="*/ 91 h 343"/>
                <a:gd name="T86" fmla="*/ 116 w 175"/>
                <a:gd name="T87" fmla="*/ 84 h 343"/>
                <a:gd name="T88" fmla="*/ 116 w 175"/>
                <a:gd name="T89" fmla="*/ 84 h 343"/>
                <a:gd name="T90" fmla="*/ 120 w 175"/>
                <a:gd name="T91" fmla="*/ 78 h 343"/>
                <a:gd name="T92" fmla="*/ 123 w 175"/>
                <a:gd name="T93" fmla="*/ 73 h 343"/>
                <a:gd name="T94" fmla="*/ 126 w 175"/>
                <a:gd name="T95" fmla="*/ 58 h 343"/>
                <a:gd name="T96" fmla="*/ 134 w 175"/>
                <a:gd name="T97" fmla="*/ 29 h 343"/>
                <a:gd name="T98" fmla="*/ 139 w 175"/>
                <a:gd name="T99" fmla="*/ 16 h 343"/>
                <a:gd name="T100" fmla="*/ 142 w 175"/>
                <a:gd name="T101" fmla="*/ 11 h 343"/>
                <a:gd name="T102" fmla="*/ 147 w 175"/>
                <a:gd name="T103" fmla="*/ 6 h 343"/>
                <a:gd name="T104" fmla="*/ 152 w 175"/>
                <a:gd name="T105" fmla="*/ 3 h 343"/>
                <a:gd name="T106" fmla="*/ 159 w 175"/>
                <a:gd name="T107" fmla="*/ 1 h 343"/>
                <a:gd name="T108" fmla="*/ 165 w 175"/>
                <a:gd name="T109" fmla="*/ 0 h 343"/>
                <a:gd name="T110" fmla="*/ 175 w 175"/>
                <a:gd name="T111" fmla="*/ 1 h 343"/>
                <a:gd name="T112" fmla="*/ 175 w 175"/>
                <a:gd name="T113" fmla="*/ 1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5" h="343">
                  <a:moveTo>
                    <a:pt x="175" y="1"/>
                  </a:moveTo>
                  <a:lnTo>
                    <a:pt x="175" y="1"/>
                  </a:lnTo>
                  <a:lnTo>
                    <a:pt x="173" y="23"/>
                  </a:lnTo>
                  <a:lnTo>
                    <a:pt x="172" y="45"/>
                  </a:lnTo>
                  <a:lnTo>
                    <a:pt x="173" y="91"/>
                  </a:lnTo>
                  <a:lnTo>
                    <a:pt x="175" y="138"/>
                  </a:lnTo>
                  <a:lnTo>
                    <a:pt x="173" y="183"/>
                  </a:lnTo>
                  <a:lnTo>
                    <a:pt x="173" y="206"/>
                  </a:lnTo>
                  <a:lnTo>
                    <a:pt x="170" y="228"/>
                  </a:lnTo>
                  <a:lnTo>
                    <a:pt x="165" y="249"/>
                  </a:lnTo>
                  <a:lnTo>
                    <a:pt x="159" y="270"/>
                  </a:lnTo>
                  <a:lnTo>
                    <a:pt x="150" y="292"/>
                  </a:lnTo>
                  <a:lnTo>
                    <a:pt x="139" y="309"/>
                  </a:lnTo>
                  <a:lnTo>
                    <a:pt x="125" y="327"/>
                  </a:lnTo>
                  <a:lnTo>
                    <a:pt x="108" y="343"/>
                  </a:lnTo>
                  <a:lnTo>
                    <a:pt x="108" y="343"/>
                  </a:lnTo>
                  <a:lnTo>
                    <a:pt x="97" y="340"/>
                  </a:lnTo>
                  <a:lnTo>
                    <a:pt x="87" y="337"/>
                  </a:lnTo>
                  <a:lnTo>
                    <a:pt x="78" y="330"/>
                  </a:lnTo>
                  <a:lnTo>
                    <a:pt x="71" y="324"/>
                  </a:lnTo>
                  <a:lnTo>
                    <a:pt x="65" y="314"/>
                  </a:lnTo>
                  <a:lnTo>
                    <a:pt x="58" y="306"/>
                  </a:lnTo>
                  <a:lnTo>
                    <a:pt x="48" y="287"/>
                  </a:lnTo>
                  <a:lnTo>
                    <a:pt x="40" y="266"/>
                  </a:lnTo>
                  <a:lnTo>
                    <a:pt x="29" y="246"/>
                  </a:lnTo>
                  <a:lnTo>
                    <a:pt x="24" y="236"/>
                  </a:lnTo>
                  <a:lnTo>
                    <a:pt x="16" y="228"/>
                  </a:lnTo>
                  <a:lnTo>
                    <a:pt x="9" y="222"/>
                  </a:lnTo>
                  <a:lnTo>
                    <a:pt x="0" y="215"/>
                  </a:lnTo>
                  <a:lnTo>
                    <a:pt x="0" y="215"/>
                  </a:lnTo>
                  <a:lnTo>
                    <a:pt x="5" y="196"/>
                  </a:lnTo>
                  <a:lnTo>
                    <a:pt x="6" y="176"/>
                  </a:lnTo>
                  <a:lnTo>
                    <a:pt x="5" y="157"/>
                  </a:lnTo>
                  <a:lnTo>
                    <a:pt x="3" y="136"/>
                  </a:lnTo>
                  <a:lnTo>
                    <a:pt x="3" y="136"/>
                  </a:lnTo>
                  <a:lnTo>
                    <a:pt x="6" y="128"/>
                  </a:lnTo>
                  <a:lnTo>
                    <a:pt x="13" y="121"/>
                  </a:lnTo>
                  <a:lnTo>
                    <a:pt x="18" y="117"/>
                  </a:lnTo>
                  <a:lnTo>
                    <a:pt x="24" y="112"/>
                  </a:lnTo>
                  <a:lnTo>
                    <a:pt x="39" y="105"/>
                  </a:lnTo>
                  <a:lnTo>
                    <a:pt x="55" y="100"/>
                  </a:lnTo>
                  <a:lnTo>
                    <a:pt x="86" y="94"/>
                  </a:lnTo>
                  <a:lnTo>
                    <a:pt x="102" y="91"/>
                  </a:lnTo>
                  <a:lnTo>
                    <a:pt x="116" y="84"/>
                  </a:lnTo>
                  <a:lnTo>
                    <a:pt x="116" y="84"/>
                  </a:lnTo>
                  <a:lnTo>
                    <a:pt x="120" y="78"/>
                  </a:lnTo>
                  <a:lnTo>
                    <a:pt x="123" y="73"/>
                  </a:lnTo>
                  <a:lnTo>
                    <a:pt x="126" y="58"/>
                  </a:lnTo>
                  <a:lnTo>
                    <a:pt x="134" y="29"/>
                  </a:lnTo>
                  <a:lnTo>
                    <a:pt x="139" y="16"/>
                  </a:lnTo>
                  <a:lnTo>
                    <a:pt x="142" y="11"/>
                  </a:lnTo>
                  <a:lnTo>
                    <a:pt x="147" y="6"/>
                  </a:lnTo>
                  <a:lnTo>
                    <a:pt x="152" y="3"/>
                  </a:lnTo>
                  <a:lnTo>
                    <a:pt x="159" y="1"/>
                  </a:lnTo>
                  <a:lnTo>
                    <a:pt x="165" y="0"/>
                  </a:lnTo>
                  <a:lnTo>
                    <a:pt x="175" y="1"/>
                  </a:lnTo>
                  <a:lnTo>
                    <a:pt x="175" y="1"/>
                  </a:lnTo>
                  <a:close/>
                </a:path>
              </a:pathLst>
            </a:custGeom>
            <a:solidFill>
              <a:schemeClr val="tx2">
                <a:lumMod val="85000"/>
              </a:schemeClr>
            </a:solidFill>
            <a:ln w="9525" cap="flat" cmpd="sng">
              <a:solidFill>
                <a:schemeClr val="bg1">
                  <a:lumMod val="75000"/>
                </a:schemeClr>
              </a:solidFill>
              <a:prstDash val="solid"/>
              <a:round/>
              <a:headEnd/>
              <a:tailEnd/>
            </a:ln>
            <a:effectLst/>
          </p:spPr>
          <p:txBody>
            <a:bodyPr wrap="none" anchor="ctr"/>
            <a:lstStyle/>
            <a:p>
              <a:pPr defTabSz="913204" fontAlgn="auto">
                <a:spcBef>
                  <a:spcPts val="0"/>
                </a:spcBef>
                <a:spcAft>
                  <a:spcPts val="0"/>
                </a:spcAft>
                <a:defRPr/>
              </a:pPr>
              <a:endParaRPr lang="fr-FR">
                <a:solidFill>
                  <a:srgbClr val="000000"/>
                </a:solidFill>
                <a:latin typeface="+mn-lt"/>
                <a:cs typeface="+mn-cs"/>
              </a:endParaRPr>
            </a:p>
          </p:txBody>
        </p:sp>
      </p:grpSp>
      <p:sp>
        <p:nvSpPr>
          <p:cNvPr id="6151" name="ZoneTexte 12">
            <a:extLst>
              <a:ext uri="{FF2B5EF4-FFF2-40B4-BE49-F238E27FC236}">
                <a16:creationId xmlns="" xmlns:a16="http://schemas.microsoft.com/office/drawing/2014/main" id="{D429A832-7C66-4913-9EAD-33A59D7B97C7}"/>
              </a:ext>
            </a:extLst>
          </p:cNvPr>
          <p:cNvSpPr txBox="1">
            <a:spLocks noChangeArrowheads="1"/>
          </p:cNvSpPr>
          <p:nvPr/>
        </p:nvSpPr>
        <p:spPr bwMode="auto">
          <a:xfrm>
            <a:off x="4618038" y="5861050"/>
            <a:ext cx="13112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779463">
              <a:defRPr>
                <a:solidFill>
                  <a:schemeClr val="tx1"/>
                </a:solidFill>
                <a:latin typeface="Calibri" pitchFamily="34" charset="0"/>
              </a:defRPr>
            </a:lvl1pPr>
            <a:lvl2pPr marL="742950" indent="-285750" defTabSz="779463">
              <a:defRPr>
                <a:solidFill>
                  <a:schemeClr val="tx1"/>
                </a:solidFill>
                <a:latin typeface="Calibri" pitchFamily="34" charset="0"/>
              </a:defRPr>
            </a:lvl2pPr>
            <a:lvl3pPr marL="1143000" indent="-228600" defTabSz="779463">
              <a:defRPr>
                <a:solidFill>
                  <a:schemeClr val="tx1"/>
                </a:solidFill>
                <a:latin typeface="Calibri" pitchFamily="34" charset="0"/>
              </a:defRPr>
            </a:lvl3pPr>
            <a:lvl4pPr marL="1600200" indent="-228600" defTabSz="779463">
              <a:defRPr>
                <a:solidFill>
                  <a:schemeClr val="tx1"/>
                </a:solidFill>
                <a:latin typeface="Calibri" pitchFamily="34" charset="0"/>
              </a:defRPr>
            </a:lvl4pPr>
            <a:lvl5pPr marL="2057400" indent="-228600" defTabSz="779463">
              <a:defRPr>
                <a:solidFill>
                  <a:schemeClr val="tx1"/>
                </a:solidFill>
                <a:latin typeface="Calibri" pitchFamily="34" charset="0"/>
              </a:defRPr>
            </a:lvl5pPr>
            <a:lvl6pPr marL="2514600" indent="-228600" defTabSz="779463" fontAlgn="base">
              <a:spcBef>
                <a:spcPct val="0"/>
              </a:spcBef>
              <a:spcAft>
                <a:spcPct val="0"/>
              </a:spcAft>
              <a:defRPr>
                <a:solidFill>
                  <a:schemeClr val="tx1"/>
                </a:solidFill>
                <a:latin typeface="Calibri" pitchFamily="34" charset="0"/>
              </a:defRPr>
            </a:lvl6pPr>
            <a:lvl7pPr marL="2971800" indent="-228600" defTabSz="779463" fontAlgn="base">
              <a:spcBef>
                <a:spcPct val="0"/>
              </a:spcBef>
              <a:spcAft>
                <a:spcPct val="0"/>
              </a:spcAft>
              <a:defRPr>
                <a:solidFill>
                  <a:schemeClr val="tx1"/>
                </a:solidFill>
                <a:latin typeface="Calibri" pitchFamily="34" charset="0"/>
              </a:defRPr>
            </a:lvl7pPr>
            <a:lvl8pPr marL="3429000" indent="-228600" defTabSz="779463" fontAlgn="base">
              <a:spcBef>
                <a:spcPct val="0"/>
              </a:spcBef>
              <a:spcAft>
                <a:spcPct val="0"/>
              </a:spcAft>
              <a:defRPr>
                <a:solidFill>
                  <a:schemeClr val="tx1"/>
                </a:solidFill>
                <a:latin typeface="Calibri" pitchFamily="34" charset="0"/>
              </a:defRPr>
            </a:lvl8pPr>
            <a:lvl9pPr marL="3886200" indent="-228600" defTabSz="779463" fontAlgn="base">
              <a:spcBef>
                <a:spcPct val="0"/>
              </a:spcBef>
              <a:spcAft>
                <a:spcPct val="0"/>
              </a:spcAft>
              <a:defRPr>
                <a:solidFill>
                  <a:schemeClr val="tx1"/>
                </a:solidFill>
                <a:latin typeface="Calibri" pitchFamily="34" charset="0"/>
              </a:defRPr>
            </a:lvl9pPr>
          </a:lstStyle>
          <a:p>
            <a:pPr>
              <a:defRPr/>
            </a:pPr>
            <a:r>
              <a:rPr lang="fr-FR" sz="900">
                <a:solidFill>
                  <a:srgbClr val="000000"/>
                </a:solidFill>
                <a:latin typeface="+mn-lt"/>
              </a:rPr>
              <a:t>Département pionnier</a:t>
            </a:r>
          </a:p>
        </p:txBody>
      </p:sp>
      <p:sp>
        <p:nvSpPr>
          <p:cNvPr id="135" name="Rectangle 134">
            <a:extLst>
              <a:ext uri="{FF2B5EF4-FFF2-40B4-BE49-F238E27FC236}">
                <a16:creationId xmlns="" xmlns:a16="http://schemas.microsoft.com/office/drawing/2014/main" id="{61343B4F-05AD-47EA-9DB8-6CC93FE3E645}"/>
              </a:ext>
            </a:extLst>
          </p:cNvPr>
          <p:cNvSpPr/>
          <p:nvPr/>
        </p:nvSpPr>
        <p:spPr>
          <a:xfrm>
            <a:off x="4106863" y="5799138"/>
            <a:ext cx="1866900" cy="766762"/>
          </a:xfrm>
          <a:prstGeom prst="rect">
            <a:avLst/>
          </a:prstGeom>
          <a:noFill/>
          <a:ln w="952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04" tIns="45703" rIns="91404" bIns="45703"/>
          <a:lstStyle/>
          <a:p>
            <a:pPr algn="ctr" defTabSz="914032" fontAlgn="auto">
              <a:spcBef>
                <a:spcPts val="0"/>
              </a:spcBef>
              <a:spcAft>
                <a:spcPts val="0"/>
              </a:spcAft>
              <a:defRPr/>
            </a:pPr>
            <a:endParaRPr lang="fr-FR" sz="1200" dirty="0">
              <a:solidFill>
                <a:srgbClr val="000000"/>
              </a:solidFill>
            </a:endParaRPr>
          </a:p>
        </p:txBody>
      </p:sp>
      <p:sp>
        <p:nvSpPr>
          <p:cNvPr id="6153" name="ZoneTexte 135">
            <a:extLst>
              <a:ext uri="{FF2B5EF4-FFF2-40B4-BE49-F238E27FC236}">
                <a16:creationId xmlns="" xmlns:a16="http://schemas.microsoft.com/office/drawing/2014/main" id="{2FCBBF21-5182-4427-B42A-4371AF2E1982}"/>
              </a:ext>
            </a:extLst>
          </p:cNvPr>
          <p:cNvSpPr txBox="1">
            <a:spLocks noChangeArrowheads="1"/>
          </p:cNvSpPr>
          <p:nvPr/>
        </p:nvSpPr>
        <p:spPr bwMode="auto">
          <a:xfrm>
            <a:off x="4618038" y="6283325"/>
            <a:ext cx="1317625" cy="17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781050">
              <a:defRPr>
                <a:solidFill>
                  <a:schemeClr val="tx1"/>
                </a:solidFill>
                <a:latin typeface="Calibri" pitchFamily="34" charset="0"/>
              </a:defRPr>
            </a:lvl1pPr>
            <a:lvl2pPr marL="742950" indent="-285750" defTabSz="781050">
              <a:defRPr>
                <a:solidFill>
                  <a:schemeClr val="tx1"/>
                </a:solidFill>
                <a:latin typeface="Calibri" pitchFamily="34" charset="0"/>
              </a:defRPr>
            </a:lvl2pPr>
            <a:lvl3pPr marL="1143000" indent="-228600" defTabSz="781050">
              <a:defRPr>
                <a:solidFill>
                  <a:schemeClr val="tx1"/>
                </a:solidFill>
                <a:latin typeface="Calibri" pitchFamily="34" charset="0"/>
              </a:defRPr>
            </a:lvl3pPr>
            <a:lvl4pPr marL="1600200" indent="-228600" defTabSz="781050">
              <a:defRPr>
                <a:solidFill>
                  <a:schemeClr val="tx1"/>
                </a:solidFill>
                <a:latin typeface="Calibri" pitchFamily="34" charset="0"/>
              </a:defRPr>
            </a:lvl4pPr>
            <a:lvl5pPr marL="2057400" indent="-228600" defTabSz="781050">
              <a:defRPr>
                <a:solidFill>
                  <a:schemeClr val="tx1"/>
                </a:solidFill>
                <a:latin typeface="Calibri" pitchFamily="34" charset="0"/>
              </a:defRPr>
            </a:lvl5pPr>
            <a:lvl6pPr marL="2514600" indent="-228600" defTabSz="781050" fontAlgn="base">
              <a:spcBef>
                <a:spcPct val="0"/>
              </a:spcBef>
              <a:spcAft>
                <a:spcPct val="0"/>
              </a:spcAft>
              <a:defRPr>
                <a:solidFill>
                  <a:schemeClr val="tx1"/>
                </a:solidFill>
                <a:latin typeface="Calibri" pitchFamily="34" charset="0"/>
              </a:defRPr>
            </a:lvl6pPr>
            <a:lvl7pPr marL="2971800" indent="-228600" defTabSz="781050" fontAlgn="base">
              <a:spcBef>
                <a:spcPct val="0"/>
              </a:spcBef>
              <a:spcAft>
                <a:spcPct val="0"/>
              </a:spcAft>
              <a:defRPr>
                <a:solidFill>
                  <a:schemeClr val="tx1"/>
                </a:solidFill>
                <a:latin typeface="Calibri" pitchFamily="34" charset="0"/>
              </a:defRPr>
            </a:lvl7pPr>
            <a:lvl8pPr marL="3429000" indent="-228600" defTabSz="781050" fontAlgn="base">
              <a:spcBef>
                <a:spcPct val="0"/>
              </a:spcBef>
              <a:spcAft>
                <a:spcPct val="0"/>
              </a:spcAft>
              <a:defRPr>
                <a:solidFill>
                  <a:schemeClr val="tx1"/>
                </a:solidFill>
                <a:latin typeface="Calibri" pitchFamily="34" charset="0"/>
              </a:defRPr>
            </a:lvl8pPr>
            <a:lvl9pPr marL="3886200" indent="-228600" defTabSz="781050" fontAlgn="base">
              <a:spcBef>
                <a:spcPct val="0"/>
              </a:spcBef>
              <a:spcAft>
                <a:spcPct val="0"/>
              </a:spcAft>
              <a:defRPr>
                <a:solidFill>
                  <a:schemeClr val="tx1"/>
                </a:solidFill>
                <a:latin typeface="Calibri" pitchFamily="34" charset="0"/>
              </a:defRPr>
            </a:lvl9pPr>
          </a:lstStyle>
          <a:p>
            <a:pPr>
              <a:defRPr/>
            </a:pPr>
            <a:r>
              <a:rPr lang="fr-FR" sz="900" dirty="0">
                <a:solidFill>
                  <a:srgbClr val="000000"/>
                </a:solidFill>
                <a:latin typeface="+mn-lt"/>
              </a:rPr>
              <a:t>Département « adossé »</a:t>
            </a:r>
          </a:p>
        </p:txBody>
      </p:sp>
      <p:sp>
        <p:nvSpPr>
          <p:cNvPr id="137" name="Freeform 305">
            <a:extLst>
              <a:ext uri="{FF2B5EF4-FFF2-40B4-BE49-F238E27FC236}">
                <a16:creationId xmlns="" xmlns:a16="http://schemas.microsoft.com/office/drawing/2014/main" id="{C8B4D46E-5C1F-4DC1-803C-EE310D324CC3}"/>
              </a:ext>
            </a:extLst>
          </p:cNvPr>
          <p:cNvSpPr>
            <a:spLocks noChangeAspect="1"/>
          </p:cNvSpPr>
          <p:nvPr/>
        </p:nvSpPr>
        <p:spPr bwMode="auto">
          <a:xfrm>
            <a:off x="4200525" y="6211888"/>
            <a:ext cx="263525" cy="319087"/>
          </a:xfrm>
          <a:custGeom>
            <a:avLst/>
            <a:gdLst>
              <a:gd name="T0" fmla="*/ 164 w 429"/>
              <a:gd name="T1" fmla="*/ 468 h 477"/>
              <a:gd name="T2" fmla="*/ 164 w 429"/>
              <a:gd name="T3" fmla="*/ 459 h 477"/>
              <a:gd name="T4" fmla="*/ 164 w 429"/>
              <a:gd name="T5" fmla="*/ 446 h 477"/>
              <a:gd name="T6" fmla="*/ 183 w 429"/>
              <a:gd name="T7" fmla="*/ 427 h 477"/>
              <a:gd name="T8" fmla="*/ 233 w 429"/>
              <a:gd name="T9" fmla="*/ 387 h 477"/>
              <a:gd name="T10" fmla="*/ 260 w 429"/>
              <a:gd name="T11" fmla="*/ 327 h 477"/>
              <a:gd name="T12" fmla="*/ 251 w 429"/>
              <a:gd name="T13" fmla="*/ 300 h 477"/>
              <a:gd name="T14" fmla="*/ 301 w 429"/>
              <a:gd name="T15" fmla="*/ 246 h 477"/>
              <a:gd name="T16" fmla="*/ 333 w 429"/>
              <a:gd name="T17" fmla="*/ 214 h 477"/>
              <a:gd name="T18" fmla="*/ 365 w 429"/>
              <a:gd name="T19" fmla="*/ 168 h 477"/>
              <a:gd name="T20" fmla="*/ 429 w 429"/>
              <a:gd name="T21" fmla="*/ 100 h 477"/>
              <a:gd name="T22" fmla="*/ 410 w 429"/>
              <a:gd name="T23" fmla="*/ 77 h 477"/>
              <a:gd name="T24" fmla="*/ 401 w 429"/>
              <a:gd name="T25" fmla="*/ 82 h 477"/>
              <a:gd name="T26" fmla="*/ 388 w 429"/>
              <a:gd name="T27" fmla="*/ 87 h 477"/>
              <a:gd name="T28" fmla="*/ 379 w 429"/>
              <a:gd name="T29" fmla="*/ 73 h 477"/>
              <a:gd name="T30" fmla="*/ 388 w 429"/>
              <a:gd name="T31" fmla="*/ 55 h 477"/>
              <a:gd name="T32" fmla="*/ 392 w 429"/>
              <a:gd name="T33" fmla="*/ 37 h 477"/>
              <a:gd name="T34" fmla="*/ 388 w 429"/>
              <a:gd name="T35" fmla="*/ 18 h 477"/>
              <a:gd name="T36" fmla="*/ 374 w 429"/>
              <a:gd name="T37" fmla="*/ 5 h 477"/>
              <a:gd name="T38" fmla="*/ 365 w 429"/>
              <a:gd name="T39" fmla="*/ 0 h 477"/>
              <a:gd name="T40" fmla="*/ 324 w 429"/>
              <a:gd name="T41" fmla="*/ 27 h 477"/>
              <a:gd name="T42" fmla="*/ 265 w 429"/>
              <a:gd name="T43" fmla="*/ 41 h 477"/>
              <a:gd name="T44" fmla="*/ 237 w 429"/>
              <a:gd name="T45" fmla="*/ 41 h 477"/>
              <a:gd name="T46" fmla="*/ 205 w 429"/>
              <a:gd name="T47" fmla="*/ 59 h 477"/>
              <a:gd name="T48" fmla="*/ 183 w 429"/>
              <a:gd name="T49" fmla="*/ 77 h 477"/>
              <a:gd name="T50" fmla="*/ 151 w 429"/>
              <a:gd name="T51" fmla="*/ 96 h 477"/>
              <a:gd name="T52" fmla="*/ 96 w 429"/>
              <a:gd name="T53" fmla="*/ 123 h 477"/>
              <a:gd name="T54" fmla="*/ 28 w 429"/>
              <a:gd name="T55" fmla="*/ 150 h 477"/>
              <a:gd name="T56" fmla="*/ 19 w 429"/>
              <a:gd name="T57" fmla="*/ 168 h 477"/>
              <a:gd name="T58" fmla="*/ 46 w 429"/>
              <a:gd name="T59" fmla="*/ 182 h 477"/>
              <a:gd name="T60" fmla="*/ 55 w 429"/>
              <a:gd name="T61" fmla="*/ 205 h 477"/>
              <a:gd name="T62" fmla="*/ 46 w 429"/>
              <a:gd name="T63" fmla="*/ 246 h 477"/>
              <a:gd name="T64" fmla="*/ 46 w 429"/>
              <a:gd name="T65" fmla="*/ 268 h 477"/>
              <a:gd name="T66" fmla="*/ 60 w 429"/>
              <a:gd name="T67" fmla="*/ 273 h 477"/>
              <a:gd name="T68" fmla="*/ 73 w 429"/>
              <a:gd name="T69" fmla="*/ 264 h 477"/>
              <a:gd name="T70" fmla="*/ 87 w 429"/>
              <a:gd name="T71" fmla="*/ 273 h 477"/>
              <a:gd name="T72" fmla="*/ 110 w 429"/>
              <a:gd name="T73" fmla="*/ 296 h 477"/>
              <a:gd name="T74" fmla="*/ 133 w 429"/>
              <a:gd name="T75" fmla="*/ 337 h 477"/>
              <a:gd name="T76" fmla="*/ 155 w 429"/>
              <a:gd name="T77" fmla="*/ 359 h 477"/>
              <a:gd name="T78" fmla="*/ 178 w 429"/>
              <a:gd name="T79" fmla="*/ 373 h 477"/>
              <a:gd name="T80" fmla="*/ 164 w 429"/>
              <a:gd name="T81" fmla="*/ 418 h 477"/>
              <a:gd name="T82" fmla="*/ 151 w 429"/>
              <a:gd name="T83" fmla="*/ 464 h 477"/>
              <a:gd name="T84" fmla="*/ 160 w 429"/>
              <a:gd name="T85" fmla="*/ 477 h 477"/>
              <a:gd name="T86" fmla="*/ 160 w 429"/>
              <a:gd name="T87"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9" h="477">
                <a:moveTo>
                  <a:pt x="160" y="477"/>
                </a:moveTo>
                <a:lnTo>
                  <a:pt x="160" y="473"/>
                </a:lnTo>
                <a:lnTo>
                  <a:pt x="164" y="468"/>
                </a:lnTo>
                <a:lnTo>
                  <a:pt x="164" y="468"/>
                </a:lnTo>
                <a:lnTo>
                  <a:pt x="164" y="464"/>
                </a:lnTo>
                <a:lnTo>
                  <a:pt x="164" y="459"/>
                </a:lnTo>
                <a:lnTo>
                  <a:pt x="164" y="455"/>
                </a:lnTo>
                <a:lnTo>
                  <a:pt x="164" y="450"/>
                </a:lnTo>
                <a:lnTo>
                  <a:pt x="164" y="446"/>
                </a:lnTo>
                <a:lnTo>
                  <a:pt x="169" y="441"/>
                </a:lnTo>
                <a:lnTo>
                  <a:pt x="174" y="432"/>
                </a:lnTo>
                <a:lnTo>
                  <a:pt x="183" y="427"/>
                </a:lnTo>
                <a:lnTo>
                  <a:pt x="192" y="423"/>
                </a:lnTo>
                <a:lnTo>
                  <a:pt x="210" y="405"/>
                </a:lnTo>
                <a:lnTo>
                  <a:pt x="233" y="387"/>
                </a:lnTo>
                <a:lnTo>
                  <a:pt x="251" y="364"/>
                </a:lnTo>
                <a:lnTo>
                  <a:pt x="260" y="337"/>
                </a:lnTo>
                <a:lnTo>
                  <a:pt x="260" y="327"/>
                </a:lnTo>
                <a:lnTo>
                  <a:pt x="256" y="318"/>
                </a:lnTo>
                <a:lnTo>
                  <a:pt x="251" y="309"/>
                </a:lnTo>
                <a:lnTo>
                  <a:pt x="251" y="300"/>
                </a:lnTo>
                <a:lnTo>
                  <a:pt x="260" y="277"/>
                </a:lnTo>
                <a:lnTo>
                  <a:pt x="278" y="259"/>
                </a:lnTo>
                <a:lnTo>
                  <a:pt x="301" y="246"/>
                </a:lnTo>
                <a:lnTo>
                  <a:pt x="319" y="232"/>
                </a:lnTo>
                <a:lnTo>
                  <a:pt x="328" y="223"/>
                </a:lnTo>
                <a:lnTo>
                  <a:pt x="333" y="214"/>
                </a:lnTo>
                <a:lnTo>
                  <a:pt x="342" y="200"/>
                </a:lnTo>
                <a:lnTo>
                  <a:pt x="351" y="191"/>
                </a:lnTo>
                <a:lnTo>
                  <a:pt x="365" y="168"/>
                </a:lnTo>
                <a:lnTo>
                  <a:pt x="383" y="146"/>
                </a:lnTo>
                <a:lnTo>
                  <a:pt x="406" y="118"/>
                </a:lnTo>
                <a:lnTo>
                  <a:pt x="429" y="100"/>
                </a:lnTo>
                <a:lnTo>
                  <a:pt x="429" y="100"/>
                </a:lnTo>
                <a:lnTo>
                  <a:pt x="429" y="77"/>
                </a:lnTo>
                <a:lnTo>
                  <a:pt x="410" y="77"/>
                </a:lnTo>
                <a:lnTo>
                  <a:pt x="410" y="77"/>
                </a:lnTo>
                <a:lnTo>
                  <a:pt x="406" y="77"/>
                </a:lnTo>
                <a:lnTo>
                  <a:pt x="401" y="82"/>
                </a:lnTo>
                <a:lnTo>
                  <a:pt x="392" y="87"/>
                </a:lnTo>
                <a:lnTo>
                  <a:pt x="392" y="87"/>
                </a:lnTo>
                <a:lnTo>
                  <a:pt x="388" y="87"/>
                </a:lnTo>
                <a:lnTo>
                  <a:pt x="383" y="82"/>
                </a:lnTo>
                <a:lnTo>
                  <a:pt x="379" y="77"/>
                </a:lnTo>
                <a:lnTo>
                  <a:pt x="379" y="73"/>
                </a:lnTo>
                <a:lnTo>
                  <a:pt x="379" y="64"/>
                </a:lnTo>
                <a:lnTo>
                  <a:pt x="383" y="59"/>
                </a:lnTo>
                <a:lnTo>
                  <a:pt x="388" y="55"/>
                </a:lnTo>
                <a:lnTo>
                  <a:pt x="392" y="50"/>
                </a:lnTo>
                <a:lnTo>
                  <a:pt x="392" y="46"/>
                </a:lnTo>
                <a:lnTo>
                  <a:pt x="392" y="37"/>
                </a:lnTo>
                <a:lnTo>
                  <a:pt x="388" y="32"/>
                </a:lnTo>
                <a:lnTo>
                  <a:pt x="388" y="23"/>
                </a:lnTo>
                <a:lnTo>
                  <a:pt x="388" y="18"/>
                </a:lnTo>
                <a:lnTo>
                  <a:pt x="383" y="14"/>
                </a:lnTo>
                <a:lnTo>
                  <a:pt x="379" y="9"/>
                </a:lnTo>
                <a:lnTo>
                  <a:pt x="374" y="5"/>
                </a:lnTo>
                <a:lnTo>
                  <a:pt x="369" y="5"/>
                </a:lnTo>
                <a:lnTo>
                  <a:pt x="369" y="0"/>
                </a:lnTo>
                <a:lnTo>
                  <a:pt x="365" y="0"/>
                </a:lnTo>
                <a:lnTo>
                  <a:pt x="360" y="0"/>
                </a:lnTo>
                <a:lnTo>
                  <a:pt x="347" y="14"/>
                </a:lnTo>
                <a:lnTo>
                  <a:pt x="324" y="27"/>
                </a:lnTo>
                <a:lnTo>
                  <a:pt x="301" y="37"/>
                </a:lnTo>
                <a:lnTo>
                  <a:pt x="278" y="41"/>
                </a:lnTo>
                <a:lnTo>
                  <a:pt x="265" y="41"/>
                </a:lnTo>
                <a:lnTo>
                  <a:pt x="256" y="41"/>
                </a:lnTo>
                <a:lnTo>
                  <a:pt x="246" y="41"/>
                </a:lnTo>
                <a:lnTo>
                  <a:pt x="237" y="41"/>
                </a:lnTo>
                <a:lnTo>
                  <a:pt x="224" y="46"/>
                </a:lnTo>
                <a:lnTo>
                  <a:pt x="215" y="50"/>
                </a:lnTo>
                <a:lnTo>
                  <a:pt x="205" y="59"/>
                </a:lnTo>
                <a:lnTo>
                  <a:pt x="201" y="68"/>
                </a:lnTo>
                <a:lnTo>
                  <a:pt x="192" y="73"/>
                </a:lnTo>
                <a:lnTo>
                  <a:pt x="183" y="77"/>
                </a:lnTo>
                <a:lnTo>
                  <a:pt x="174" y="77"/>
                </a:lnTo>
                <a:lnTo>
                  <a:pt x="164" y="82"/>
                </a:lnTo>
                <a:lnTo>
                  <a:pt x="151" y="96"/>
                </a:lnTo>
                <a:lnTo>
                  <a:pt x="137" y="109"/>
                </a:lnTo>
                <a:lnTo>
                  <a:pt x="119" y="118"/>
                </a:lnTo>
                <a:lnTo>
                  <a:pt x="96" y="123"/>
                </a:lnTo>
                <a:lnTo>
                  <a:pt x="69" y="127"/>
                </a:lnTo>
                <a:lnTo>
                  <a:pt x="51" y="137"/>
                </a:lnTo>
                <a:lnTo>
                  <a:pt x="28" y="150"/>
                </a:lnTo>
                <a:lnTo>
                  <a:pt x="0" y="155"/>
                </a:lnTo>
                <a:lnTo>
                  <a:pt x="10" y="159"/>
                </a:lnTo>
                <a:lnTo>
                  <a:pt x="19" y="168"/>
                </a:lnTo>
                <a:lnTo>
                  <a:pt x="32" y="173"/>
                </a:lnTo>
                <a:lnTo>
                  <a:pt x="41" y="173"/>
                </a:lnTo>
                <a:lnTo>
                  <a:pt x="46" y="182"/>
                </a:lnTo>
                <a:lnTo>
                  <a:pt x="51" y="187"/>
                </a:lnTo>
                <a:lnTo>
                  <a:pt x="55" y="196"/>
                </a:lnTo>
                <a:lnTo>
                  <a:pt x="55" y="205"/>
                </a:lnTo>
                <a:lnTo>
                  <a:pt x="55" y="218"/>
                </a:lnTo>
                <a:lnTo>
                  <a:pt x="51" y="232"/>
                </a:lnTo>
                <a:lnTo>
                  <a:pt x="46" y="246"/>
                </a:lnTo>
                <a:lnTo>
                  <a:pt x="46" y="259"/>
                </a:lnTo>
                <a:lnTo>
                  <a:pt x="46" y="264"/>
                </a:lnTo>
                <a:lnTo>
                  <a:pt x="46" y="268"/>
                </a:lnTo>
                <a:lnTo>
                  <a:pt x="51" y="273"/>
                </a:lnTo>
                <a:lnTo>
                  <a:pt x="55" y="273"/>
                </a:lnTo>
                <a:lnTo>
                  <a:pt x="60" y="273"/>
                </a:lnTo>
                <a:lnTo>
                  <a:pt x="64" y="268"/>
                </a:lnTo>
                <a:lnTo>
                  <a:pt x="69" y="264"/>
                </a:lnTo>
                <a:lnTo>
                  <a:pt x="73" y="264"/>
                </a:lnTo>
                <a:lnTo>
                  <a:pt x="78" y="264"/>
                </a:lnTo>
                <a:lnTo>
                  <a:pt x="82" y="268"/>
                </a:lnTo>
                <a:lnTo>
                  <a:pt x="87" y="273"/>
                </a:lnTo>
                <a:lnTo>
                  <a:pt x="87" y="277"/>
                </a:lnTo>
                <a:lnTo>
                  <a:pt x="101" y="287"/>
                </a:lnTo>
                <a:lnTo>
                  <a:pt x="110" y="296"/>
                </a:lnTo>
                <a:lnTo>
                  <a:pt x="119" y="309"/>
                </a:lnTo>
                <a:lnTo>
                  <a:pt x="128" y="323"/>
                </a:lnTo>
                <a:lnTo>
                  <a:pt x="133" y="337"/>
                </a:lnTo>
                <a:lnTo>
                  <a:pt x="142" y="346"/>
                </a:lnTo>
                <a:lnTo>
                  <a:pt x="146" y="350"/>
                </a:lnTo>
                <a:lnTo>
                  <a:pt x="155" y="359"/>
                </a:lnTo>
                <a:lnTo>
                  <a:pt x="164" y="364"/>
                </a:lnTo>
                <a:lnTo>
                  <a:pt x="174" y="368"/>
                </a:lnTo>
                <a:lnTo>
                  <a:pt x="178" y="373"/>
                </a:lnTo>
                <a:lnTo>
                  <a:pt x="178" y="382"/>
                </a:lnTo>
                <a:lnTo>
                  <a:pt x="174" y="400"/>
                </a:lnTo>
                <a:lnTo>
                  <a:pt x="164" y="418"/>
                </a:lnTo>
                <a:lnTo>
                  <a:pt x="155" y="437"/>
                </a:lnTo>
                <a:lnTo>
                  <a:pt x="151" y="459"/>
                </a:lnTo>
                <a:lnTo>
                  <a:pt x="151" y="464"/>
                </a:lnTo>
                <a:lnTo>
                  <a:pt x="155" y="473"/>
                </a:lnTo>
                <a:lnTo>
                  <a:pt x="155" y="477"/>
                </a:lnTo>
                <a:lnTo>
                  <a:pt x="160" y="477"/>
                </a:lnTo>
                <a:lnTo>
                  <a:pt x="160" y="477"/>
                </a:lnTo>
                <a:lnTo>
                  <a:pt x="160" y="477"/>
                </a:lnTo>
                <a:lnTo>
                  <a:pt x="160" y="477"/>
                </a:lnTo>
                <a:close/>
              </a:path>
            </a:pathLst>
          </a:custGeom>
          <a:solidFill>
            <a:schemeClr val="accent2">
              <a:lumMod val="20000"/>
              <a:lumOff val="80000"/>
            </a:schemeClr>
          </a:solid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lIns="89964" tIns="45703" rIns="17992" bIns="45703" anchor="ctr"/>
          <a:lstStyle/>
          <a:p>
            <a:pPr defTabSz="914032" fontAlgn="auto">
              <a:spcBef>
                <a:spcPts val="0"/>
              </a:spcBef>
              <a:spcAft>
                <a:spcPts val="0"/>
              </a:spcAft>
              <a:defRPr/>
            </a:pPr>
            <a:endParaRPr lang="en-US">
              <a:solidFill>
                <a:srgbClr val="000000"/>
              </a:solidFill>
              <a:latin typeface="+mn-lt"/>
              <a:cs typeface="+mn-cs"/>
            </a:endParaRPr>
          </a:p>
        </p:txBody>
      </p:sp>
      <p:sp>
        <p:nvSpPr>
          <p:cNvPr id="138" name="Freeform 285">
            <a:extLst>
              <a:ext uri="{FF2B5EF4-FFF2-40B4-BE49-F238E27FC236}">
                <a16:creationId xmlns="" xmlns:a16="http://schemas.microsoft.com/office/drawing/2014/main" id="{648082E9-56AC-4E4E-A496-58A38981C349}"/>
              </a:ext>
            </a:extLst>
          </p:cNvPr>
          <p:cNvSpPr>
            <a:spLocks noChangeAspect="1"/>
          </p:cNvSpPr>
          <p:nvPr/>
        </p:nvSpPr>
        <p:spPr bwMode="auto">
          <a:xfrm>
            <a:off x="4183063" y="5846763"/>
            <a:ext cx="300037" cy="304800"/>
          </a:xfrm>
          <a:custGeom>
            <a:avLst/>
            <a:gdLst>
              <a:gd name="T0" fmla="*/ 214 w 355"/>
              <a:gd name="T1" fmla="*/ 27 h 464"/>
              <a:gd name="T2" fmla="*/ 214 w 355"/>
              <a:gd name="T3" fmla="*/ 32 h 464"/>
              <a:gd name="T4" fmla="*/ 209 w 355"/>
              <a:gd name="T5" fmla="*/ 55 h 464"/>
              <a:gd name="T6" fmla="*/ 186 w 355"/>
              <a:gd name="T7" fmla="*/ 86 h 464"/>
              <a:gd name="T8" fmla="*/ 186 w 355"/>
              <a:gd name="T9" fmla="*/ 123 h 464"/>
              <a:gd name="T10" fmla="*/ 205 w 355"/>
              <a:gd name="T11" fmla="*/ 145 h 464"/>
              <a:gd name="T12" fmla="*/ 223 w 355"/>
              <a:gd name="T13" fmla="*/ 182 h 464"/>
              <a:gd name="T14" fmla="*/ 232 w 355"/>
              <a:gd name="T15" fmla="*/ 236 h 464"/>
              <a:gd name="T16" fmla="*/ 241 w 355"/>
              <a:gd name="T17" fmla="*/ 282 h 464"/>
              <a:gd name="T18" fmla="*/ 287 w 355"/>
              <a:gd name="T19" fmla="*/ 314 h 464"/>
              <a:gd name="T20" fmla="*/ 305 w 355"/>
              <a:gd name="T21" fmla="*/ 323 h 464"/>
              <a:gd name="T22" fmla="*/ 314 w 355"/>
              <a:gd name="T23" fmla="*/ 336 h 464"/>
              <a:gd name="T24" fmla="*/ 323 w 355"/>
              <a:gd name="T25" fmla="*/ 350 h 464"/>
              <a:gd name="T26" fmla="*/ 341 w 355"/>
              <a:gd name="T27" fmla="*/ 364 h 464"/>
              <a:gd name="T28" fmla="*/ 350 w 355"/>
              <a:gd name="T29" fmla="*/ 368 h 464"/>
              <a:gd name="T30" fmla="*/ 350 w 355"/>
              <a:gd name="T31" fmla="*/ 373 h 464"/>
              <a:gd name="T32" fmla="*/ 350 w 355"/>
              <a:gd name="T33" fmla="*/ 377 h 464"/>
              <a:gd name="T34" fmla="*/ 355 w 355"/>
              <a:gd name="T35" fmla="*/ 391 h 464"/>
              <a:gd name="T36" fmla="*/ 328 w 355"/>
              <a:gd name="T37" fmla="*/ 409 h 464"/>
              <a:gd name="T38" fmla="*/ 291 w 355"/>
              <a:gd name="T39" fmla="*/ 441 h 464"/>
              <a:gd name="T40" fmla="*/ 278 w 355"/>
              <a:gd name="T41" fmla="*/ 464 h 464"/>
              <a:gd name="T42" fmla="*/ 218 w 355"/>
              <a:gd name="T43" fmla="*/ 441 h 464"/>
              <a:gd name="T44" fmla="*/ 209 w 355"/>
              <a:gd name="T45" fmla="*/ 414 h 464"/>
              <a:gd name="T46" fmla="*/ 186 w 355"/>
              <a:gd name="T47" fmla="*/ 400 h 464"/>
              <a:gd name="T48" fmla="*/ 159 w 355"/>
              <a:gd name="T49" fmla="*/ 405 h 464"/>
              <a:gd name="T50" fmla="*/ 127 w 355"/>
              <a:gd name="T51" fmla="*/ 409 h 464"/>
              <a:gd name="T52" fmla="*/ 95 w 355"/>
              <a:gd name="T53" fmla="*/ 400 h 464"/>
              <a:gd name="T54" fmla="*/ 73 w 355"/>
              <a:gd name="T55" fmla="*/ 386 h 464"/>
              <a:gd name="T56" fmla="*/ 82 w 355"/>
              <a:gd name="T57" fmla="*/ 364 h 464"/>
              <a:gd name="T58" fmla="*/ 91 w 355"/>
              <a:gd name="T59" fmla="*/ 332 h 464"/>
              <a:gd name="T60" fmla="*/ 73 w 355"/>
              <a:gd name="T61" fmla="*/ 295 h 464"/>
              <a:gd name="T62" fmla="*/ 36 w 355"/>
              <a:gd name="T63" fmla="*/ 273 h 464"/>
              <a:gd name="T64" fmla="*/ 18 w 355"/>
              <a:gd name="T65" fmla="*/ 232 h 464"/>
              <a:gd name="T66" fmla="*/ 4 w 355"/>
              <a:gd name="T67" fmla="*/ 182 h 464"/>
              <a:gd name="T68" fmla="*/ 0 w 355"/>
              <a:gd name="T69" fmla="*/ 168 h 464"/>
              <a:gd name="T70" fmla="*/ 0 w 355"/>
              <a:gd name="T71" fmla="*/ 150 h 464"/>
              <a:gd name="T72" fmla="*/ 13 w 355"/>
              <a:gd name="T73" fmla="*/ 123 h 464"/>
              <a:gd name="T74" fmla="*/ 27 w 355"/>
              <a:gd name="T75" fmla="*/ 100 h 464"/>
              <a:gd name="T76" fmla="*/ 22 w 355"/>
              <a:gd name="T77" fmla="*/ 64 h 464"/>
              <a:gd name="T78" fmla="*/ 13 w 355"/>
              <a:gd name="T79" fmla="*/ 27 h 464"/>
              <a:gd name="T80" fmla="*/ 18 w 355"/>
              <a:gd name="T81" fmla="*/ 5 h 464"/>
              <a:gd name="T82" fmla="*/ 41 w 355"/>
              <a:gd name="T83" fmla="*/ 0 h 464"/>
              <a:gd name="T84" fmla="*/ 68 w 355"/>
              <a:gd name="T85" fmla="*/ 23 h 464"/>
              <a:gd name="T86" fmla="*/ 114 w 355"/>
              <a:gd name="T87" fmla="*/ 32 h 464"/>
              <a:gd name="T88" fmla="*/ 136 w 355"/>
              <a:gd name="T89" fmla="*/ 32 h 464"/>
              <a:gd name="T90" fmla="*/ 141 w 355"/>
              <a:gd name="T91" fmla="*/ 32 h 464"/>
              <a:gd name="T92" fmla="*/ 145 w 355"/>
              <a:gd name="T93" fmla="*/ 32 h 464"/>
              <a:gd name="T94" fmla="*/ 145 w 355"/>
              <a:gd name="T95" fmla="*/ 32 h 464"/>
              <a:gd name="T96" fmla="*/ 214 w 355"/>
              <a:gd name="T97" fmla="*/ 23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5" h="464">
                <a:moveTo>
                  <a:pt x="214" y="23"/>
                </a:moveTo>
                <a:lnTo>
                  <a:pt x="214" y="27"/>
                </a:lnTo>
                <a:lnTo>
                  <a:pt x="214" y="27"/>
                </a:lnTo>
                <a:lnTo>
                  <a:pt x="214" y="32"/>
                </a:lnTo>
                <a:lnTo>
                  <a:pt x="214" y="36"/>
                </a:lnTo>
                <a:lnTo>
                  <a:pt x="209" y="55"/>
                </a:lnTo>
                <a:lnTo>
                  <a:pt x="200" y="68"/>
                </a:lnTo>
                <a:lnTo>
                  <a:pt x="186" y="86"/>
                </a:lnTo>
                <a:lnTo>
                  <a:pt x="182" y="105"/>
                </a:lnTo>
                <a:lnTo>
                  <a:pt x="186" y="123"/>
                </a:lnTo>
                <a:lnTo>
                  <a:pt x="196" y="136"/>
                </a:lnTo>
                <a:lnTo>
                  <a:pt x="205" y="145"/>
                </a:lnTo>
                <a:lnTo>
                  <a:pt x="214" y="155"/>
                </a:lnTo>
                <a:lnTo>
                  <a:pt x="223" y="182"/>
                </a:lnTo>
                <a:lnTo>
                  <a:pt x="232" y="209"/>
                </a:lnTo>
                <a:lnTo>
                  <a:pt x="232" y="236"/>
                </a:lnTo>
                <a:lnTo>
                  <a:pt x="232" y="264"/>
                </a:lnTo>
                <a:lnTo>
                  <a:pt x="241" y="282"/>
                </a:lnTo>
                <a:lnTo>
                  <a:pt x="264" y="295"/>
                </a:lnTo>
                <a:lnTo>
                  <a:pt x="287" y="314"/>
                </a:lnTo>
                <a:lnTo>
                  <a:pt x="300" y="318"/>
                </a:lnTo>
                <a:lnTo>
                  <a:pt x="305" y="323"/>
                </a:lnTo>
                <a:lnTo>
                  <a:pt x="309" y="327"/>
                </a:lnTo>
                <a:lnTo>
                  <a:pt x="314" y="336"/>
                </a:lnTo>
                <a:lnTo>
                  <a:pt x="314" y="341"/>
                </a:lnTo>
                <a:lnTo>
                  <a:pt x="323" y="350"/>
                </a:lnTo>
                <a:lnTo>
                  <a:pt x="332" y="359"/>
                </a:lnTo>
                <a:lnTo>
                  <a:pt x="341" y="364"/>
                </a:lnTo>
                <a:lnTo>
                  <a:pt x="350" y="368"/>
                </a:lnTo>
                <a:lnTo>
                  <a:pt x="350" y="368"/>
                </a:lnTo>
                <a:lnTo>
                  <a:pt x="350" y="368"/>
                </a:lnTo>
                <a:lnTo>
                  <a:pt x="350" y="373"/>
                </a:lnTo>
                <a:lnTo>
                  <a:pt x="350" y="373"/>
                </a:lnTo>
                <a:lnTo>
                  <a:pt x="350" y="377"/>
                </a:lnTo>
                <a:lnTo>
                  <a:pt x="355" y="386"/>
                </a:lnTo>
                <a:lnTo>
                  <a:pt x="355" y="391"/>
                </a:lnTo>
                <a:lnTo>
                  <a:pt x="355" y="400"/>
                </a:lnTo>
                <a:lnTo>
                  <a:pt x="328" y="409"/>
                </a:lnTo>
                <a:lnTo>
                  <a:pt x="305" y="423"/>
                </a:lnTo>
                <a:lnTo>
                  <a:pt x="291" y="441"/>
                </a:lnTo>
                <a:lnTo>
                  <a:pt x="278" y="464"/>
                </a:lnTo>
                <a:lnTo>
                  <a:pt x="278" y="464"/>
                </a:lnTo>
                <a:lnTo>
                  <a:pt x="218" y="441"/>
                </a:lnTo>
                <a:lnTo>
                  <a:pt x="218" y="441"/>
                </a:lnTo>
                <a:lnTo>
                  <a:pt x="214" y="427"/>
                </a:lnTo>
                <a:lnTo>
                  <a:pt x="209" y="414"/>
                </a:lnTo>
                <a:lnTo>
                  <a:pt x="205" y="405"/>
                </a:lnTo>
                <a:lnTo>
                  <a:pt x="186" y="400"/>
                </a:lnTo>
                <a:lnTo>
                  <a:pt x="173" y="400"/>
                </a:lnTo>
                <a:lnTo>
                  <a:pt x="159" y="405"/>
                </a:lnTo>
                <a:lnTo>
                  <a:pt x="145" y="409"/>
                </a:lnTo>
                <a:lnTo>
                  <a:pt x="127" y="409"/>
                </a:lnTo>
                <a:lnTo>
                  <a:pt x="109" y="405"/>
                </a:lnTo>
                <a:lnTo>
                  <a:pt x="95" y="400"/>
                </a:lnTo>
                <a:lnTo>
                  <a:pt x="77" y="395"/>
                </a:lnTo>
                <a:lnTo>
                  <a:pt x="73" y="386"/>
                </a:lnTo>
                <a:lnTo>
                  <a:pt x="77" y="377"/>
                </a:lnTo>
                <a:lnTo>
                  <a:pt x="82" y="364"/>
                </a:lnTo>
                <a:lnTo>
                  <a:pt x="86" y="350"/>
                </a:lnTo>
                <a:lnTo>
                  <a:pt x="91" y="332"/>
                </a:lnTo>
                <a:lnTo>
                  <a:pt x="86" y="314"/>
                </a:lnTo>
                <a:lnTo>
                  <a:pt x="73" y="295"/>
                </a:lnTo>
                <a:lnTo>
                  <a:pt x="54" y="286"/>
                </a:lnTo>
                <a:lnTo>
                  <a:pt x="36" y="273"/>
                </a:lnTo>
                <a:lnTo>
                  <a:pt x="27" y="255"/>
                </a:lnTo>
                <a:lnTo>
                  <a:pt x="18" y="232"/>
                </a:lnTo>
                <a:lnTo>
                  <a:pt x="13" y="205"/>
                </a:lnTo>
                <a:lnTo>
                  <a:pt x="4" y="182"/>
                </a:lnTo>
                <a:lnTo>
                  <a:pt x="0" y="173"/>
                </a:lnTo>
                <a:lnTo>
                  <a:pt x="0" y="168"/>
                </a:lnTo>
                <a:lnTo>
                  <a:pt x="0" y="159"/>
                </a:lnTo>
                <a:lnTo>
                  <a:pt x="0" y="150"/>
                </a:lnTo>
                <a:lnTo>
                  <a:pt x="4" y="136"/>
                </a:lnTo>
                <a:lnTo>
                  <a:pt x="13" y="123"/>
                </a:lnTo>
                <a:lnTo>
                  <a:pt x="22" y="114"/>
                </a:lnTo>
                <a:lnTo>
                  <a:pt x="27" y="100"/>
                </a:lnTo>
                <a:lnTo>
                  <a:pt x="27" y="82"/>
                </a:lnTo>
                <a:lnTo>
                  <a:pt x="22" y="64"/>
                </a:lnTo>
                <a:lnTo>
                  <a:pt x="13" y="45"/>
                </a:lnTo>
                <a:lnTo>
                  <a:pt x="13" y="27"/>
                </a:lnTo>
                <a:lnTo>
                  <a:pt x="13" y="14"/>
                </a:lnTo>
                <a:lnTo>
                  <a:pt x="18" y="5"/>
                </a:lnTo>
                <a:lnTo>
                  <a:pt x="27" y="0"/>
                </a:lnTo>
                <a:lnTo>
                  <a:pt x="41" y="0"/>
                </a:lnTo>
                <a:lnTo>
                  <a:pt x="50" y="14"/>
                </a:lnTo>
                <a:lnTo>
                  <a:pt x="68" y="23"/>
                </a:lnTo>
                <a:lnTo>
                  <a:pt x="91" y="32"/>
                </a:lnTo>
                <a:lnTo>
                  <a:pt x="114" y="32"/>
                </a:lnTo>
                <a:lnTo>
                  <a:pt x="114" y="32"/>
                </a:lnTo>
                <a:lnTo>
                  <a:pt x="136" y="32"/>
                </a:lnTo>
                <a:lnTo>
                  <a:pt x="136" y="32"/>
                </a:lnTo>
                <a:lnTo>
                  <a:pt x="141" y="32"/>
                </a:lnTo>
                <a:lnTo>
                  <a:pt x="141" y="32"/>
                </a:lnTo>
                <a:lnTo>
                  <a:pt x="145" y="32"/>
                </a:lnTo>
                <a:lnTo>
                  <a:pt x="145" y="32"/>
                </a:lnTo>
                <a:lnTo>
                  <a:pt x="145" y="32"/>
                </a:lnTo>
                <a:lnTo>
                  <a:pt x="214" y="27"/>
                </a:lnTo>
                <a:lnTo>
                  <a:pt x="214" y="23"/>
                </a:lnTo>
                <a:lnTo>
                  <a:pt x="214" y="23"/>
                </a:lnTo>
                <a:close/>
              </a:path>
            </a:pathLst>
          </a:custGeom>
          <a:solidFill>
            <a:schemeClr val="accent2"/>
          </a:solidFill>
          <a:ln w="9525" cap="flat" cmpd="sng">
            <a:solidFill>
              <a:schemeClr val="accent1">
                <a:lumMod val="5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lIns="91404" tIns="45703" rIns="91404" bIns="45703" anchor="ctr"/>
          <a:lstStyle/>
          <a:p>
            <a:pPr defTabSz="914032" fontAlgn="auto">
              <a:spcBef>
                <a:spcPts val="0"/>
              </a:spcBef>
              <a:spcAft>
                <a:spcPts val="0"/>
              </a:spcAft>
              <a:defRPr/>
            </a:pPr>
            <a:endParaRPr lang="en-US">
              <a:solidFill>
                <a:srgbClr val="000000"/>
              </a:solidFill>
              <a:latin typeface="+mn-lt"/>
              <a:cs typeface="+mn-cs"/>
            </a:endParaRPr>
          </a:p>
        </p:txBody>
      </p:sp>
      <p:sp>
        <p:nvSpPr>
          <p:cNvPr id="139" name="Freeform 5">
            <a:extLst>
              <a:ext uri="{FF2B5EF4-FFF2-40B4-BE49-F238E27FC236}">
                <a16:creationId xmlns="" xmlns:a16="http://schemas.microsoft.com/office/drawing/2014/main" id="{829340E9-4B02-4406-8247-D01D92E38128}"/>
              </a:ext>
            </a:extLst>
          </p:cNvPr>
          <p:cNvSpPr>
            <a:spLocks/>
          </p:cNvSpPr>
          <p:nvPr/>
        </p:nvSpPr>
        <p:spPr bwMode="gray">
          <a:xfrm>
            <a:off x="677863" y="5548313"/>
            <a:ext cx="584200" cy="511175"/>
          </a:xfrm>
          <a:custGeom>
            <a:avLst/>
            <a:gdLst>
              <a:gd name="T0" fmla="*/ 30233 w 36"/>
              <a:gd name="T1" fmla="*/ 152082 h 39"/>
              <a:gd name="T2" fmla="*/ 30233 w 36"/>
              <a:gd name="T3" fmla="*/ 116386 h 39"/>
              <a:gd name="T4" fmla="*/ 0 w 36"/>
              <a:gd name="T5" fmla="*/ 100681 h 39"/>
              <a:gd name="T6" fmla="*/ 0 w 36"/>
              <a:gd name="T7" fmla="*/ 68034 h 39"/>
              <a:gd name="T8" fmla="*/ 18968 w 36"/>
              <a:gd name="T9" fmla="*/ 39809 h 39"/>
              <a:gd name="T10" fmla="*/ 23471 w 36"/>
              <a:gd name="T11" fmla="*/ 8552 h 39"/>
              <a:gd name="T12" fmla="*/ 42442 w 36"/>
              <a:gd name="T13" fmla="*/ 0 h 39"/>
              <a:gd name="T14" fmla="*/ 119073 w 36"/>
              <a:gd name="T15" fmla="*/ 0 h 39"/>
              <a:gd name="T16" fmla="*/ 138045 w 36"/>
              <a:gd name="T17" fmla="*/ 11575 h 39"/>
              <a:gd name="T18" fmla="*/ 138045 w 36"/>
              <a:gd name="T19" fmla="*/ 24121 h 39"/>
              <a:gd name="T20" fmla="*/ 127260 w 36"/>
              <a:gd name="T21" fmla="*/ 32647 h 39"/>
              <a:gd name="T22" fmla="*/ 119073 w 36"/>
              <a:gd name="T23" fmla="*/ 68034 h 39"/>
              <a:gd name="T24" fmla="*/ 134195 w 36"/>
              <a:gd name="T25" fmla="*/ 116386 h 39"/>
              <a:gd name="T26" fmla="*/ 119073 w 36"/>
              <a:gd name="T27" fmla="*/ 147459 h 39"/>
              <a:gd name="T28" fmla="*/ 84820 w 36"/>
              <a:gd name="T29" fmla="*/ 147459 h 39"/>
              <a:gd name="T30" fmla="*/ 76451 w 36"/>
              <a:gd name="T31" fmla="*/ 140507 h 39"/>
              <a:gd name="T32" fmla="*/ 69690 w 36"/>
              <a:gd name="T33" fmla="*/ 140507 h 39"/>
              <a:gd name="T34" fmla="*/ 61520 w 36"/>
              <a:gd name="T35" fmla="*/ 156011 h 39"/>
              <a:gd name="T36" fmla="*/ 30233 w 36"/>
              <a:gd name="T37" fmla="*/ 152082 h 3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6" h="39">
                <a:moveTo>
                  <a:pt x="8" y="38"/>
                </a:moveTo>
                <a:lnTo>
                  <a:pt x="8" y="29"/>
                </a:lnTo>
                <a:lnTo>
                  <a:pt x="0" y="25"/>
                </a:lnTo>
                <a:lnTo>
                  <a:pt x="0" y="17"/>
                </a:lnTo>
                <a:lnTo>
                  <a:pt x="5" y="10"/>
                </a:lnTo>
                <a:lnTo>
                  <a:pt x="6" y="2"/>
                </a:lnTo>
                <a:lnTo>
                  <a:pt x="11" y="0"/>
                </a:lnTo>
                <a:lnTo>
                  <a:pt x="31" y="0"/>
                </a:lnTo>
                <a:lnTo>
                  <a:pt x="36" y="3"/>
                </a:lnTo>
                <a:lnTo>
                  <a:pt x="36" y="6"/>
                </a:lnTo>
                <a:lnTo>
                  <a:pt x="33" y="8"/>
                </a:lnTo>
                <a:lnTo>
                  <a:pt x="31" y="17"/>
                </a:lnTo>
                <a:lnTo>
                  <a:pt x="35" y="29"/>
                </a:lnTo>
                <a:lnTo>
                  <a:pt x="31" y="37"/>
                </a:lnTo>
                <a:lnTo>
                  <a:pt x="22" y="37"/>
                </a:lnTo>
                <a:lnTo>
                  <a:pt x="20" y="35"/>
                </a:lnTo>
                <a:lnTo>
                  <a:pt x="18" y="35"/>
                </a:lnTo>
                <a:lnTo>
                  <a:pt x="16" y="39"/>
                </a:lnTo>
                <a:lnTo>
                  <a:pt x="8" y="38"/>
                </a:lnTo>
                <a:close/>
              </a:path>
            </a:pathLst>
          </a:custGeom>
          <a:solidFill>
            <a:schemeClr val="tx2">
              <a:lumMod val="85000"/>
            </a:schemeClr>
          </a:solidFill>
          <a:ln w="9525" cap="flat" cmpd="sng">
            <a:solidFill>
              <a:schemeClr val="bg1">
                <a:lumMod val="75000"/>
              </a:schemeClr>
            </a:solidFill>
            <a:prstDash val="solid"/>
            <a:round/>
            <a:headEnd/>
            <a:tailEnd/>
          </a:ln>
          <a:effectLst/>
        </p:spPr>
        <p:txBody>
          <a:bodyPr lIns="91422" tIns="45711" rIns="91422" bIns="45711" anchor="ctr"/>
          <a:lstStyle/>
          <a:p>
            <a:pPr defTabSz="913204" fontAlgn="auto">
              <a:spcBef>
                <a:spcPts val="0"/>
              </a:spcBef>
              <a:spcAft>
                <a:spcPts val="0"/>
              </a:spcAft>
              <a:defRPr/>
            </a:pPr>
            <a:endParaRPr lang="fr-FR">
              <a:solidFill>
                <a:srgbClr val="000000"/>
              </a:solidFill>
              <a:latin typeface="+mn-lt"/>
              <a:cs typeface="+mn-cs"/>
            </a:endParaRPr>
          </a:p>
        </p:txBody>
      </p:sp>
      <p:sp>
        <p:nvSpPr>
          <p:cNvPr id="140" name="Freeform 6">
            <a:extLst>
              <a:ext uri="{FF2B5EF4-FFF2-40B4-BE49-F238E27FC236}">
                <a16:creationId xmlns="" xmlns:a16="http://schemas.microsoft.com/office/drawing/2014/main" id="{FD5E5F96-22A5-4E68-80D2-468529035B2F}"/>
              </a:ext>
            </a:extLst>
          </p:cNvPr>
          <p:cNvSpPr>
            <a:spLocks/>
          </p:cNvSpPr>
          <p:nvPr/>
        </p:nvSpPr>
        <p:spPr bwMode="gray">
          <a:xfrm>
            <a:off x="1174750" y="5591175"/>
            <a:ext cx="439738" cy="476250"/>
          </a:xfrm>
          <a:custGeom>
            <a:avLst/>
            <a:gdLst>
              <a:gd name="T0" fmla="*/ 0 w 27"/>
              <a:gd name="T1" fmla="*/ 122876 h 37"/>
              <a:gd name="T2" fmla="*/ 15386 w 27"/>
              <a:gd name="T3" fmla="*/ 93148 h 37"/>
              <a:gd name="T4" fmla="*/ 0 w 27"/>
              <a:gd name="T5" fmla="*/ 50634 h 37"/>
              <a:gd name="T6" fmla="*/ 8478 w 27"/>
              <a:gd name="T7" fmla="*/ 18189 h 37"/>
              <a:gd name="T8" fmla="*/ 19467 w 27"/>
              <a:gd name="T9" fmla="*/ 10205 h 37"/>
              <a:gd name="T10" fmla="*/ 19467 w 27"/>
              <a:gd name="T11" fmla="*/ 0 h 37"/>
              <a:gd name="T12" fmla="*/ 47705 w 27"/>
              <a:gd name="T13" fmla="*/ 3666 h 37"/>
              <a:gd name="T14" fmla="*/ 63091 w 27"/>
              <a:gd name="T15" fmla="*/ 7873 h 37"/>
              <a:gd name="T16" fmla="*/ 106400 w 27"/>
              <a:gd name="T17" fmla="*/ 46489 h 37"/>
              <a:gd name="T18" fmla="*/ 98065 w 27"/>
              <a:gd name="T19" fmla="*/ 74884 h 37"/>
              <a:gd name="T20" fmla="*/ 78660 w 27"/>
              <a:gd name="T21" fmla="*/ 111165 h 37"/>
              <a:gd name="T22" fmla="*/ 63091 w 27"/>
              <a:gd name="T23" fmla="*/ 133555 h 37"/>
              <a:gd name="T24" fmla="*/ 19467 w 27"/>
              <a:gd name="T25" fmla="*/ 125679 h 37"/>
              <a:gd name="T26" fmla="*/ 0 w 27"/>
              <a:gd name="T27" fmla="*/ 122876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7" h="37">
                <a:moveTo>
                  <a:pt x="0" y="34"/>
                </a:moveTo>
                <a:lnTo>
                  <a:pt x="4" y="26"/>
                </a:lnTo>
                <a:lnTo>
                  <a:pt x="0" y="14"/>
                </a:lnTo>
                <a:lnTo>
                  <a:pt x="2" y="5"/>
                </a:lnTo>
                <a:lnTo>
                  <a:pt x="5" y="3"/>
                </a:lnTo>
                <a:lnTo>
                  <a:pt x="5" y="0"/>
                </a:lnTo>
                <a:lnTo>
                  <a:pt x="12" y="1"/>
                </a:lnTo>
                <a:lnTo>
                  <a:pt x="16" y="2"/>
                </a:lnTo>
                <a:lnTo>
                  <a:pt x="27" y="13"/>
                </a:lnTo>
                <a:lnTo>
                  <a:pt x="25" y="21"/>
                </a:lnTo>
                <a:lnTo>
                  <a:pt x="20" y="31"/>
                </a:lnTo>
                <a:lnTo>
                  <a:pt x="16" y="37"/>
                </a:lnTo>
                <a:lnTo>
                  <a:pt x="5" y="35"/>
                </a:lnTo>
                <a:lnTo>
                  <a:pt x="0" y="34"/>
                </a:lnTo>
                <a:close/>
              </a:path>
            </a:pathLst>
          </a:custGeom>
          <a:solidFill>
            <a:schemeClr val="accent2"/>
          </a:solidFill>
          <a:ln w="9525" cap="flat" cmpd="sng">
            <a:solidFill>
              <a:schemeClr val="bg1">
                <a:lumMod val="75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1172B7"/>
                  </a:outerShdw>
                </a:effectLst>
              </a14:hiddenEffects>
            </a:ext>
          </a:extLst>
        </p:spPr>
        <p:txBody>
          <a:bodyPr lIns="91422" tIns="45711" rIns="91422" bIns="45711" anchor="ctr"/>
          <a:lstStyle/>
          <a:p>
            <a:pPr defTabSz="913204" fontAlgn="auto">
              <a:spcBef>
                <a:spcPts val="0"/>
              </a:spcBef>
              <a:spcAft>
                <a:spcPts val="0"/>
              </a:spcAft>
              <a:defRPr/>
            </a:pPr>
            <a:endParaRPr lang="fr-FR">
              <a:solidFill>
                <a:srgbClr val="000000"/>
              </a:solidFill>
              <a:latin typeface="+mn-lt"/>
              <a:cs typeface="+mn-cs"/>
            </a:endParaRPr>
          </a:p>
        </p:txBody>
      </p:sp>
      <p:sp>
        <p:nvSpPr>
          <p:cNvPr id="141" name="Freeform 7">
            <a:extLst>
              <a:ext uri="{FF2B5EF4-FFF2-40B4-BE49-F238E27FC236}">
                <a16:creationId xmlns="" xmlns:a16="http://schemas.microsoft.com/office/drawing/2014/main" id="{B27939B8-948C-42C3-955F-1F5A19918923}"/>
              </a:ext>
            </a:extLst>
          </p:cNvPr>
          <p:cNvSpPr>
            <a:spLocks/>
          </p:cNvSpPr>
          <p:nvPr/>
        </p:nvSpPr>
        <p:spPr bwMode="gray">
          <a:xfrm>
            <a:off x="196850" y="5224463"/>
            <a:ext cx="608013" cy="954087"/>
          </a:xfrm>
          <a:custGeom>
            <a:avLst/>
            <a:gdLst>
              <a:gd name="T0" fmla="*/ 36899 w 38"/>
              <a:gd name="T1" fmla="*/ 0 h 73"/>
              <a:gd name="T2" fmla="*/ 61395 w 38"/>
              <a:gd name="T3" fmla="*/ 11595 h 73"/>
              <a:gd name="T4" fmla="*/ 81030 w 38"/>
              <a:gd name="T5" fmla="*/ 32720 h 73"/>
              <a:gd name="T6" fmla="*/ 92171 w 38"/>
              <a:gd name="T7" fmla="*/ 60115 h 73"/>
              <a:gd name="T8" fmla="*/ 108081 w 38"/>
              <a:gd name="T9" fmla="*/ 64041 h 73"/>
              <a:gd name="T10" fmla="*/ 115655 w 38"/>
              <a:gd name="T11" fmla="*/ 83774 h 73"/>
              <a:gd name="T12" fmla="*/ 121963 w 38"/>
              <a:gd name="T13" fmla="*/ 108068 h 73"/>
              <a:gd name="T14" fmla="*/ 119391 w 38"/>
              <a:gd name="T15" fmla="*/ 140831 h 73"/>
              <a:gd name="T16" fmla="*/ 101958 w 38"/>
              <a:gd name="T17" fmla="*/ 169640 h 73"/>
              <a:gd name="T18" fmla="*/ 101958 w 38"/>
              <a:gd name="T19" fmla="*/ 200960 h 73"/>
              <a:gd name="T20" fmla="*/ 129009 w 38"/>
              <a:gd name="T21" fmla="*/ 216672 h 73"/>
              <a:gd name="T22" fmla="*/ 129009 w 38"/>
              <a:gd name="T23" fmla="*/ 253589 h 73"/>
              <a:gd name="T24" fmla="*/ 125505 w 38"/>
              <a:gd name="T25" fmla="*/ 269118 h 73"/>
              <a:gd name="T26" fmla="*/ 108081 w 38"/>
              <a:gd name="T27" fmla="*/ 273633 h 73"/>
              <a:gd name="T28" fmla="*/ 98393 w 38"/>
              <a:gd name="T29" fmla="*/ 293477 h 73"/>
              <a:gd name="T30" fmla="*/ 81030 w 38"/>
              <a:gd name="T31" fmla="*/ 293477 h 73"/>
              <a:gd name="T32" fmla="*/ 57827 w 38"/>
              <a:gd name="T33" fmla="*/ 284853 h 73"/>
              <a:gd name="T34" fmla="*/ 36899 w 38"/>
              <a:gd name="T35" fmla="*/ 265184 h 73"/>
              <a:gd name="T36" fmla="*/ 36899 w 38"/>
              <a:gd name="T37" fmla="*/ 220606 h 73"/>
              <a:gd name="T38" fmla="*/ 44139 w 38"/>
              <a:gd name="T39" fmla="*/ 189342 h 73"/>
              <a:gd name="T40" fmla="*/ 44139 w 38"/>
              <a:gd name="T41" fmla="*/ 161081 h 73"/>
              <a:gd name="T42" fmla="*/ 20928 w 38"/>
              <a:gd name="T43" fmla="*/ 136919 h 73"/>
              <a:gd name="T44" fmla="*/ 7574 w 38"/>
              <a:gd name="T45" fmla="*/ 132221 h 73"/>
              <a:gd name="T46" fmla="*/ 0 w 38"/>
              <a:gd name="T47" fmla="*/ 124156 h 73"/>
              <a:gd name="T48" fmla="*/ 0 w 38"/>
              <a:gd name="T49" fmla="*/ 79841 h 73"/>
              <a:gd name="T50" fmla="*/ 23501 w 38"/>
              <a:gd name="T51" fmla="*/ 72673 h 73"/>
              <a:gd name="T52" fmla="*/ 23501 w 38"/>
              <a:gd name="T53" fmla="*/ 60115 h 73"/>
              <a:gd name="T54" fmla="*/ 13354 w 38"/>
              <a:gd name="T55" fmla="*/ 57082 h 73"/>
              <a:gd name="T56" fmla="*/ 17361 w 38"/>
              <a:gd name="T57" fmla="*/ 35771 h 73"/>
              <a:gd name="T58" fmla="*/ 36899 w 38"/>
              <a:gd name="T59" fmla="*/ 28293 h 73"/>
              <a:gd name="T60" fmla="*/ 36899 w 38"/>
              <a:gd name="T61" fmla="*/ 0 h 7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38" h="73">
                <a:moveTo>
                  <a:pt x="11" y="0"/>
                </a:moveTo>
                <a:lnTo>
                  <a:pt x="18" y="3"/>
                </a:lnTo>
                <a:lnTo>
                  <a:pt x="24" y="8"/>
                </a:lnTo>
                <a:lnTo>
                  <a:pt x="27" y="15"/>
                </a:lnTo>
                <a:lnTo>
                  <a:pt x="32" y="16"/>
                </a:lnTo>
                <a:lnTo>
                  <a:pt x="34" y="21"/>
                </a:lnTo>
                <a:lnTo>
                  <a:pt x="36" y="27"/>
                </a:lnTo>
                <a:lnTo>
                  <a:pt x="35" y="35"/>
                </a:lnTo>
                <a:lnTo>
                  <a:pt x="30" y="42"/>
                </a:lnTo>
                <a:lnTo>
                  <a:pt x="30" y="50"/>
                </a:lnTo>
                <a:lnTo>
                  <a:pt x="38" y="54"/>
                </a:lnTo>
                <a:lnTo>
                  <a:pt x="38" y="63"/>
                </a:lnTo>
                <a:lnTo>
                  <a:pt x="37" y="67"/>
                </a:lnTo>
                <a:lnTo>
                  <a:pt x="32" y="68"/>
                </a:lnTo>
                <a:lnTo>
                  <a:pt x="29" y="73"/>
                </a:lnTo>
                <a:lnTo>
                  <a:pt x="24" y="73"/>
                </a:lnTo>
                <a:lnTo>
                  <a:pt x="17" y="71"/>
                </a:lnTo>
                <a:lnTo>
                  <a:pt x="11" y="66"/>
                </a:lnTo>
                <a:lnTo>
                  <a:pt x="11" y="55"/>
                </a:lnTo>
                <a:lnTo>
                  <a:pt x="13" y="47"/>
                </a:lnTo>
                <a:lnTo>
                  <a:pt x="13" y="40"/>
                </a:lnTo>
                <a:lnTo>
                  <a:pt x="6" y="34"/>
                </a:lnTo>
                <a:lnTo>
                  <a:pt x="2" y="33"/>
                </a:lnTo>
                <a:lnTo>
                  <a:pt x="0" y="31"/>
                </a:lnTo>
                <a:lnTo>
                  <a:pt x="0" y="20"/>
                </a:lnTo>
                <a:lnTo>
                  <a:pt x="7" y="18"/>
                </a:lnTo>
                <a:lnTo>
                  <a:pt x="7" y="15"/>
                </a:lnTo>
                <a:lnTo>
                  <a:pt x="4" y="14"/>
                </a:lnTo>
                <a:lnTo>
                  <a:pt x="5" y="9"/>
                </a:lnTo>
                <a:lnTo>
                  <a:pt x="11" y="7"/>
                </a:lnTo>
                <a:lnTo>
                  <a:pt x="11" y="0"/>
                </a:lnTo>
                <a:close/>
              </a:path>
            </a:pathLst>
          </a:custGeom>
          <a:solidFill>
            <a:schemeClr val="tx2">
              <a:lumMod val="85000"/>
            </a:schemeClr>
          </a:solidFill>
          <a:ln w="9525" cap="flat" cmpd="sng">
            <a:solidFill>
              <a:schemeClr val="bg1">
                <a:lumMod val="75000"/>
              </a:schemeClr>
            </a:solidFill>
            <a:prstDash val="solid"/>
            <a:round/>
            <a:headEnd/>
            <a:tailEnd/>
          </a:ln>
          <a:effectLst/>
        </p:spPr>
        <p:txBody>
          <a:bodyPr lIns="91422" tIns="45711" rIns="91422" bIns="45711" anchor="ctr"/>
          <a:lstStyle/>
          <a:p>
            <a:pPr defTabSz="913204" fontAlgn="auto">
              <a:spcBef>
                <a:spcPts val="0"/>
              </a:spcBef>
              <a:spcAft>
                <a:spcPts val="0"/>
              </a:spcAft>
              <a:defRPr/>
            </a:pPr>
            <a:endParaRPr lang="fr-FR">
              <a:solidFill>
                <a:srgbClr val="000000"/>
              </a:solidFill>
              <a:latin typeface="+mn-lt"/>
              <a:cs typeface="+mn-cs"/>
            </a:endParaRPr>
          </a:p>
        </p:txBody>
      </p:sp>
      <p:sp>
        <p:nvSpPr>
          <p:cNvPr id="12304" name="ZoneTexte 2">
            <a:extLst>
              <a:ext uri="{FF2B5EF4-FFF2-40B4-BE49-F238E27FC236}">
                <a16:creationId xmlns="" xmlns:a16="http://schemas.microsoft.com/office/drawing/2014/main" id="{ECC7388A-731A-4BCB-9BC4-B40935F7351B}"/>
              </a:ext>
            </a:extLst>
          </p:cNvPr>
          <p:cNvSpPr txBox="1">
            <a:spLocks noChangeArrowheads="1"/>
          </p:cNvSpPr>
          <p:nvPr/>
        </p:nvSpPr>
        <p:spPr bwMode="auto">
          <a:xfrm>
            <a:off x="128588" y="1004888"/>
            <a:ext cx="186213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2000">
                <a:solidFill>
                  <a:schemeClr val="bg1"/>
                </a:solidFill>
                <a:latin typeface="Calibri" panose="020F0502020204030204" pitchFamily="34" charset="0"/>
              </a:rPr>
              <a:t>Le 10 mai 2015</a:t>
            </a:r>
          </a:p>
        </p:txBody>
      </p:sp>
    </p:spTree>
  </p:cSld>
  <p:clrMapOvr>
    <a:masterClrMapping/>
  </p:clrMapOvr>
  <p:transition spd="slow">
    <p:cove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 xmlns:a16="http://schemas.microsoft.com/office/drawing/2014/main" id="{C1DD49E3-91FE-4549-BED0-3DAFD95FDE78}"/>
              </a:ext>
            </a:extLst>
          </p:cNvPr>
          <p:cNvSpPr txBox="1"/>
          <p:nvPr/>
        </p:nvSpPr>
        <p:spPr>
          <a:xfrm>
            <a:off x="328613" y="1773238"/>
            <a:ext cx="8208962" cy="1908175"/>
          </a:xfrm>
          <a:prstGeom prst="rect">
            <a:avLst/>
          </a:prstGeom>
          <a:noFill/>
        </p:spPr>
        <p:txBody>
          <a:bodyPr>
            <a:spAutoFit/>
          </a:bodyPr>
          <a:lstStyle/>
          <a:p>
            <a:pPr>
              <a:defRPr/>
            </a:pPr>
            <a:r>
              <a:rPr lang="fr-FR" sz="2000" dirty="0"/>
              <a:t>Deux personnes aux fonctions complémentaires : </a:t>
            </a:r>
          </a:p>
          <a:p>
            <a:pPr>
              <a:defRPr/>
            </a:pPr>
            <a:endParaRPr lang="fr-FR" sz="2000" dirty="0"/>
          </a:p>
          <a:p>
            <a:pPr marL="285750" indent="-285750">
              <a:buFontTx/>
              <a:buChar char="-"/>
              <a:defRPr/>
            </a:pPr>
            <a:r>
              <a:rPr lang="fr-FR" sz="2000" dirty="0"/>
              <a:t>Un référent du plan d’accompagnement global (PAG)</a:t>
            </a:r>
          </a:p>
          <a:p>
            <a:pPr marL="285750" indent="-285750">
              <a:buFontTx/>
              <a:buChar char="-"/>
              <a:defRPr/>
            </a:pPr>
            <a:endParaRPr lang="fr-FR" sz="2000" dirty="0"/>
          </a:p>
          <a:p>
            <a:pPr marL="285750" indent="-285750">
              <a:buFontTx/>
              <a:buChar char="-"/>
              <a:defRPr/>
            </a:pPr>
            <a:r>
              <a:rPr lang="fr-FR" sz="2000" dirty="0"/>
              <a:t>Un coordinateur de parcours</a:t>
            </a:r>
          </a:p>
          <a:p>
            <a:pPr>
              <a:defRPr/>
            </a:pPr>
            <a:endParaRPr lang="fr-FR" dirty="0"/>
          </a:p>
        </p:txBody>
      </p:sp>
      <p:sp>
        <p:nvSpPr>
          <p:cNvPr id="3" name="ZoneTexte 2">
            <a:extLst>
              <a:ext uri="{FF2B5EF4-FFF2-40B4-BE49-F238E27FC236}">
                <a16:creationId xmlns="" xmlns:a16="http://schemas.microsoft.com/office/drawing/2014/main" id="{6F923B39-A57C-4E79-850C-4C3EF8DA52FF}"/>
              </a:ext>
            </a:extLst>
          </p:cNvPr>
          <p:cNvSpPr txBox="1"/>
          <p:nvPr/>
        </p:nvSpPr>
        <p:spPr>
          <a:xfrm>
            <a:off x="1619250" y="811213"/>
            <a:ext cx="6192838" cy="461962"/>
          </a:xfrm>
          <a:prstGeom prst="rect">
            <a:avLst/>
          </a:prstGeom>
          <a:noFill/>
        </p:spPr>
        <p:txBody>
          <a:bodyPr>
            <a:spAutoFit/>
          </a:bodyPr>
          <a:lstStyle/>
          <a:p>
            <a:pPr algn="ctr" eaLnBrk="0" hangingPunct="0">
              <a:defRPr/>
            </a:pPr>
            <a:r>
              <a:rPr lang="fr-FR" sz="2400" spc="-100" dirty="0">
                <a:solidFill>
                  <a:schemeClr val="tx2"/>
                </a:solidFill>
                <a:latin typeface="+mj-lt"/>
                <a:ea typeface="+mj-ea"/>
                <a:cs typeface="+mj-cs"/>
              </a:rPr>
              <a:t>Création d’un Pôle Réponse Accompagnée</a:t>
            </a:r>
          </a:p>
        </p:txBody>
      </p:sp>
      <p:sp>
        <p:nvSpPr>
          <p:cNvPr id="13316" name="ZoneTexte 3">
            <a:extLst>
              <a:ext uri="{FF2B5EF4-FFF2-40B4-BE49-F238E27FC236}">
                <a16:creationId xmlns="" xmlns:a16="http://schemas.microsoft.com/office/drawing/2014/main" id="{BD52BB2D-225C-464E-9DD6-043A6660B2D3}"/>
              </a:ext>
            </a:extLst>
          </p:cNvPr>
          <p:cNvSpPr txBox="1">
            <a:spLocks noChangeArrowheads="1"/>
          </p:cNvSpPr>
          <p:nvPr/>
        </p:nvSpPr>
        <p:spPr bwMode="auto">
          <a:xfrm>
            <a:off x="1979613" y="327819"/>
            <a:ext cx="547211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eaLnBrk="1" hangingPunct="1">
              <a:spcBef>
                <a:spcPct val="0"/>
              </a:spcBef>
              <a:buFontTx/>
              <a:buNone/>
            </a:pPr>
            <a:r>
              <a:rPr lang="fr-FR" altLang="fr-FR" sz="2400">
                <a:solidFill>
                  <a:srgbClr val="0070C0"/>
                </a:solidFill>
                <a:latin typeface="Calibri" panose="020F0502020204030204" pitchFamily="34" charset="0"/>
              </a:rPr>
              <a:t>DANS LE DEPARTEMENT DE L’AISNE</a:t>
            </a:r>
          </a:p>
        </p:txBody>
      </p:sp>
      <p:sp>
        <p:nvSpPr>
          <p:cNvPr id="5" name="ZoneTexte 4">
            <a:extLst>
              <a:ext uri="{FF2B5EF4-FFF2-40B4-BE49-F238E27FC236}">
                <a16:creationId xmlns="" xmlns:a16="http://schemas.microsoft.com/office/drawing/2014/main" id="{684BB495-EF07-400C-878C-219E75FD18FA}"/>
              </a:ext>
            </a:extLst>
          </p:cNvPr>
          <p:cNvSpPr txBox="1"/>
          <p:nvPr/>
        </p:nvSpPr>
        <p:spPr>
          <a:xfrm>
            <a:off x="468313" y="3933825"/>
            <a:ext cx="7416055" cy="70643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gn="ctr">
              <a:defRPr/>
            </a:pPr>
            <a:r>
              <a:rPr lang="fr-FR" sz="2000" b="1" dirty="0"/>
              <a:t>Dans d’autres départements : les situations sont gérées </a:t>
            </a:r>
          </a:p>
          <a:p>
            <a:pPr algn="ctr">
              <a:defRPr/>
            </a:pPr>
            <a:r>
              <a:rPr lang="fr-FR" sz="2000" b="1" dirty="0"/>
              <a:t>directement par l’EP</a:t>
            </a:r>
          </a:p>
        </p:txBody>
      </p:sp>
      <p:sp>
        <p:nvSpPr>
          <p:cNvPr id="4" name="Flèche droite 3">
            <a:extLst>
              <a:ext uri="{FF2B5EF4-FFF2-40B4-BE49-F238E27FC236}">
                <a16:creationId xmlns="" xmlns:a16="http://schemas.microsoft.com/office/drawing/2014/main" id="{A20B6162-B15D-474A-A773-A4418E99927D}"/>
              </a:ext>
            </a:extLst>
          </p:cNvPr>
          <p:cNvSpPr/>
          <p:nvPr/>
        </p:nvSpPr>
        <p:spPr>
          <a:xfrm>
            <a:off x="328613" y="2492375"/>
            <a:ext cx="282575" cy="2349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7" name="Flèche droite 6">
            <a:extLst>
              <a:ext uri="{FF2B5EF4-FFF2-40B4-BE49-F238E27FC236}">
                <a16:creationId xmlns="" xmlns:a16="http://schemas.microsoft.com/office/drawing/2014/main" id="{C6E08589-20EC-4CAF-9526-E91092C88A8E}"/>
              </a:ext>
            </a:extLst>
          </p:cNvPr>
          <p:cNvSpPr/>
          <p:nvPr/>
        </p:nvSpPr>
        <p:spPr>
          <a:xfrm>
            <a:off x="339725" y="3068638"/>
            <a:ext cx="282575" cy="2349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Tree>
  </p:cSld>
  <p:clrMapOvr>
    <a:masterClrMapping/>
  </p:clrMapOvr>
  <p:transition spd="slow">
    <p:cove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CD021B17-E0FC-4061-98A1-5036F736B076}"/>
              </a:ext>
            </a:extLst>
          </p:cNvPr>
          <p:cNvSpPr>
            <a:spLocks noGrp="1"/>
          </p:cNvSpPr>
          <p:nvPr>
            <p:ph type="title"/>
          </p:nvPr>
        </p:nvSpPr>
        <p:spPr>
          <a:xfrm>
            <a:off x="314325" y="161925"/>
            <a:ext cx="8601075" cy="641351"/>
          </a:xfrm>
        </p:spPr>
        <p:txBody>
          <a:bodyPr/>
          <a:lstStyle/>
          <a:p>
            <a:pPr algn="ctr" eaLnBrk="1" fontAlgn="auto" hangingPunct="1">
              <a:spcAft>
                <a:spcPts val="0"/>
              </a:spcAft>
              <a:defRPr/>
            </a:pPr>
            <a:r>
              <a:rPr lang="fr-FR" sz="2200" dirty="0">
                <a:solidFill>
                  <a:srgbClr val="0070C0"/>
                </a:solidFill>
              </a:rPr>
              <a:t>MISE EN PLACE du pôle réponse accompagnée </a:t>
            </a:r>
            <a:r>
              <a:rPr lang="fr-FR" sz="2200" dirty="0" smtClean="0">
                <a:solidFill>
                  <a:srgbClr val="0070C0"/>
                </a:solidFill>
              </a:rPr>
              <a:t>En </a:t>
            </a:r>
            <a:r>
              <a:rPr lang="fr-FR" sz="2200" dirty="0">
                <a:solidFill>
                  <a:srgbClr val="0070C0"/>
                </a:solidFill>
              </a:rPr>
              <a:t>2015</a:t>
            </a:r>
          </a:p>
        </p:txBody>
      </p:sp>
      <p:sp>
        <p:nvSpPr>
          <p:cNvPr id="14339" name="Text Box 42">
            <a:extLst>
              <a:ext uri="{FF2B5EF4-FFF2-40B4-BE49-F238E27FC236}">
                <a16:creationId xmlns="" xmlns:a16="http://schemas.microsoft.com/office/drawing/2014/main" id="{632B5072-4944-41CA-B6D1-13AB813AF51B}"/>
              </a:ext>
            </a:extLst>
          </p:cNvPr>
          <p:cNvSpPr txBox="1">
            <a:spLocks noChangeArrowheads="1"/>
          </p:cNvSpPr>
          <p:nvPr/>
        </p:nvSpPr>
        <p:spPr bwMode="auto">
          <a:xfrm>
            <a:off x="347663" y="1052513"/>
            <a:ext cx="8372475" cy="504825"/>
          </a:xfrm>
          <a:prstGeom prst="rect">
            <a:avLst/>
          </a:prstGeom>
          <a:noFill/>
          <a:ln w="19050">
            <a:solidFill>
              <a:srgbClr val="000000"/>
            </a:solidFill>
            <a:miter lim="800000"/>
            <a:headEnd/>
            <a:tailEnd/>
          </a:ln>
          <a:extLst>
            <a:ext uri="{909E8E84-426E-40DD-AFC4-6F175D3DCCD1}">
              <a14:hiddenFill xmlns:a14="http://schemas.microsoft.com/office/drawing/2010/main">
                <a:solidFill>
                  <a:srgbClr val="FFFF00">
                    <a:alpha val="30196"/>
                  </a:srgbClr>
                </a:solidFill>
              </a14:hiddenFill>
            </a:ext>
          </a:extLst>
        </p:spPr>
        <p:txBody>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a:spcBef>
                <a:spcPct val="0"/>
              </a:spcBef>
              <a:buFontTx/>
              <a:buNone/>
            </a:pPr>
            <a:r>
              <a:rPr lang="fr-FR" altLang="fr-FR" sz="1200">
                <a:latin typeface="Calibri" panose="020F0502020204030204" pitchFamily="34" charset="0"/>
              </a:rPr>
              <a:t>Direction MDPH</a:t>
            </a:r>
            <a:endParaRPr lang="fr-FR" altLang="fr-FR" sz="800" b="0">
              <a:latin typeface="Calibri" panose="020F0502020204030204" pitchFamily="34" charset="0"/>
            </a:endParaRPr>
          </a:p>
          <a:p>
            <a:pPr algn="ctr">
              <a:spcBef>
                <a:spcPct val="0"/>
              </a:spcBef>
              <a:buFontTx/>
              <a:buNone/>
            </a:pPr>
            <a:r>
              <a:rPr lang="fr-FR" altLang="fr-FR" sz="1200" b="0" i="1">
                <a:latin typeface="Calibri" panose="020F0502020204030204" pitchFamily="34" charset="0"/>
              </a:rPr>
              <a:t>Directrice</a:t>
            </a:r>
            <a:endParaRPr lang="fr-FR" altLang="fr-FR" sz="800" b="0">
              <a:latin typeface="Calibri" panose="020F0502020204030204" pitchFamily="34" charset="0"/>
            </a:endParaRPr>
          </a:p>
          <a:p>
            <a:pPr>
              <a:spcBef>
                <a:spcPct val="0"/>
              </a:spcBef>
              <a:buFontTx/>
              <a:buNone/>
            </a:pPr>
            <a:endParaRPr lang="fr-FR" altLang="fr-FR" sz="1800" b="0">
              <a:latin typeface="Calibri" panose="020F0502020204030204" pitchFamily="34" charset="0"/>
            </a:endParaRPr>
          </a:p>
        </p:txBody>
      </p:sp>
      <p:sp>
        <p:nvSpPr>
          <p:cNvPr id="14340" name="Text Box 38">
            <a:extLst>
              <a:ext uri="{FF2B5EF4-FFF2-40B4-BE49-F238E27FC236}">
                <a16:creationId xmlns="" xmlns:a16="http://schemas.microsoft.com/office/drawing/2014/main" id="{6286DB8C-F8D4-415A-B48C-30135A95D121}"/>
              </a:ext>
            </a:extLst>
          </p:cNvPr>
          <p:cNvSpPr txBox="1">
            <a:spLocks noChangeArrowheads="1"/>
          </p:cNvSpPr>
          <p:nvPr/>
        </p:nvSpPr>
        <p:spPr bwMode="auto">
          <a:xfrm>
            <a:off x="328613" y="2060575"/>
            <a:ext cx="4238625" cy="682625"/>
          </a:xfrm>
          <a:prstGeom prst="rect">
            <a:avLst/>
          </a:prstGeom>
          <a:solidFill>
            <a:srgbClr val="E5DFEC">
              <a:alpha val="50195"/>
            </a:srgbClr>
          </a:solidFill>
          <a:ln w="9525">
            <a:solidFill>
              <a:srgbClr val="000000"/>
            </a:solidFill>
            <a:miter lim="800000"/>
            <a:headEnd/>
            <a:tailEnd/>
          </a:ln>
        </p:spPr>
        <p:txBody>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a:spcBef>
                <a:spcPct val="0"/>
              </a:spcBef>
              <a:buFontTx/>
              <a:buNone/>
            </a:pPr>
            <a:r>
              <a:rPr lang="fr-FR" altLang="fr-FR" sz="1100" b="0">
                <a:latin typeface="Calibri" panose="020F0502020204030204" pitchFamily="34" charset="0"/>
              </a:rPr>
              <a:t>Direction adjointe en charge de l’administration générale</a:t>
            </a:r>
            <a:endParaRPr lang="fr-FR" altLang="fr-FR" sz="800" b="0">
              <a:latin typeface="Calibri" panose="020F0502020204030204" pitchFamily="34" charset="0"/>
            </a:endParaRPr>
          </a:p>
          <a:p>
            <a:pPr algn="ctr">
              <a:spcBef>
                <a:spcPct val="0"/>
              </a:spcBef>
              <a:buFontTx/>
              <a:buNone/>
            </a:pPr>
            <a:r>
              <a:rPr lang="fr-FR" altLang="fr-FR" sz="1000" b="0" i="1">
                <a:latin typeface="Calibri" panose="020F0502020204030204" pitchFamily="34" charset="0"/>
              </a:rPr>
              <a:t>Directrice adjointe</a:t>
            </a:r>
            <a:endParaRPr lang="fr-FR" altLang="fr-FR" sz="1800" b="0">
              <a:latin typeface="Calibri" panose="020F0502020204030204" pitchFamily="34" charset="0"/>
            </a:endParaRPr>
          </a:p>
        </p:txBody>
      </p:sp>
      <p:sp>
        <p:nvSpPr>
          <p:cNvPr id="14341" name="Text Box 37">
            <a:extLst>
              <a:ext uri="{FF2B5EF4-FFF2-40B4-BE49-F238E27FC236}">
                <a16:creationId xmlns="" xmlns:a16="http://schemas.microsoft.com/office/drawing/2014/main" id="{F66EDDEB-AC89-4991-9475-CC3AC6959735}"/>
              </a:ext>
            </a:extLst>
          </p:cNvPr>
          <p:cNvSpPr txBox="1">
            <a:spLocks noChangeArrowheads="1"/>
          </p:cNvSpPr>
          <p:nvPr/>
        </p:nvSpPr>
        <p:spPr bwMode="auto">
          <a:xfrm>
            <a:off x="4792663" y="2060575"/>
            <a:ext cx="3997325" cy="682625"/>
          </a:xfrm>
          <a:prstGeom prst="rect">
            <a:avLst/>
          </a:prstGeom>
          <a:solidFill>
            <a:srgbClr val="DAEEF3">
              <a:alpha val="50195"/>
            </a:srgbClr>
          </a:solidFill>
          <a:ln w="9525">
            <a:solidFill>
              <a:srgbClr val="000000"/>
            </a:solidFill>
            <a:miter lim="800000"/>
            <a:headEnd/>
            <a:tailEnd/>
          </a:ln>
        </p:spPr>
        <p:txBody>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a:spcBef>
                <a:spcPct val="0"/>
              </a:spcBef>
              <a:buFontTx/>
              <a:buNone/>
            </a:pPr>
            <a:r>
              <a:rPr lang="fr-FR" altLang="fr-FR" sz="1100" b="0">
                <a:latin typeface="Calibri" panose="020F0502020204030204" pitchFamily="34" charset="0"/>
              </a:rPr>
              <a:t>Direction adjointe en charge de l’évaluation et de la compensation, coordination de l’équipe pluridisciplinaire</a:t>
            </a:r>
            <a:endParaRPr lang="fr-FR" altLang="fr-FR" sz="800" b="0">
              <a:latin typeface="Calibri" panose="020F0502020204030204" pitchFamily="34" charset="0"/>
            </a:endParaRPr>
          </a:p>
          <a:p>
            <a:pPr algn="ctr">
              <a:spcBef>
                <a:spcPct val="0"/>
              </a:spcBef>
              <a:buFontTx/>
              <a:buNone/>
            </a:pPr>
            <a:r>
              <a:rPr lang="fr-FR" altLang="fr-FR" sz="1000" b="0" i="1">
                <a:latin typeface="Calibri" panose="020F0502020204030204" pitchFamily="34" charset="0"/>
              </a:rPr>
              <a:t>Directrice adjointe, coordinatrice</a:t>
            </a:r>
            <a:endParaRPr lang="fr-FR" altLang="fr-FR" sz="1800" b="0">
              <a:latin typeface="Calibri" panose="020F0502020204030204" pitchFamily="34" charset="0"/>
            </a:endParaRPr>
          </a:p>
        </p:txBody>
      </p:sp>
      <p:sp>
        <p:nvSpPr>
          <p:cNvPr id="14342" name="Text Box 30">
            <a:extLst>
              <a:ext uri="{FF2B5EF4-FFF2-40B4-BE49-F238E27FC236}">
                <a16:creationId xmlns="" xmlns:a16="http://schemas.microsoft.com/office/drawing/2014/main" id="{1AE622C2-B070-492D-9896-AEC04ADFEAD8}"/>
              </a:ext>
            </a:extLst>
          </p:cNvPr>
          <p:cNvSpPr txBox="1">
            <a:spLocks noChangeArrowheads="1"/>
          </p:cNvSpPr>
          <p:nvPr/>
        </p:nvSpPr>
        <p:spPr bwMode="auto">
          <a:xfrm>
            <a:off x="179388" y="3749675"/>
            <a:ext cx="1266825" cy="1746250"/>
          </a:xfrm>
          <a:prstGeom prst="rect">
            <a:avLst/>
          </a:prstGeom>
          <a:solidFill>
            <a:srgbClr val="E5DFEC">
              <a:alpha val="50195"/>
            </a:srgbClr>
          </a:solidFill>
          <a:ln w="9525">
            <a:solidFill>
              <a:srgbClr val="000000"/>
            </a:solidFill>
            <a:miter lim="800000"/>
            <a:headEnd/>
            <a:tailEnd/>
          </a:ln>
        </p:spPr>
        <p:txBody>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a:spcBef>
                <a:spcPct val="0"/>
              </a:spcBef>
              <a:buFontTx/>
              <a:buNone/>
            </a:pPr>
            <a:r>
              <a:rPr lang="fr-FR" altLang="fr-FR" sz="1100" b="0">
                <a:latin typeface="Calibri" panose="020F0502020204030204" pitchFamily="34" charset="0"/>
              </a:rPr>
              <a:t>Pôle relations aux usagers</a:t>
            </a:r>
            <a:endParaRPr lang="fr-FR" altLang="fr-FR" sz="800" b="0">
              <a:latin typeface="Calibri" panose="020F0502020204030204" pitchFamily="34" charset="0"/>
            </a:endParaRPr>
          </a:p>
          <a:p>
            <a:pPr algn="ctr">
              <a:spcBef>
                <a:spcPct val="0"/>
              </a:spcBef>
              <a:buFontTx/>
              <a:buNone/>
            </a:pPr>
            <a:r>
              <a:rPr lang="fr-FR" altLang="fr-FR" sz="1000" b="0" i="1">
                <a:latin typeface="Calibri" panose="020F0502020204030204" pitchFamily="34" charset="0"/>
              </a:rPr>
              <a:t>Chef de service</a:t>
            </a:r>
          </a:p>
          <a:p>
            <a:pPr algn="ctr">
              <a:spcBef>
                <a:spcPct val="0"/>
              </a:spcBef>
              <a:buFontTx/>
              <a:buNone/>
            </a:pPr>
            <a:endParaRPr lang="fr-FR" altLang="fr-FR" sz="800" b="0">
              <a:latin typeface="Calibri" panose="020F0502020204030204" pitchFamily="34" charset="0"/>
            </a:endParaRPr>
          </a:p>
          <a:p>
            <a:pPr>
              <a:spcBef>
                <a:spcPct val="0"/>
              </a:spcBef>
              <a:buFontTx/>
              <a:buNone/>
            </a:pPr>
            <a:r>
              <a:rPr lang="fr-FR" altLang="fr-FR" sz="900" b="0" i="1">
                <a:latin typeface="Calibri" panose="020F0502020204030204" pitchFamily="34" charset="0"/>
              </a:rPr>
              <a:t>Agents enregistrement</a:t>
            </a:r>
            <a:endParaRPr lang="fr-FR" altLang="fr-FR" sz="800" b="0">
              <a:latin typeface="Calibri" panose="020F0502020204030204" pitchFamily="34" charset="0"/>
            </a:endParaRPr>
          </a:p>
          <a:p>
            <a:pPr>
              <a:spcBef>
                <a:spcPct val="0"/>
              </a:spcBef>
              <a:buFontTx/>
              <a:buNone/>
            </a:pPr>
            <a:r>
              <a:rPr lang="fr-FR" altLang="fr-FR" sz="900" b="0" i="1">
                <a:latin typeface="Calibri" panose="020F0502020204030204" pitchFamily="34" charset="0"/>
              </a:rPr>
              <a:t>Agents accueil</a:t>
            </a:r>
            <a:endParaRPr lang="fr-FR" altLang="fr-FR" sz="800" b="0">
              <a:latin typeface="Calibri" panose="020F0502020204030204" pitchFamily="34" charset="0"/>
            </a:endParaRPr>
          </a:p>
          <a:p>
            <a:pPr>
              <a:spcBef>
                <a:spcPct val="0"/>
              </a:spcBef>
              <a:buFontTx/>
              <a:buNone/>
            </a:pPr>
            <a:r>
              <a:rPr lang="fr-FR" altLang="fr-FR" sz="900" b="0" i="1">
                <a:latin typeface="Calibri" panose="020F0502020204030204" pitchFamily="34" charset="0"/>
              </a:rPr>
              <a:t>Assistant classothèque</a:t>
            </a:r>
            <a:endParaRPr lang="fr-FR" altLang="fr-FR" sz="1800" b="0">
              <a:latin typeface="Calibri" panose="020F0502020204030204" pitchFamily="34" charset="0"/>
            </a:endParaRPr>
          </a:p>
        </p:txBody>
      </p:sp>
      <p:sp>
        <p:nvSpPr>
          <p:cNvPr id="14343" name="Text Box 41">
            <a:extLst>
              <a:ext uri="{FF2B5EF4-FFF2-40B4-BE49-F238E27FC236}">
                <a16:creationId xmlns="" xmlns:a16="http://schemas.microsoft.com/office/drawing/2014/main" id="{EAA0E4C1-68B2-4948-BBA5-33A47570278A}"/>
              </a:ext>
            </a:extLst>
          </p:cNvPr>
          <p:cNvSpPr txBox="1">
            <a:spLocks noChangeArrowheads="1"/>
          </p:cNvSpPr>
          <p:nvPr/>
        </p:nvSpPr>
        <p:spPr bwMode="auto">
          <a:xfrm>
            <a:off x="1585913" y="3749675"/>
            <a:ext cx="1238250" cy="1746250"/>
          </a:xfrm>
          <a:prstGeom prst="rect">
            <a:avLst/>
          </a:prstGeom>
          <a:solidFill>
            <a:srgbClr val="E5DFEC">
              <a:alpha val="50195"/>
            </a:srgbClr>
          </a:solidFill>
          <a:ln w="9525">
            <a:solidFill>
              <a:srgbClr val="000000"/>
            </a:solidFill>
            <a:miter lim="800000"/>
            <a:headEnd/>
            <a:tailEnd/>
          </a:ln>
        </p:spPr>
        <p:txBody>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a:spcBef>
                <a:spcPct val="0"/>
              </a:spcBef>
              <a:buFontTx/>
              <a:buNone/>
            </a:pPr>
            <a:r>
              <a:rPr lang="fr-FR" altLang="fr-FR" sz="1100" b="0">
                <a:latin typeface="Calibri" panose="020F0502020204030204" pitchFamily="34" charset="0"/>
              </a:rPr>
              <a:t>Pôle accès aux droits</a:t>
            </a:r>
            <a:endParaRPr lang="fr-FR" altLang="fr-FR" sz="800" b="0">
              <a:latin typeface="Calibri" panose="020F0502020204030204" pitchFamily="34" charset="0"/>
            </a:endParaRPr>
          </a:p>
          <a:p>
            <a:pPr algn="ctr">
              <a:spcBef>
                <a:spcPct val="0"/>
              </a:spcBef>
              <a:buFontTx/>
              <a:buNone/>
            </a:pPr>
            <a:r>
              <a:rPr lang="fr-FR" altLang="fr-FR" sz="1000" b="0" i="1">
                <a:latin typeface="Calibri" panose="020F0502020204030204" pitchFamily="34" charset="0"/>
              </a:rPr>
              <a:t>Chef de service</a:t>
            </a:r>
          </a:p>
          <a:p>
            <a:pPr algn="ctr">
              <a:spcBef>
                <a:spcPct val="0"/>
              </a:spcBef>
              <a:buFontTx/>
              <a:buNone/>
            </a:pPr>
            <a:endParaRPr lang="fr-FR" altLang="fr-FR" sz="800" b="0">
              <a:latin typeface="Calibri" panose="020F0502020204030204" pitchFamily="34" charset="0"/>
            </a:endParaRPr>
          </a:p>
          <a:p>
            <a:pPr algn="ctr">
              <a:spcBef>
                <a:spcPct val="0"/>
              </a:spcBef>
              <a:buFontTx/>
              <a:buNone/>
            </a:pPr>
            <a:r>
              <a:rPr lang="fr-FR" altLang="fr-FR" sz="1000" b="0" i="1">
                <a:latin typeface="Calibri" panose="020F0502020204030204" pitchFamily="34" charset="0"/>
              </a:rPr>
              <a:t>Adjoint</a:t>
            </a:r>
            <a:endParaRPr lang="fr-FR" altLang="fr-FR" sz="800" b="0">
              <a:latin typeface="Calibri" panose="020F0502020204030204" pitchFamily="34" charset="0"/>
            </a:endParaRPr>
          </a:p>
          <a:p>
            <a:pPr>
              <a:spcBef>
                <a:spcPct val="0"/>
              </a:spcBef>
              <a:buFontTx/>
              <a:buNone/>
            </a:pPr>
            <a:r>
              <a:rPr lang="fr-FR" altLang="fr-FR" sz="900" b="0" i="1">
                <a:latin typeface="Calibri" panose="020F0502020204030204" pitchFamily="34" charset="0"/>
              </a:rPr>
              <a:t>Gestionnaires de droits</a:t>
            </a:r>
            <a:endParaRPr lang="fr-FR" altLang="fr-FR" sz="1800" b="0">
              <a:latin typeface="Calibri" panose="020F0502020204030204" pitchFamily="34" charset="0"/>
            </a:endParaRPr>
          </a:p>
        </p:txBody>
      </p:sp>
      <p:sp>
        <p:nvSpPr>
          <p:cNvPr id="14344" name="Text Box 31">
            <a:extLst>
              <a:ext uri="{FF2B5EF4-FFF2-40B4-BE49-F238E27FC236}">
                <a16:creationId xmlns="" xmlns:a16="http://schemas.microsoft.com/office/drawing/2014/main" id="{724645B3-3327-473B-AFC3-2EAD84F68BAB}"/>
              </a:ext>
            </a:extLst>
          </p:cNvPr>
          <p:cNvSpPr txBox="1">
            <a:spLocks noChangeArrowheads="1"/>
          </p:cNvSpPr>
          <p:nvPr/>
        </p:nvSpPr>
        <p:spPr bwMode="auto">
          <a:xfrm>
            <a:off x="3057525" y="3749675"/>
            <a:ext cx="1181100" cy="1746250"/>
          </a:xfrm>
          <a:prstGeom prst="rect">
            <a:avLst/>
          </a:prstGeom>
          <a:solidFill>
            <a:srgbClr val="E5DFEC">
              <a:alpha val="50195"/>
            </a:srgbClr>
          </a:solidFill>
          <a:ln w="9525">
            <a:solidFill>
              <a:srgbClr val="000000"/>
            </a:solidFill>
            <a:miter lim="800000"/>
            <a:headEnd/>
            <a:tailEnd/>
          </a:ln>
        </p:spPr>
        <p:txBody>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a:spcBef>
                <a:spcPct val="0"/>
              </a:spcBef>
              <a:buFontTx/>
              <a:buNone/>
            </a:pPr>
            <a:r>
              <a:rPr lang="fr-FR" altLang="fr-FR" sz="1100" b="0">
                <a:latin typeface="Calibri" panose="020F0502020204030204" pitchFamily="34" charset="0"/>
              </a:rPr>
              <a:t>Plate-forme des usagers de la PCH (PUP)</a:t>
            </a:r>
            <a:endParaRPr lang="fr-FR" altLang="fr-FR" sz="800" b="0">
              <a:latin typeface="Calibri" panose="020F0502020204030204" pitchFamily="34" charset="0"/>
            </a:endParaRPr>
          </a:p>
          <a:p>
            <a:pPr algn="ctr">
              <a:spcBef>
                <a:spcPct val="0"/>
              </a:spcBef>
              <a:buFontTx/>
              <a:buNone/>
            </a:pPr>
            <a:r>
              <a:rPr lang="fr-FR" altLang="fr-FR" sz="1000" b="0" i="1">
                <a:latin typeface="Calibri" panose="020F0502020204030204" pitchFamily="34" charset="0"/>
              </a:rPr>
              <a:t>Chef de service</a:t>
            </a:r>
          </a:p>
          <a:p>
            <a:pPr algn="ctr">
              <a:spcBef>
                <a:spcPct val="0"/>
              </a:spcBef>
              <a:buFontTx/>
              <a:buNone/>
            </a:pPr>
            <a:endParaRPr lang="fr-FR" altLang="fr-FR" sz="800" b="0">
              <a:latin typeface="Calibri" panose="020F0502020204030204" pitchFamily="34" charset="0"/>
            </a:endParaRPr>
          </a:p>
          <a:p>
            <a:pPr>
              <a:spcBef>
                <a:spcPct val="0"/>
              </a:spcBef>
              <a:buFontTx/>
              <a:buNone/>
            </a:pPr>
            <a:r>
              <a:rPr lang="fr-FR" altLang="fr-FR" sz="900" b="0" i="1">
                <a:latin typeface="Calibri" panose="020F0502020204030204" pitchFamily="34" charset="0"/>
              </a:rPr>
              <a:t>Gestionnaires de droits</a:t>
            </a:r>
            <a:endParaRPr lang="fr-FR" altLang="fr-FR" sz="1800" b="0">
              <a:latin typeface="Calibri" panose="020F0502020204030204" pitchFamily="34" charset="0"/>
            </a:endParaRPr>
          </a:p>
        </p:txBody>
      </p:sp>
      <p:sp>
        <p:nvSpPr>
          <p:cNvPr id="14345" name="Text Box 40">
            <a:extLst>
              <a:ext uri="{FF2B5EF4-FFF2-40B4-BE49-F238E27FC236}">
                <a16:creationId xmlns="" xmlns:a16="http://schemas.microsoft.com/office/drawing/2014/main" id="{D2685CC2-3426-483F-9869-236F9C1FF4FA}"/>
              </a:ext>
            </a:extLst>
          </p:cNvPr>
          <p:cNvSpPr txBox="1">
            <a:spLocks noChangeArrowheads="1"/>
          </p:cNvSpPr>
          <p:nvPr/>
        </p:nvSpPr>
        <p:spPr bwMode="auto">
          <a:xfrm>
            <a:off x="4932363" y="3749675"/>
            <a:ext cx="1400175" cy="1800225"/>
          </a:xfrm>
          <a:prstGeom prst="rect">
            <a:avLst/>
          </a:prstGeom>
          <a:solidFill>
            <a:srgbClr val="DAEEF3">
              <a:alpha val="50195"/>
            </a:srgbClr>
          </a:solidFill>
          <a:ln w="9525">
            <a:solidFill>
              <a:srgbClr val="000000"/>
            </a:solidFill>
            <a:miter lim="800000"/>
            <a:headEnd/>
            <a:tailEnd/>
          </a:ln>
        </p:spPr>
        <p:txBody>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a:spcBef>
                <a:spcPct val="0"/>
              </a:spcBef>
              <a:buFontTx/>
              <a:buNone/>
            </a:pPr>
            <a:r>
              <a:rPr lang="fr-FR" altLang="fr-FR" sz="1100" b="0">
                <a:latin typeface="Calibri" panose="020F0502020204030204" pitchFamily="34" charset="0"/>
              </a:rPr>
              <a:t>Pôle évaluation </a:t>
            </a:r>
            <a:endParaRPr lang="fr-FR" altLang="fr-FR" sz="800" b="0">
              <a:latin typeface="Calibri" panose="020F0502020204030204" pitchFamily="34" charset="0"/>
            </a:endParaRPr>
          </a:p>
          <a:p>
            <a:pPr algn="ctr">
              <a:spcBef>
                <a:spcPct val="0"/>
              </a:spcBef>
              <a:buFontTx/>
              <a:buNone/>
            </a:pPr>
            <a:r>
              <a:rPr lang="fr-FR" altLang="fr-FR" sz="1000" b="0" i="1">
                <a:latin typeface="Calibri" panose="020F0502020204030204" pitchFamily="34" charset="0"/>
              </a:rPr>
              <a:t>Chef de service</a:t>
            </a:r>
          </a:p>
          <a:p>
            <a:pPr algn="ctr">
              <a:spcBef>
                <a:spcPct val="0"/>
              </a:spcBef>
              <a:buFontTx/>
              <a:buNone/>
            </a:pPr>
            <a:endParaRPr lang="fr-FR" altLang="fr-FR" sz="800" b="0">
              <a:latin typeface="Calibri" panose="020F0502020204030204" pitchFamily="34" charset="0"/>
            </a:endParaRPr>
          </a:p>
          <a:p>
            <a:pPr>
              <a:spcBef>
                <a:spcPct val="0"/>
              </a:spcBef>
              <a:buFontTx/>
              <a:buNone/>
            </a:pPr>
            <a:r>
              <a:rPr lang="fr-FR" altLang="fr-FR" sz="900" b="0" i="1">
                <a:latin typeface="Calibri" panose="020F0502020204030204" pitchFamily="34" charset="0"/>
              </a:rPr>
              <a:t>Évaluateurs</a:t>
            </a:r>
            <a:endParaRPr lang="fr-FR" altLang="fr-FR" sz="800" b="0">
              <a:latin typeface="Calibri" panose="020F0502020204030204" pitchFamily="34" charset="0"/>
            </a:endParaRPr>
          </a:p>
          <a:p>
            <a:pPr>
              <a:spcBef>
                <a:spcPct val="0"/>
              </a:spcBef>
              <a:buFontTx/>
              <a:buNone/>
            </a:pPr>
            <a:r>
              <a:rPr lang="fr-FR" altLang="fr-FR" sz="900" b="0" i="1">
                <a:latin typeface="Calibri" panose="020F0502020204030204" pitchFamily="34" charset="0"/>
              </a:rPr>
              <a:t>Assistants équipe pluridisciplinaire</a:t>
            </a:r>
            <a:endParaRPr lang="fr-FR" altLang="fr-FR" sz="1800" b="0">
              <a:latin typeface="Calibri" panose="020F0502020204030204" pitchFamily="34" charset="0"/>
            </a:endParaRPr>
          </a:p>
        </p:txBody>
      </p:sp>
      <p:sp>
        <p:nvSpPr>
          <p:cNvPr id="24" name="Text Box 32">
            <a:extLst>
              <a:ext uri="{FF2B5EF4-FFF2-40B4-BE49-F238E27FC236}">
                <a16:creationId xmlns="" xmlns:a16="http://schemas.microsoft.com/office/drawing/2014/main" id="{B9E2D887-134C-4723-9094-22A1D690D6BF}"/>
              </a:ext>
            </a:extLst>
          </p:cNvPr>
          <p:cNvSpPr txBox="1">
            <a:spLocks noChangeArrowheads="1"/>
          </p:cNvSpPr>
          <p:nvPr/>
        </p:nvSpPr>
        <p:spPr bwMode="auto">
          <a:xfrm>
            <a:off x="6460926" y="3749313"/>
            <a:ext cx="2328317" cy="1800076"/>
          </a:xfrm>
          <a:prstGeom prst="rect">
            <a:avLst/>
          </a:prstGeom>
          <a:ln>
            <a:headEnd/>
            <a:tailEnd/>
          </a:ln>
          <a:effectLst>
            <a:glow rad="228600">
              <a:schemeClr val="accent4">
                <a:satMod val="175000"/>
                <a:alpha val="40000"/>
              </a:schemeClr>
            </a:glow>
            <a:outerShdw blurRad="50800" dist="25400" algn="bl" rotWithShape="0">
              <a:srgbClr val="000000">
                <a:alpha val="60000"/>
              </a:srgbClr>
            </a:outerShdw>
          </a:effectLst>
          <a:scene3d>
            <a:camera prst="isometricOffAxis2Left"/>
            <a:lightRig rig="threePt" dir="t"/>
          </a:scene3d>
        </p:spPr>
        <p:style>
          <a:lnRef idx="1">
            <a:schemeClr val="accent3"/>
          </a:lnRef>
          <a:fillRef idx="3">
            <a:schemeClr val="accent3"/>
          </a:fillRef>
          <a:effectRef idx="2">
            <a:schemeClr val="accent3"/>
          </a:effectRef>
          <a:fontRef idx="minor">
            <a:schemeClr val="lt1"/>
          </a:fontRef>
        </p:style>
        <p:txBody>
          <a:bodyPr/>
          <a:lstStyle/>
          <a:p>
            <a:pPr algn="ctr" eaLnBrk="0" hangingPunct="0">
              <a:defRPr/>
            </a:pPr>
            <a:r>
              <a:rPr lang="fr-FR" altLang="fr-FR" sz="1200" b="1" dirty="0">
                <a:solidFill>
                  <a:schemeClr val="tx1"/>
                </a:solidFill>
                <a:ea typeface="Calibri" pitchFamily="34" charset="0"/>
                <a:cs typeface="Arial" pitchFamily="34" charset="0"/>
              </a:rPr>
              <a:t>Pôle réponse accompagnée</a:t>
            </a:r>
            <a:endParaRPr lang="fr-FR" altLang="fr-FR" sz="1200" b="1" dirty="0">
              <a:solidFill>
                <a:schemeClr val="tx1"/>
              </a:solidFill>
              <a:cs typeface="Arial" pitchFamily="34" charset="0"/>
            </a:endParaRPr>
          </a:p>
          <a:p>
            <a:pPr eaLnBrk="0" hangingPunct="0">
              <a:defRPr/>
            </a:pPr>
            <a:endParaRPr lang="fr-FR" altLang="fr-FR" sz="1200" i="1" dirty="0">
              <a:solidFill>
                <a:schemeClr val="tx1"/>
              </a:solidFill>
              <a:ea typeface="Calibri" pitchFamily="34" charset="0"/>
              <a:cs typeface="Arial" pitchFamily="34" charset="0"/>
            </a:endParaRPr>
          </a:p>
          <a:p>
            <a:pPr eaLnBrk="0" hangingPunct="0">
              <a:defRPr/>
            </a:pPr>
            <a:endParaRPr lang="fr-FR" altLang="fr-FR" sz="1200" i="1" dirty="0">
              <a:solidFill>
                <a:schemeClr val="tx1"/>
              </a:solidFill>
              <a:ea typeface="Calibri" pitchFamily="34" charset="0"/>
              <a:cs typeface="Arial" pitchFamily="34" charset="0"/>
            </a:endParaRPr>
          </a:p>
          <a:p>
            <a:pPr algn="just" eaLnBrk="0" hangingPunct="0">
              <a:defRPr/>
            </a:pPr>
            <a:r>
              <a:rPr lang="fr-FR" altLang="fr-FR" sz="1200" i="1" dirty="0">
                <a:solidFill>
                  <a:schemeClr val="tx1"/>
                </a:solidFill>
                <a:ea typeface="Calibri" pitchFamily="34" charset="0"/>
                <a:cs typeface="Arial" pitchFamily="34" charset="0"/>
              </a:rPr>
              <a:t>Référent du plan accompagnement global</a:t>
            </a:r>
            <a:endParaRPr lang="fr-FR" altLang="fr-FR" sz="1200" dirty="0">
              <a:solidFill>
                <a:schemeClr val="tx1"/>
              </a:solidFill>
              <a:cs typeface="Arial" pitchFamily="34" charset="0"/>
            </a:endParaRPr>
          </a:p>
          <a:p>
            <a:pPr algn="just" eaLnBrk="0" hangingPunct="0">
              <a:defRPr/>
            </a:pPr>
            <a:endParaRPr lang="fr-FR" altLang="fr-FR" sz="1200" dirty="0">
              <a:solidFill>
                <a:schemeClr val="tx1"/>
              </a:solidFill>
              <a:cs typeface="Arial" pitchFamily="34" charset="0"/>
            </a:endParaRPr>
          </a:p>
          <a:p>
            <a:pPr algn="just" eaLnBrk="0" hangingPunct="0">
              <a:defRPr/>
            </a:pPr>
            <a:endParaRPr lang="fr-FR" altLang="fr-FR" sz="1200" i="1" dirty="0">
              <a:solidFill>
                <a:schemeClr val="tx1"/>
              </a:solidFill>
              <a:ea typeface="Calibri" pitchFamily="34" charset="0"/>
              <a:cs typeface="Arial" pitchFamily="34" charset="0"/>
            </a:endParaRPr>
          </a:p>
          <a:p>
            <a:pPr algn="just" eaLnBrk="0" hangingPunct="0">
              <a:defRPr/>
            </a:pPr>
            <a:r>
              <a:rPr lang="fr-FR" altLang="fr-FR" sz="1200" i="1" dirty="0">
                <a:solidFill>
                  <a:schemeClr val="tx1"/>
                </a:solidFill>
                <a:ea typeface="Calibri" pitchFamily="34" charset="0"/>
                <a:cs typeface="Arial" pitchFamily="34" charset="0"/>
              </a:rPr>
              <a:t>Coordinateur de parcours </a:t>
            </a:r>
            <a:endParaRPr lang="fr-FR" altLang="fr-FR" sz="1200" dirty="0">
              <a:solidFill>
                <a:schemeClr val="tx1"/>
              </a:solidFill>
              <a:cs typeface="Arial" pitchFamily="34" charset="0"/>
            </a:endParaRPr>
          </a:p>
        </p:txBody>
      </p:sp>
      <p:sp>
        <p:nvSpPr>
          <p:cNvPr id="14347" name="Text Box 36">
            <a:extLst>
              <a:ext uri="{FF2B5EF4-FFF2-40B4-BE49-F238E27FC236}">
                <a16:creationId xmlns="" xmlns:a16="http://schemas.microsoft.com/office/drawing/2014/main" id="{48B03179-9F29-4304-B3C8-4B3BCE210990}"/>
              </a:ext>
            </a:extLst>
          </p:cNvPr>
          <p:cNvSpPr txBox="1">
            <a:spLocks noChangeArrowheads="1"/>
          </p:cNvSpPr>
          <p:nvPr/>
        </p:nvSpPr>
        <p:spPr bwMode="auto">
          <a:xfrm>
            <a:off x="687388" y="2890838"/>
            <a:ext cx="2543175" cy="609600"/>
          </a:xfrm>
          <a:prstGeom prst="rect">
            <a:avLst/>
          </a:prstGeom>
          <a:solidFill>
            <a:srgbClr val="E5DFEC">
              <a:alpha val="50195"/>
            </a:srgbClr>
          </a:solidFill>
          <a:ln w="9525">
            <a:solidFill>
              <a:srgbClr val="000000"/>
            </a:solidFill>
            <a:miter lim="800000"/>
            <a:headEnd/>
            <a:tailEnd/>
          </a:ln>
        </p:spPr>
        <p:txBody>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a:spcBef>
                <a:spcPct val="0"/>
              </a:spcBef>
              <a:buFontTx/>
              <a:buNone/>
            </a:pPr>
            <a:r>
              <a:rPr lang="fr-FR" altLang="fr-FR" sz="1100" b="0">
                <a:latin typeface="Calibri" panose="020F0502020204030204" pitchFamily="34" charset="0"/>
              </a:rPr>
              <a:t>Mission support</a:t>
            </a:r>
            <a:endParaRPr lang="fr-FR" altLang="fr-FR" sz="800" b="0">
              <a:latin typeface="Calibri" panose="020F0502020204030204" pitchFamily="34" charset="0"/>
            </a:endParaRPr>
          </a:p>
          <a:p>
            <a:pPr algn="ctr">
              <a:spcBef>
                <a:spcPct val="0"/>
              </a:spcBef>
              <a:buFontTx/>
              <a:buNone/>
            </a:pPr>
            <a:r>
              <a:rPr lang="fr-FR" altLang="fr-FR" sz="900" b="0" i="1">
                <a:latin typeface="Calibri" panose="020F0502020204030204" pitchFamily="34" charset="0"/>
              </a:rPr>
              <a:t>Chargée de mission</a:t>
            </a:r>
            <a:endParaRPr lang="fr-FR" altLang="fr-FR" sz="800" b="0">
              <a:latin typeface="Calibri" panose="020F0502020204030204" pitchFamily="34" charset="0"/>
            </a:endParaRPr>
          </a:p>
          <a:p>
            <a:pPr algn="ctr">
              <a:spcBef>
                <a:spcPct val="0"/>
              </a:spcBef>
              <a:buFontTx/>
              <a:buNone/>
            </a:pPr>
            <a:r>
              <a:rPr lang="fr-FR" altLang="fr-FR" sz="900" b="0" i="1">
                <a:latin typeface="Calibri" panose="020F0502020204030204" pitchFamily="34" charset="0"/>
              </a:rPr>
              <a:t>Assistants de gestion des moyens</a:t>
            </a:r>
            <a:endParaRPr lang="fr-FR" altLang="fr-FR" sz="800" b="0">
              <a:latin typeface="Calibri" panose="020F0502020204030204" pitchFamily="34" charset="0"/>
            </a:endParaRPr>
          </a:p>
          <a:p>
            <a:pPr>
              <a:spcBef>
                <a:spcPct val="0"/>
              </a:spcBef>
              <a:buFontTx/>
              <a:buNone/>
            </a:pPr>
            <a:endParaRPr lang="fr-FR" altLang="fr-FR" sz="1800" b="0">
              <a:latin typeface="Calibri" panose="020F0502020204030204" pitchFamily="34" charset="0"/>
            </a:endParaRPr>
          </a:p>
        </p:txBody>
      </p:sp>
      <p:sp>
        <p:nvSpPr>
          <p:cNvPr id="14348" name="Text Box 35">
            <a:extLst>
              <a:ext uri="{FF2B5EF4-FFF2-40B4-BE49-F238E27FC236}">
                <a16:creationId xmlns="" xmlns:a16="http://schemas.microsoft.com/office/drawing/2014/main" id="{8EBE018A-65E6-4B5E-87C1-E2DA431EA3BE}"/>
              </a:ext>
            </a:extLst>
          </p:cNvPr>
          <p:cNvSpPr txBox="1">
            <a:spLocks noChangeArrowheads="1"/>
          </p:cNvSpPr>
          <p:nvPr/>
        </p:nvSpPr>
        <p:spPr bwMode="auto">
          <a:xfrm>
            <a:off x="3981450" y="3014663"/>
            <a:ext cx="1171575" cy="295275"/>
          </a:xfrm>
          <a:prstGeom prst="rect">
            <a:avLst/>
          </a:prstGeom>
          <a:solidFill>
            <a:srgbClr val="FABF8F">
              <a:alpha val="50195"/>
            </a:srgbClr>
          </a:solidFill>
          <a:ln w="9525">
            <a:solidFill>
              <a:srgbClr val="000000"/>
            </a:solidFill>
            <a:miter lim="800000"/>
            <a:headEnd/>
            <a:tailEnd/>
          </a:ln>
        </p:spPr>
        <p:txBody>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a:spcBef>
                <a:spcPct val="0"/>
              </a:spcBef>
              <a:buFontTx/>
              <a:buNone/>
            </a:pPr>
            <a:r>
              <a:rPr lang="fr-FR" altLang="fr-FR" sz="1100" b="0">
                <a:latin typeface="Calibri" panose="020F0502020204030204" pitchFamily="34" charset="0"/>
              </a:rPr>
              <a:t>Secrétariat</a:t>
            </a:r>
            <a:endParaRPr lang="fr-FR" altLang="fr-FR" sz="1800" b="0">
              <a:latin typeface="Calibri" panose="020F0502020204030204" pitchFamily="34" charset="0"/>
            </a:endParaRPr>
          </a:p>
        </p:txBody>
      </p:sp>
      <p:sp>
        <p:nvSpPr>
          <p:cNvPr id="14349" name="Text Box 33">
            <a:extLst>
              <a:ext uri="{FF2B5EF4-FFF2-40B4-BE49-F238E27FC236}">
                <a16:creationId xmlns="" xmlns:a16="http://schemas.microsoft.com/office/drawing/2014/main" id="{985B3A6B-A19A-4DAB-B82E-8699D67BD00D}"/>
              </a:ext>
            </a:extLst>
          </p:cNvPr>
          <p:cNvSpPr txBox="1">
            <a:spLocks noChangeArrowheads="1"/>
          </p:cNvSpPr>
          <p:nvPr/>
        </p:nvSpPr>
        <p:spPr bwMode="auto">
          <a:xfrm>
            <a:off x="174625" y="6010275"/>
            <a:ext cx="1266825" cy="477838"/>
          </a:xfrm>
          <a:prstGeom prst="rect">
            <a:avLst/>
          </a:prstGeom>
          <a:solidFill>
            <a:srgbClr val="65FFAB">
              <a:alpha val="30196"/>
            </a:srgbClr>
          </a:solidFill>
          <a:ln w="9525" cap="rnd">
            <a:solidFill>
              <a:srgbClr val="000000"/>
            </a:solidFill>
            <a:prstDash val="sysDot"/>
            <a:miter lim="800000"/>
            <a:headEnd/>
            <a:tailEnd/>
          </a:ln>
        </p:spPr>
        <p:txBody>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a:spcBef>
                <a:spcPct val="0"/>
              </a:spcBef>
              <a:buFontTx/>
              <a:buNone/>
            </a:pPr>
            <a:r>
              <a:rPr lang="fr-FR" altLang="fr-FR" sz="1000" b="0" i="1">
                <a:latin typeface="Calibri" panose="020F0502020204030204" pitchFamily="34" charset="0"/>
              </a:rPr>
              <a:t>Cellule numérisation</a:t>
            </a:r>
            <a:endParaRPr lang="fr-FR" altLang="fr-FR" sz="1800" b="0">
              <a:latin typeface="Calibri" panose="020F0502020204030204" pitchFamily="34" charset="0"/>
            </a:endParaRPr>
          </a:p>
        </p:txBody>
      </p:sp>
      <p:sp>
        <p:nvSpPr>
          <p:cNvPr id="14350" name="Text Box 34">
            <a:extLst>
              <a:ext uri="{FF2B5EF4-FFF2-40B4-BE49-F238E27FC236}">
                <a16:creationId xmlns="" xmlns:a16="http://schemas.microsoft.com/office/drawing/2014/main" id="{FB25984B-ED0B-4F67-9CC3-3E4600BFF570}"/>
              </a:ext>
            </a:extLst>
          </p:cNvPr>
          <p:cNvSpPr txBox="1">
            <a:spLocks noChangeArrowheads="1"/>
          </p:cNvSpPr>
          <p:nvPr/>
        </p:nvSpPr>
        <p:spPr bwMode="auto">
          <a:xfrm>
            <a:off x="6124575" y="2890838"/>
            <a:ext cx="2247900" cy="542925"/>
          </a:xfrm>
          <a:prstGeom prst="rect">
            <a:avLst/>
          </a:prstGeom>
          <a:solidFill>
            <a:srgbClr val="DAEEF3">
              <a:alpha val="50195"/>
            </a:srgbClr>
          </a:solidFill>
          <a:ln w="9525">
            <a:solidFill>
              <a:srgbClr val="000000"/>
            </a:solidFill>
            <a:miter lim="800000"/>
            <a:headEnd/>
            <a:tailEnd/>
          </a:ln>
        </p:spPr>
        <p:txBody>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a:spcBef>
                <a:spcPct val="0"/>
              </a:spcBef>
              <a:buFontTx/>
              <a:buNone/>
            </a:pPr>
            <a:r>
              <a:rPr lang="fr-FR" altLang="fr-FR" sz="1100" b="0">
                <a:latin typeface="Calibri" panose="020F0502020204030204" pitchFamily="34" charset="0"/>
              </a:rPr>
              <a:t>Mission conciliation et contentieux</a:t>
            </a:r>
            <a:endParaRPr lang="fr-FR" altLang="fr-FR" sz="800" b="0">
              <a:latin typeface="Calibri" panose="020F0502020204030204" pitchFamily="34" charset="0"/>
            </a:endParaRPr>
          </a:p>
          <a:p>
            <a:pPr algn="ctr">
              <a:spcBef>
                <a:spcPct val="0"/>
              </a:spcBef>
              <a:buFontTx/>
              <a:buNone/>
            </a:pPr>
            <a:r>
              <a:rPr lang="fr-FR" altLang="fr-FR" sz="900" b="0" i="1">
                <a:latin typeface="Calibri" panose="020F0502020204030204" pitchFamily="34" charset="0"/>
              </a:rPr>
              <a:t>Référent contentieux et conciliation</a:t>
            </a:r>
            <a:endParaRPr lang="fr-FR" altLang="fr-FR" sz="1800" b="0">
              <a:latin typeface="Calibri" panose="020F0502020204030204" pitchFamily="34" charset="0"/>
            </a:endParaRPr>
          </a:p>
        </p:txBody>
      </p:sp>
      <p:sp>
        <p:nvSpPr>
          <p:cNvPr id="15" name="Text Box 35">
            <a:extLst>
              <a:ext uri="{FF2B5EF4-FFF2-40B4-BE49-F238E27FC236}">
                <a16:creationId xmlns="" xmlns:a16="http://schemas.microsoft.com/office/drawing/2014/main" id="{DCB69180-90EE-42CD-BE8B-0D3EA85B8D04}"/>
              </a:ext>
            </a:extLst>
          </p:cNvPr>
          <p:cNvSpPr txBox="1">
            <a:spLocks noChangeArrowheads="1"/>
          </p:cNvSpPr>
          <p:nvPr/>
        </p:nvSpPr>
        <p:spPr bwMode="auto">
          <a:xfrm>
            <a:off x="3851275" y="1639888"/>
            <a:ext cx="1624013" cy="288925"/>
          </a:xfrm>
          <a:prstGeom prst="rect">
            <a:avLst/>
          </a:prstGeom>
          <a:solidFill>
            <a:srgbClr val="FABF8F">
              <a:alpha val="50195"/>
            </a:srgbClr>
          </a:solidFill>
          <a:ln w="9525">
            <a:solidFill>
              <a:srgbClr val="000000"/>
            </a:solidFill>
            <a:miter lim="800000"/>
            <a:headEnd/>
            <a:tailEnd/>
          </a:ln>
        </p:spPr>
        <p:txBody>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a:spcBef>
                <a:spcPct val="0"/>
              </a:spcBef>
              <a:buFontTx/>
              <a:buNone/>
            </a:pPr>
            <a:r>
              <a:rPr lang="fr-FR" altLang="fr-FR" sz="1100" b="0">
                <a:latin typeface="Calibri" panose="020F0502020204030204" pitchFamily="34" charset="0"/>
              </a:rPr>
              <a:t>Chargée de mission</a:t>
            </a:r>
            <a:endParaRPr lang="fr-FR" altLang="fr-FR" sz="1800" b="0">
              <a:latin typeface="Calibri" panose="020F0502020204030204" pitchFamily="34" charset="0"/>
            </a:endParaRPr>
          </a:p>
        </p:txBody>
      </p:sp>
      <p:sp>
        <p:nvSpPr>
          <p:cNvPr id="16" name="Rectangle à coins arrondis 15">
            <a:extLst>
              <a:ext uri="{FF2B5EF4-FFF2-40B4-BE49-F238E27FC236}">
                <a16:creationId xmlns="" xmlns:a16="http://schemas.microsoft.com/office/drawing/2014/main" id="{4F050E2E-C1D8-4E80-A094-7DD3CDA91D0D}"/>
              </a:ext>
            </a:extLst>
          </p:cNvPr>
          <p:cNvSpPr/>
          <p:nvPr/>
        </p:nvSpPr>
        <p:spPr>
          <a:xfrm>
            <a:off x="2555875" y="5934075"/>
            <a:ext cx="3638550" cy="804863"/>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fr-FR"/>
          </a:p>
        </p:txBody>
      </p:sp>
      <p:sp>
        <p:nvSpPr>
          <p:cNvPr id="14353" name="ZoneTexte 16">
            <a:extLst>
              <a:ext uri="{FF2B5EF4-FFF2-40B4-BE49-F238E27FC236}">
                <a16:creationId xmlns="" xmlns:a16="http://schemas.microsoft.com/office/drawing/2014/main" id="{7776527C-123D-4E9A-8DC8-18EA70F2CB3F}"/>
              </a:ext>
            </a:extLst>
          </p:cNvPr>
          <p:cNvSpPr txBox="1">
            <a:spLocks noChangeArrowheads="1"/>
          </p:cNvSpPr>
          <p:nvPr/>
        </p:nvSpPr>
        <p:spPr bwMode="auto">
          <a:xfrm>
            <a:off x="2686050" y="6043613"/>
            <a:ext cx="3519488"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a:solidFill>
                  <a:schemeClr val="bg1"/>
                </a:solidFill>
                <a:latin typeface="Calibri" panose="020F0502020204030204" pitchFamily="34" charset="0"/>
              </a:rPr>
              <a:t>Arrivée au 1</a:t>
            </a:r>
            <a:r>
              <a:rPr lang="fr-FR" altLang="fr-FR" baseline="30000">
                <a:solidFill>
                  <a:schemeClr val="bg1"/>
                </a:solidFill>
                <a:latin typeface="Calibri" panose="020F0502020204030204" pitchFamily="34" charset="0"/>
              </a:rPr>
              <a:t>er</a:t>
            </a:r>
            <a:r>
              <a:rPr lang="fr-FR" altLang="fr-FR">
                <a:solidFill>
                  <a:schemeClr val="bg1"/>
                </a:solidFill>
                <a:latin typeface="Calibri" panose="020F0502020204030204" pitchFamily="34" charset="0"/>
              </a:rPr>
              <a:t> octobre d’une chargée</a:t>
            </a:r>
          </a:p>
          <a:p>
            <a:pPr eaLnBrk="1" hangingPunct="1">
              <a:spcBef>
                <a:spcPct val="0"/>
              </a:spcBef>
              <a:buFontTx/>
              <a:buNone/>
            </a:pPr>
            <a:r>
              <a:rPr lang="fr-FR" altLang="fr-FR">
                <a:solidFill>
                  <a:schemeClr val="bg1"/>
                </a:solidFill>
                <a:latin typeface="Calibri" panose="020F0502020204030204" pitchFamily="34" charset="0"/>
              </a:rPr>
              <a:t>de mission sur la dimension ingénierie.</a:t>
            </a:r>
          </a:p>
        </p:txBody>
      </p:sp>
    </p:spTree>
  </p:cSld>
  <p:clrMapOvr>
    <a:masterClrMapping/>
  </p:clrMapOvr>
  <p:transition spd="slow">
    <p:cove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4353"/>
                                        </p:tgtEl>
                                        <p:attrNameLst>
                                          <p:attrName>style.visibility</p:attrName>
                                        </p:attrNameLst>
                                      </p:cBhvr>
                                      <p:to>
                                        <p:strVal val="visible"/>
                                      </p:to>
                                    </p:set>
                                    <p:animEffect transition="in" filter="fade">
                                      <p:cBhvr>
                                        <p:cTn id="7" dur="1000"/>
                                        <p:tgtEl>
                                          <p:spTgt spid="14353"/>
                                        </p:tgtEl>
                                      </p:cBhvr>
                                    </p:animEffect>
                                    <p:anim calcmode="lin" valueType="num">
                                      <p:cBhvr>
                                        <p:cTn id="8" dur="1000" fill="hold"/>
                                        <p:tgtEl>
                                          <p:spTgt spid="14353"/>
                                        </p:tgtEl>
                                        <p:attrNameLst>
                                          <p:attrName>ppt_x</p:attrName>
                                        </p:attrNameLst>
                                      </p:cBhvr>
                                      <p:tavLst>
                                        <p:tav tm="0">
                                          <p:val>
                                            <p:strVal val="#ppt_x"/>
                                          </p:val>
                                        </p:tav>
                                        <p:tav tm="100000">
                                          <p:val>
                                            <p:strVal val="#ppt_x"/>
                                          </p:val>
                                        </p:tav>
                                      </p:tavLst>
                                    </p:anim>
                                    <p:anim calcmode="lin" valueType="num">
                                      <p:cBhvr>
                                        <p:cTn id="9" dur="1000" fill="hold"/>
                                        <p:tgtEl>
                                          <p:spTgt spid="14353"/>
                                        </p:tgtEl>
                                        <p:attrNameLst>
                                          <p:attrName>ppt_y</p:attrName>
                                        </p:attrNameLst>
                                      </p:cBhvr>
                                      <p:tavLst>
                                        <p:tav tm="0">
                                          <p:val>
                                            <p:strVal val="#ppt_y+.1"/>
                                          </p:val>
                                        </p:tav>
                                        <p:tav tm="100000">
                                          <p:val>
                                            <p:strVal val="#ppt_y"/>
                                          </p:val>
                                        </p:tav>
                                      </p:tavLst>
                                    </p:anim>
                                  </p:childTnLst>
                                </p:cTn>
                              </p:par>
                            </p:childTnLst>
                          </p:cTn>
                        </p:par>
                      </p:childTnLst>
                    </p:cTn>
                  </p:par>
                  <p:par>
                    <p:cTn id="10" fill="hold" nodeType="clickPar">
                      <p:stCondLst>
                        <p:cond delay="indefinite"/>
                      </p:stCondLst>
                      <p:childTnLst>
                        <p:par>
                          <p:cTn id="11" fill="hold" nodeType="withGroup">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1000"/>
                                        <p:tgtEl>
                                          <p:spTgt spid="15"/>
                                        </p:tgtEl>
                                      </p:cBhvr>
                                    </p:animEffect>
                                    <p:anim calcmode="lin" valueType="num">
                                      <p:cBhvr>
                                        <p:cTn id="15" dur="1000" fill="hold"/>
                                        <p:tgtEl>
                                          <p:spTgt spid="15"/>
                                        </p:tgtEl>
                                        <p:attrNameLst>
                                          <p:attrName>ppt_x</p:attrName>
                                        </p:attrNameLst>
                                      </p:cBhvr>
                                      <p:tavLst>
                                        <p:tav tm="0">
                                          <p:val>
                                            <p:strVal val="#ppt_x"/>
                                          </p:val>
                                        </p:tav>
                                        <p:tav tm="100000">
                                          <p:val>
                                            <p:strVal val="#ppt_x"/>
                                          </p:val>
                                        </p:tav>
                                      </p:tavLst>
                                    </p:anim>
                                    <p:anim calcmode="lin" valueType="num">
                                      <p:cBhvr>
                                        <p:cTn id="16"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35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132565" y="2774472"/>
            <a:ext cx="2885438" cy="3104285"/>
          </a:xfrm>
          <a:prstGeom prst="rect">
            <a:avLst/>
          </a:prstGeom>
          <a:ln>
            <a:solidFill>
              <a:srgbClr val="0070C0"/>
            </a:solidFill>
          </a:ln>
        </p:spPr>
        <p:style>
          <a:lnRef idx="2">
            <a:schemeClr val="dk1"/>
          </a:lnRef>
          <a:fillRef idx="1">
            <a:schemeClr val="lt1"/>
          </a:fillRef>
          <a:effectRef idx="0">
            <a:schemeClr val="dk1"/>
          </a:effectRef>
          <a:fontRef idx="minor">
            <a:schemeClr val="dk1"/>
          </a:fontRef>
        </p:style>
        <p:txBody>
          <a:bodyPr rtlCol="0" anchor="t"/>
          <a:lstStyle/>
          <a:p>
            <a:pPr algn="ctr"/>
            <a:r>
              <a:rPr lang="fr-FR" sz="900" b="1" dirty="0"/>
              <a:t>Bérangère THIERRY</a:t>
            </a:r>
          </a:p>
          <a:p>
            <a:pPr algn="ctr"/>
            <a:endParaRPr lang="fr-FR" sz="900" b="1" dirty="0"/>
          </a:p>
          <a:p>
            <a:pPr algn="ctr"/>
            <a:r>
              <a:rPr lang="fr-FR" sz="900" b="1" dirty="0"/>
              <a:t>Cheffe de pôle Analyse et Evaluation - Coordinatrice de l’évaluation </a:t>
            </a:r>
          </a:p>
          <a:p>
            <a:pPr algn="ctr"/>
            <a:r>
              <a:rPr lang="fr-FR" sz="900" dirty="0"/>
              <a:t>Accueil de niveau 2, instruction, primo-évaluation et évaluation</a:t>
            </a:r>
          </a:p>
        </p:txBody>
      </p:sp>
      <p:sp>
        <p:nvSpPr>
          <p:cNvPr id="5" name="Titre 4">
            <a:extLst>
              <a:ext uri="{FF2B5EF4-FFF2-40B4-BE49-F238E27FC236}">
                <a16:creationId xmlns="" xmlns:a16="http://schemas.microsoft.com/office/drawing/2014/main" id="{BEFEC8BE-7407-B54E-BE78-FE5D0E89CDBF}"/>
              </a:ext>
            </a:extLst>
          </p:cNvPr>
          <p:cNvSpPr>
            <a:spLocks noGrp="1"/>
          </p:cNvSpPr>
          <p:nvPr>
            <p:ph type="title"/>
          </p:nvPr>
        </p:nvSpPr>
        <p:spPr>
          <a:xfrm>
            <a:off x="1440108" y="314870"/>
            <a:ext cx="6188061" cy="1088375"/>
          </a:xfrm>
        </p:spPr>
        <p:txBody>
          <a:bodyPr>
            <a:normAutofit fontScale="90000"/>
          </a:bodyPr>
          <a:lstStyle/>
          <a:p>
            <a:pPr algn="ctr"/>
            <a:r>
              <a:rPr lang="fr-FR" dirty="0">
                <a:solidFill>
                  <a:srgbClr val="0070C0"/>
                </a:solidFill>
              </a:rPr>
              <a:t>Nouvel organigramme </a:t>
            </a:r>
            <a:r>
              <a:rPr lang="fr-FR" dirty="0" smtClean="0">
                <a:solidFill>
                  <a:srgbClr val="0070C0"/>
                </a:solidFill>
              </a:rPr>
              <a:t/>
            </a:r>
            <a:br>
              <a:rPr lang="fr-FR" dirty="0" smtClean="0">
                <a:solidFill>
                  <a:srgbClr val="0070C0"/>
                </a:solidFill>
              </a:rPr>
            </a:br>
            <a:r>
              <a:rPr lang="fr-FR" dirty="0" smtClean="0">
                <a:solidFill>
                  <a:srgbClr val="0070C0"/>
                </a:solidFill>
              </a:rPr>
              <a:t>au </a:t>
            </a:r>
            <a:r>
              <a:rPr lang="fr-FR" dirty="0">
                <a:solidFill>
                  <a:srgbClr val="0070C0"/>
                </a:solidFill>
              </a:rPr>
              <a:t>01 Décembre 2018</a:t>
            </a:r>
          </a:p>
        </p:txBody>
      </p:sp>
      <p:sp>
        <p:nvSpPr>
          <p:cNvPr id="3" name="Espace réservé du numéro de diapositive 2"/>
          <p:cNvSpPr>
            <a:spLocks noGrp="1"/>
          </p:cNvSpPr>
          <p:nvPr>
            <p:ph type="sldNum" sz="quarter" idx="12"/>
          </p:nvPr>
        </p:nvSpPr>
        <p:spPr/>
        <p:txBody>
          <a:bodyPr/>
          <a:lstStyle/>
          <a:p>
            <a:fld id="{7E3B350E-657F-41D5-BCB6-877D8C3AF71C}" type="slidenum">
              <a:rPr lang="fr-FR" smtClean="0"/>
              <a:t>6</a:t>
            </a:fld>
            <a:endParaRPr lang="fr-FR"/>
          </a:p>
        </p:txBody>
      </p:sp>
      <p:sp>
        <p:nvSpPr>
          <p:cNvPr id="27" name="Titre 3"/>
          <p:cNvSpPr txBox="1">
            <a:spLocks/>
          </p:cNvSpPr>
          <p:nvPr/>
        </p:nvSpPr>
        <p:spPr>
          <a:xfrm>
            <a:off x="1411506" y="1748366"/>
            <a:ext cx="6188061" cy="486689"/>
          </a:xfrm>
          <a:prstGeom prst="rect">
            <a:avLst/>
          </a:prstGeom>
          <a:ln w="19050" cap="flat" cmpd="sng" algn="ctr">
            <a:solidFill>
              <a:schemeClr val="tx1"/>
            </a:solidFill>
            <a:prstDash val="solid"/>
            <a:miter lim="800000"/>
          </a:ln>
        </p:spPr>
        <p:style>
          <a:lnRef idx="2">
            <a:schemeClr val="accent1"/>
          </a:lnRef>
          <a:fillRef idx="1">
            <a:schemeClr val="lt1"/>
          </a:fillRef>
          <a:effectRef idx="0">
            <a:schemeClr val="accent1"/>
          </a:effectRef>
          <a:fontRef idx="minor">
            <a:schemeClr val="dk1"/>
          </a:fontRef>
        </p:style>
        <p:txBody>
          <a:bodyPr vert="horz" wrap="square" lIns="0" tIns="0" rIns="0" bIns="0" rtlCol="0" anchor="ctr" anchorCtr="0">
            <a:normAutofit/>
          </a:bodyPr>
          <a:lstStyle>
            <a:lvl1pPr algn="l" defTabSz="685800" rtl="0" eaLnBrk="1" latinLnBrk="0" hangingPunct="1">
              <a:lnSpc>
                <a:spcPct val="85000"/>
              </a:lnSpc>
              <a:spcBef>
                <a:spcPct val="0"/>
              </a:spcBef>
              <a:buNone/>
              <a:defRPr sz="2200" kern="1200" cap="all" baseline="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ctr"/>
            <a:r>
              <a:rPr lang="fr-FR" sz="1050" b="1" dirty="0"/>
              <a:t>Patricia GENARD</a:t>
            </a:r>
            <a:br>
              <a:rPr lang="fr-FR" sz="1050" b="1" dirty="0"/>
            </a:br>
            <a:r>
              <a:rPr lang="fr-FR" sz="1050" b="1" dirty="0"/>
              <a:t>Directrice de l’Autonomie et de la MDPH </a:t>
            </a:r>
          </a:p>
        </p:txBody>
      </p:sp>
      <p:sp>
        <p:nvSpPr>
          <p:cNvPr id="28" name="Rectangle 27"/>
          <p:cNvSpPr/>
          <p:nvPr/>
        </p:nvSpPr>
        <p:spPr>
          <a:xfrm>
            <a:off x="1411506" y="2291021"/>
            <a:ext cx="6188061" cy="401261"/>
          </a:xfrm>
          <a:prstGeom prst="rect">
            <a:avLst/>
          </a:prstGeom>
          <a:ln w="19050">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fr-FR" sz="1050" b="1" dirty="0"/>
              <a:t>Kathy PARANT</a:t>
            </a:r>
          </a:p>
          <a:p>
            <a:pPr algn="ctr"/>
            <a:r>
              <a:rPr lang="fr-FR" sz="1050" b="1" dirty="0"/>
              <a:t>Directrice adjointe  de la MDPH </a:t>
            </a:r>
          </a:p>
        </p:txBody>
      </p:sp>
      <p:sp>
        <p:nvSpPr>
          <p:cNvPr id="30" name="Rectangle 29"/>
          <p:cNvSpPr/>
          <p:nvPr/>
        </p:nvSpPr>
        <p:spPr>
          <a:xfrm>
            <a:off x="3172375" y="3790027"/>
            <a:ext cx="1343000" cy="670275"/>
          </a:xfrm>
          <a:prstGeom prst="rect">
            <a:avLst/>
          </a:prstGeom>
          <a:solidFill>
            <a:schemeClr val="bg1"/>
          </a:solidFill>
          <a:ln w="6350" cap="flat" cmpd="sng" algn="ctr">
            <a:solidFill>
              <a:schemeClr val="accent2"/>
            </a:solidFill>
            <a:prstDash val="solid"/>
            <a:miter lim="800000"/>
          </a:ln>
          <a:effectLst/>
        </p:spPr>
        <p:txBody>
          <a:bodyPr rtlCol="0" anchor="ctr"/>
          <a:lstStyle/>
          <a:p>
            <a:pPr algn="ctr" defTabSz="685800">
              <a:defRPr/>
            </a:pPr>
            <a:endParaRPr lang="fr-FR" sz="900" b="1" kern="0" dirty="0">
              <a:solidFill>
                <a:schemeClr val="accent1">
                  <a:lumMod val="50000"/>
                </a:schemeClr>
              </a:solidFill>
              <a:latin typeface="Calibri" panose="020F0502020204030204"/>
            </a:endParaRPr>
          </a:p>
          <a:p>
            <a:pPr algn="ctr" defTabSz="685800">
              <a:defRPr/>
            </a:pPr>
            <a:r>
              <a:rPr lang="fr-FR" sz="900" b="1" kern="0" dirty="0">
                <a:solidFill>
                  <a:prstClr val="black"/>
                </a:solidFill>
                <a:latin typeface="Calibri" panose="020F0502020204030204"/>
              </a:rPr>
              <a:t>Laetitia WACH</a:t>
            </a:r>
          </a:p>
          <a:p>
            <a:pPr algn="ctr" defTabSz="685800">
              <a:defRPr/>
            </a:pPr>
            <a:r>
              <a:rPr lang="fr-FR" sz="900" b="1" kern="0" dirty="0">
                <a:solidFill>
                  <a:prstClr val="black"/>
                </a:solidFill>
                <a:latin typeface="Calibri" panose="020F0502020204030204"/>
              </a:rPr>
              <a:t>Adjointe au Pôle </a:t>
            </a:r>
          </a:p>
          <a:p>
            <a:pPr algn="ctr" defTabSz="685800">
              <a:defRPr/>
            </a:pPr>
            <a:r>
              <a:rPr lang="fr-FR" sz="900" kern="0" dirty="0">
                <a:solidFill>
                  <a:prstClr val="black"/>
                </a:solidFill>
                <a:latin typeface="Calibri" panose="020F0502020204030204"/>
              </a:rPr>
              <a:t>Analyse Evaluation </a:t>
            </a:r>
          </a:p>
          <a:p>
            <a:pPr algn="ctr" defTabSz="685800">
              <a:defRPr/>
            </a:pPr>
            <a:r>
              <a:rPr lang="fr-FR" sz="900" kern="0" dirty="0">
                <a:solidFill>
                  <a:prstClr val="black"/>
                </a:solidFill>
                <a:latin typeface="Calibri" panose="020F0502020204030204"/>
              </a:rPr>
              <a:t>Référent ADULTE</a:t>
            </a:r>
          </a:p>
          <a:p>
            <a:pPr algn="ctr" defTabSz="685800">
              <a:defRPr/>
            </a:pPr>
            <a:r>
              <a:rPr lang="fr-FR" sz="900" kern="0" dirty="0">
                <a:solidFill>
                  <a:prstClr val="black"/>
                </a:solidFill>
                <a:latin typeface="Calibri" panose="020F0502020204030204"/>
              </a:rPr>
              <a:t> </a:t>
            </a:r>
          </a:p>
        </p:txBody>
      </p:sp>
      <p:sp>
        <p:nvSpPr>
          <p:cNvPr id="33" name="Rectangle 32"/>
          <p:cNvSpPr/>
          <p:nvPr/>
        </p:nvSpPr>
        <p:spPr>
          <a:xfrm>
            <a:off x="3171891" y="4553090"/>
            <a:ext cx="1738326" cy="843618"/>
          </a:xfrm>
          <a:prstGeom prst="rect">
            <a:avLst/>
          </a:prstGeom>
          <a:solidFill>
            <a:schemeClr val="bg1"/>
          </a:solidFill>
          <a:ln w="3175">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685800">
              <a:defRPr/>
            </a:pPr>
            <a:r>
              <a:rPr lang="fr-FR" sz="900" b="1" kern="0" dirty="0">
                <a:solidFill>
                  <a:prstClr val="black"/>
                </a:solidFill>
                <a:latin typeface="Calibri" panose="020F0502020204030204"/>
              </a:rPr>
              <a:t>Gestionnaires / Evaluateurs </a:t>
            </a:r>
          </a:p>
          <a:p>
            <a:pPr defTabSz="685800">
              <a:defRPr/>
            </a:pPr>
            <a:r>
              <a:rPr lang="fr-FR" sz="825" i="1" kern="0" dirty="0">
                <a:solidFill>
                  <a:prstClr val="black"/>
                </a:solidFill>
                <a:latin typeface="Calibri" panose="020F0502020204030204"/>
              </a:rPr>
              <a:t>Dont </a:t>
            </a:r>
            <a:r>
              <a:rPr lang="fr-FR" sz="825" b="1" i="1" kern="0" dirty="0">
                <a:solidFill>
                  <a:prstClr val="black"/>
                </a:solidFill>
                <a:latin typeface="Calibri" panose="020F0502020204030204"/>
              </a:rPr>
              <a:t>référents par dominante </a:t>
            </a:r>
            <a:r>
              <a:rPr lang="fr-FR" sz="825" i="1" kern="0" dirty="0">
                <a:solidFill>
                  <a:prstClr val="black"/>
                </a:solidFill>
                <a:latin typeface="Calibri" panose="020F0502020204030204"/>
              </a:rPr>
              <a:t>de projet de vie :</a:t>
            </a:r>
          </a:p>
          <a:p>
            <a:pPr marL="128588" indent="-128588" defTabSz="685800">
              <a:buFontTx/>
              <a:buChar char="-"/>
              <a:defRPr/>
            </a:pPr>
            <a:r>
              <a:rPr lang="fr-FR" sz="825" i="1" kern="0" dirty="0">
                <a:solidFill>
                  <a:prstClr val="black"/>
                </a:solidFill>
                <a:latin typeface="Calibri" panose="020F0502020204030204"/>
              </a:rPr>
              <a:t>Insertion Professionnelle</a:t>
            </a:r>
          </a:p>
          <a:p>
            <a:pPr defTabSz="685800">
              <a:defRPr/>
            </a:pPr>
            <a:r>
              <a:rPr lang="fr-FR" sz="825" i="1" kern="0" dirty="0">
                <a:solidFill>
                  <a:prstClr val="black"/>
                </a:solidFill>
                <a:latin typeface="Calibri" panose="020F0502020204030204"/>
              </a:rPr>
              <a:t>-   S</a:t>
            </a:r>
            <a:r>
              <a:rPr lang="fr-FR" sz="825" i="1" kern="0" dirty="0" err="1">
                <a:solidFill>
                  <a:prstClr val="black"/>
                </a:solidFill>
                <a:latin typeface="Calibri" panose="020F0502020204030204"/>
              </a:rPr>
              <a:t>colarité</a:t>
            </a:r>
            <a:endParaRPr lang="fr-FR" sz="825" i="1" kern="0" dirty="0">
              <a:solidFill>
                <a:prstClr val="black"/>
              </a:solidFill>
              <a:latin typeface="Calibri" panose="020F0502020204030204"/>
            </a:endParaRPr>
          </a:p>
          <a:p>
            <a:pPr defTabSz="685800">
              <a:defRPr/>
            </a:pPr>
            <a:r>
              <a:rPr lang="fr-FR" sz="825" i="1" kern="0" dirty="0">
                <a:solidFill>
                  <a:prstClr val="black"/>
                </a:solidFill>
                <a:latin typeface="Calibri" panose="020F0502020204030204"/>
              </a:rPr>
              <a:t> -  Compensation </a:t>
            </a:r>
          </a:p>
        </p:txBody>
      </p:sp>
      <p:sp>
        <p:nvSpPr>
          <p:cNvPr id="37" name="Rectangle 36"/>
          <p:cNvSpPr/>
          <p:nvPr/>
        </p:nvSpPr>
        <p:spPr>
          <a:xfrm>
            <a:off x="4992113" y="4553090"/>
            <a:ext cx="964072" cy="546204"/>
          </a:xfrm>
          <a:prstGeom prst="rect">
            <a:avLst/>
          </a:prstGeom>
          <a:solidFill>
            <a:schemeClr val="bg1"/>
          </a:solidFill>
          <a:ln w="6350">
            <a:solidFill>
              <a:schemeClr val="accent2"/>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fr-FR" sz="900" b="1" dirty="0">
                <a:latin typeface="Calibri" panose="020F0502020204030204" pitchFamily="34" charset="0"/>
                <a:cs typeface="Calibri" panose="020F0502020204030204" pitchFamily="34" charset="0"/>
              </a:rPr>
              <a:t>Assistants </a:t>
            </a:r>
          </a:p>
          <a:p>
            <a:pPr algn="ctr"/>
            <a:r>
              <a:rPr lang="fr-FR" sz="900" b="1" dirty="0">
                <a:latin typeface="Calibri" panose="020F0502020204030204" pitchFamily="34" charset="0"/>
                <a:cs typeface="Calibri" panose="020F0502020204030204" pitchFamily="34" charset="0"/>
              </a:rPr>
              <a:t>de Pôle</a:t>
            </a:r>
            <a:endParaRPr lang="fr-FR" sz="900" dirty="0">
              <a:solidFill>
                <a:schemeClr val="tx1"/>
              </a:solidFill>
              <a:latin typeface="Calibri" panose="020F0502020204030204" pitchFamily="34" charset="0"/>
              <a:cs typeface="Calibri" panose="020F0502020204030204" pitchFamily="34" charset="0"/>
            </a:endParaRPr>
          </a:p>
        </p:txBody>
      </p:sp>
      <p:sp>
        <p:nvSpPr>
          <p:cNvPr id="47" name="Rectangle 46"/>
          <p:cNvSpPr/>
          <p:nvPr/>
        </p:nvSpPr>
        <p:spPr>
          <a:xfrm>
            <a:off x="3165526" y="5490426"/>
            <a:ext cx="1729600" cy="227557"/>
          </a:xfrm>
          <a:prstGeom prst="rect">
            <a:avLst/>
          </a:prstGeom>
          <a:solidFill>
            <a:schemeClr val="bg1"/>
          </a:solidFill>
          <a:ln w="6350" cap="flat" cmpd="sng" algn="ctr">
            <a:solidFill>
              <a:schemeClr val="accent2"/>
            </a:solidFill>
            <a:prstDash val="solid"/>
            <a:miter lim="800000"/>
          </a:ln>
          <a:effectLst/>
        </p:spPr>
        <p:txBody>
          <a:bodyPr rtlCol="0" anchor="ctr"/>
          <a:lstStyle/>
          <a:p>
            <a:pPr algn="ctr" defTabSz="685800">
              <a:defRPr/>
            </a:pPr>
            <a:r>
              <a:rPr lang="fr-FR" sz="900" b="1" kern="0" dirty="0">
                <a:solidFill>
                  <a:prstClr val="black"/>
                </a:solidFill>
                <a:latin typeface="Calibri" panose="020F0502020204030204"/>
              </a:rPr>
              <a:t>Agents prépaiement PCH</a:t>
            </a:r>
            <a:endParaRPr lang="fr-FR" sz="900" kern="0" dirty="0">
              <a:solidFill>
                <a:prstClr val="black"/>
              </a:solidFill>
              <a:latin typeface="Calibri" panose="020F0502020204030204"/>
            </a:endParaRPr>
          </a:p>
        </p:txBody>
      </p:sp>
      <p:sp>
        <p:nvSpPr>
          <p:cNvPr id="48" name="Rectangle 47"/>
          <p:cNvSpPr/>
          <p:nvPr/>
        </p:nvSpPr>
        <p:spPr>
          <a:xfrm>
            <a:off x="4992113" y="5181483"/>
            <a:ext cx="982826" cy="562336"/>
          </a:xfrm>
          <a:prstGeom prst="rect">
            <a:avLst/>
          </a:prstGeom>
          <a:solidFill>
            <a:schemeClr val="bg1"/>
          </a:solidFill>
          <a:ln w="6350" cap="flat" cmpd="sng" algn="ctr">
            <a:solidFill>
              <a:schemeClr val="accent2"/>
            </a:solidFill>
            <a:prstDash val="solid"/>
            <a:miter lim="800000"/>
          </a:ln>
          <a:effectLst/>
        </p:spPr>
        <p:txBody>
          <a:bodyPr rtlCol="0" anchor="ctr"/>
          <a:lstStyle/>
          <a:p>
            <a:pPr algn="ctr" defTabSz="685800">
              <a:defRPr/>
            </a:pPr>
            <a:r>
              <a:rPr lang="fr-FR" sz="900" b="1" kern="0" dirty="0">
                <a:solidFill>
                  <a:prstClr val="black"/>
                </a:solidFill>
                <a:latin typeface="Calibri" panose="020F0502020204030204" pitchFamily="34" charset="0"/>
                <a:cs typeface="Calibri" panose="020F0502020204030204" pitchFamily="34" charset="0"/>
              </a:rPr>
              <a:t>Agent Fonds Compensation</a:t>
            </a:r>
            <a:endParaRPr lang="fr-FR" sz="900" kern="0" dirty="0">
              <a:solidFill>
                <a:prstClr val="black"/>
              </a:solidFill>
              <a:latin typeface="Calibri" panose="020F0502020204030204" pitchFamily="34" charset="0"/>
              <a:cs typeface="Calibri" panose="020F0502020204030204" pitchFamily="34" charset="0"/>
            </a:endParaRPr>
          </a:p>
        </p:txBody>
      </p:sp>
      <p:sp>
        <p:nvSpPr>
          <p:cNvPr id="49" name="Rectangle 48"/>
          <p:cNvSpPr/>
          <p:nvPr/>
        </p:nvSpPr>
        <p:spPr>
          <a:xfrm>
            <a:off x="4597269" y="3789097"/>
            <a:ext cx="1358915" cy="670275"/>
          </a:xfrm>
          <a:prstGeom prst="rect">
            <a:avLst/>
          </a:prstGeom>
          <a:solidFill>
            <a:schemeClr val="bg1"/>
          </a:solidFill>
          <a:ln w="6350" cap="flat" cmpd="sng" algn="ctr">
            <a:solidFill>
              <a:schemeClr val="accent2"/>
            </a:solidFill>
            <a:prstDash val="solid"/>
            <a:miter lim="800000"/>
          </a:ln>
          <a:effectLst/>
        </p:spPr>
        <p:txBody>
          <a:bodyPr rtlCol="0" anchor="ctr"/>
          <a:lstStyle/>
          <a:p>
            <a:pPr algn="ctr" defTabSz="685800">
              <a:defRPr/>
            </a:pPr>
            <a:endParaRPr lang="fr-FR" sz="900" b="1" kern="0" dirty="0">
              <a:solidFill>
                <a:prstClr val="black"/>
              </a:solidFill>
              <a:latin typeface="Calibri" panose="020F0502020204030204"/>
            </a:endParaRPr>
          </a:p>
          <a:p>
            <a:pPr algn="ctr" defTabSz="685800">
              <a:defRPr/>
            </a:pPr>
            <a:r>
              <a:rPr lang="fr-FR" sz="900" b="1" kern="0" dirty="0">
                <a:solidFill>
                  <a:prstClr val="black"/>
                </a:solidFill>
                <a:latin typeface="Calibri" panose="020F0502020204030204"/>
              </a:rPr>
              <a:t>Annie VERCAEMPT</a:t>
            </a:r>
          </a:p>
          <a:p>
            <a:pPr algn="ctr" defTabSz="685800">
              <a:defRPr/>
            </a:pPr>
            <a:r>
              <a:rPr lang="fr-FR" sz="900" b="1" kern="0" dirty="0">
                <a:solidFill>
                  <a:prstClr val="black"/>
                </a:solidFill>
                <a:latin typeface="Calibri" panose="020F0502020204030204"/>
              </a:rPr>
              <a:t>Adjointe au Pôle </a:t>
            </a:r>
          </a:p>
          <a:p>
            <a:pPr algn="ctr" defTabSz="685800">
              <a:defRPr/>
            </a:pPr>
            <a:r>
              <a:rPr lang="fr-FR" sz="900" kern="0" dirty="0">
                <a:solidFill>
                  <a:prstClr val="black"/>
                </a:solidFill>
                <a:latin typeface="Calibri" panose="020F0502020204030204"/>
              </a:rPr>
              <a:t>Analyse Evaluation </a:t>
            </a:r>
          </a:p>
          <a:p>
            <a:pPr algn="ctr" defTabSz="685800">
              <a:defRPr/>
            </a:pPr>
            <a:r>
              <a:rPr lang="fr-FR" sz="900" kern="0" dirty="0">
                <a:solidFill>
                  <a:prstClr val="black"/>
                </a:solidFill>
                <a:latin typeface="Calibri" panose="020F0502020204030204"/>
              </a:rPr>
              <a:t>Référent ENFANT</a:t>
            </a:r>
          </a:p>
          <a:p>
            <a:pPr algn="ctr" defTabSz="685800">
              <a:defRPr/>
            </a:pPr>
            <a:r>
              <a:rPr lang="fr-FR" sz="900" kern="0" dirty="0">
                <a:solidFill>
                  <a:prstClr val="black"/>
                </a:solidFill>
                <a:latin typeface="Calibri" panose="020F0502020204030204"/>
              </a:rPr>
              <a:t> </a:t>
            </a:r>
          </a:p>
        </p:txBody>
      </p:sp>
      <p:sp>
        <p:nvSpPr>
          <p:cNvPr id="16" name="Rectangle 15"/>
          <p:cNvSpPr/>
          <p:nvPr/>
        </p:nvSpPr>
        <p:spPr>
          <a:xfrm>
            <a:off x="6099899" y="2774472"/>
            <a:ext cx="1499669" cy="3104285"/>
          </a:xfrm>
          <a:prstGeom prst="rect">
            <a:avLst/>
          </a:prstGeom>
          <a:ln>
            <a:solidFill>
              <a:srgbClr val="0070C0"/>
            </a:solidFill>
          </a:ln>
        </p:spPr>
        <p:style>
          <a:lnRef idx="2">
            <a:schemeClr val="dk1"/>
          </a:lnRef>
          <a:fillRef idx="1">
            <a:schemeClr val="lt1"/>
          </a:fillRef>
          <a:effectRef idx="0">
            <a:schemeClr val="dk1"/>
          </a:effectRef>
          <a:fontRef idx="minor">
            <a:schemeClr val="dk1"/>
          </a:fontRef>
        </p:style>
        <p:txBody>
          <a:bodyPr rtlCol="0" anchor="t"/>
          <a:lstStyle/>
          <a:p>
            <a:pPr algn="ctr"/>
            <a:r>
              <a:rPr lang="fr-FR" sz="900" b="1"/>
              <a:t>Najoua AMEZIANE</a:t>
            </a:r>
            <a:endParaRPr lang="fr-FR" sz="900" b="1" dirty="0"/>
          </a:p>
          <a:p>
            <a:pPr algn="ctr"/>
            <a:endParaRPr lang="fr-FR" sz="900" b="1" dirty="0"/>
          </a:p>
          <a:p>
            <a:pPr algn="ctr"/>
            <a:r>
              <a:rPr lang="fr-FR" sz="900" b="1" dirty="0"/>
              <a:t>Chef de Pôle Ressources et moyens généraux</a:t>
            </a:r>
          </a:p>
          <a:p>
            <a:pPr algn="ctr"/>
            <a:endParaRPr lang="fr-FR" sz="900" b="1" dirty="0"/>
          </a:p>
          <a:p>
            <a:pPr algn="ctr"/>
            <a:r>
              <a:rPr lang="fr-FR" sz="900" dirty="0"/>
              <a:t>Gestion budgétaire </a:t>
            </a:r>
          </a:p>
          <a:p>
            <a:pPr algn="ctr"/>
            <a:r>
              <a:rPr lang="fr-FR" sz="900" dirty="0"/>
              <a:t>Gestion RH</a:t>
            </a:r>
          </a:p>
          <a:p>
            <a:pPr algn="ctr"/>
            <a:r>
              <a:rPr lang="fr-FR" sz="900" dirty="0"/>
              <a:t>Fonctions supports </a:t>
            </a:r>
          </a:p>
          <a:p>
            <a:pPr algn="ctr"/>
            <a:r>
              <a:rPr lang="fr-FR" sz="900" dirty="0"/>
              <a:t>SI </a:t>
            </a:r>
          </a:p>
          <a:p>
            <a:pPr algn="ctr"/>
            <a:r>
              <a:rPr lang="fr-FR" sz="900" dirty="0"/>
              <a:t>Accueil physique (niveau1) et numérique</a:t>
            </a:r>
          </a:p>
        </p:txBody>
      </p:sp>
      <p:sp>
        <p:nvSpPr>
          <p:cNvPr id="15" name="Rectangle 14"/>
          <p:cNvSpPr/>
          <p:nvPr/>
        </p:nvSpPr>
        <p:spPr>
          <a:xfrm>
            <a:off x="1440108" y="2774472"/>
            <a:ext cx="1604023" cy="3104285"/>
          </a:xfrm>
          <a:prstGeom prst="rect">
            <a:avLst/>
          </a:prstGeom>
          <a:ln>
            <a:solidFill>
              <a:srgbClr val="0070C0"/>
            </a:solidFill>
          </a:ln>
        </p:spPr>
        <p:style>
          <a:lnRef idx="2">
            <a:schemeClr val="dk1"/>
          </a:lnRef>
          <a:fillRef idx="1">
            <a:schemeClr val="lt1"/>
          </a:fillRef>
          <a:effectRef idx="0">
            <a:schemeClr val="dk1"/>
          </a:effectRef>
          <a:fontRef idx="minor">
            <a:schemeClr val="dk1"/>
          </a:fontRef>
        </p:style>
        <p:txBody>
          <a:bodyPr rtlCol="0" anchor="t"/>
          <a:lstStyle/>
          <a:p>
            <a:pPr algn="ctr"/>
            <a:r>
              <a:rPr lang="fr-FR" sz="900" b="1" dirty="0"/>
              <a:t>Isabelle MARSO </a:t>
            </a:r>
          </a:p>
          <a:p>
            <a:pPr algn="ctr"/>
            <a:endParaRPr lang="fr-FR" sz="900" b="1" dirty="0"/>
          </a:p>
          <a:p>
            <a:pPr algn="ctr"/>
            <a:r>
              <a:rPr lang="fr-FR" sz="900" b="1" dirty="0"/>
              <a:t>Chargée de mission Qualité, Modernisation et relations partenariales</a:t>
            </a:r>
          </a:p>
          <a:p>
            <a:pPr algn="ctr"/>
            <a:endParaRPr lang="fr-FR" sz="900" b="1" dirty="0"/>
          </a:p>
          <a:p>
            <a:pPr algn="ctr"/>
            <a:r>
              <a:rPr lang="fr-FR" sz="900" dirty="0"/>
              <a:t>Démarche qualité, suivi des chantiers CNSA, animation des réseaux de partenaires et relais contacts, conciliation et contentieux, prospective, etc. </a:t>
            </a:r>
          </a:p>
        </p:txBody>
      </p:sp>
    </p:spTree>
    <p:extLst>
      <p:ext uri="{BB962C8B-B14F-4D97-AF65-F5344CB8AC3E}">
        <p14:creationId xmlns:p14="http://schemas.microsoft.com/office/powerpoint/2010/main" val="2351722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p:cNvGraphicFramePr>
            <a:graphicFrameLocks noChangeAspect="1"/>
          </p:cNvGraphicFramePr>
          <p:nvPr>
            <p:extLst>
              <p:ext uri="{D42A27DB-BD31-4B8C-83A1-F6EECF244321}">
                <p14:modId xmlns:p14="http://schemas.microsoft.com/office/powerpoint/2010/main" val="2156766508"/>
              </p:ext>
            </p:extLst>
          </p:nvPr>
        </p:nvGraphicFramePr>
        <p:xfrm>
          <a:off x="323527" y="332656"/>
          <a:ext cx="7920881" cy="6264696"/>
        </p:xfrm>
        <a:graphic>
          <a:graphicData uri="http://schemas.openxmlformats.org/presentationml/2006/ole">
            <mc:AlternateContent xmlns:mc="http://schemas.openxmlformats.org/markup-compatibility/2006">
              <mc:Choice xmlns:v="urn:schemas-microsoft-com:vml" Requires="v">
                <p:oleObj spid="_x0000_s3096" name="Document" r:id="rId4" imgW="15014708" imgH="9588959" progId="Word.Document.12">
                  <p:embed/>
                </p:oleObj>
              </mc:Choice>
              <mc:Fallback>
                <p:oleObj name="Document" r:id="rId4" imgW="15014708" imgH="9588959" progId="Word.Document.12">
                  <p:embed/>
                  <p:pic>
                    <p:nvPicPr>
                      <p:cNvPr id="0" name=""/>
                      <p:cNvPicPr/>
                      <p:nvPr/>
                    </p:nvPicPr>
                    <p:blipFill>
                      <a:blip r:embed="rId5"/>
                      <a:stretch>
                        <a:fillRect/>
                      </a:stretch>
                    </p:blipFill>
                    <p:spPr>
                      <a:xfrm>
                        <a:off x="323527" y="332656"/>
                        <a:ext cx="7920881" cy="6264696"/>
                      </a:xfrm>
                      <a:prstGeom prst="rect">
                        <a:avLst/>
                      </a:prstGeom>
                    </p:spPr>
                  </p:pic>
                </p:oleObj>
              </mc:Fallback>
            </mc:AlternateContent>
          </a:graphicData>
        </a:graphic>
      </p:graphicFrame>
    </p:spTree>
    <p:extLst>
      <p:ext uri="{BB962C8B-B14F-4D97-AF65-F5344CB8AC3E}">
        <p14:creationId xmlns:p14="http://schemas.microsoft.com/office/powerpoint/2010/main" val="30797434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à coins arrondis 16">
            <a:extLst>
              <a:ext uri="{FF2B5EF4-FFF2-40B4-BE49-F238E27FC236}">
                <a16:creationId xmlns="" xmlns:a16="http://schemas.microsoft.com/office/drawing/2014/main" id="{C225C9B7-D819-42A5-958A-7D2A3CCDC01F}"/>
              </a:ext>
            </a:extLst>
          </p:cNvPr>
          <p:cNvSpPr/>
          <p:nvPr/>
        </p:nvSpPr>
        <p:spPr>
          <a:xfrm>
            <a:off x="4356100" y="3211513"/>
            <a:ext cx="4186238" cy="62706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fr-FR"/>
          </a:p>
        </p:txBody>
      </p:sp>
      <p:sp>
        <p:nvSpPr>
          <p:cNvPr id="15" name="Rectangle à coins arrondis 14">
            <a:extLst>
              <a:ext uri="{FF2B5EF4-FFF2-40B4-BE49-F238E27FC236}">
                <a16:creationId xmlns="" xmlns:a16="http://schemas.microsoft.com/office/drawing/2014/main" id="{4E56AC22-11F9-49B9-9AF8-48453E87543E}"/>
              </a:ext>
            </a:extLst>
          </p:cNvPr>
          <p:cNvSpPr/>
          <p:nvPr/>
        </p:nvSpPr>
        <p:spPr>
          <a:xfrm>
            <a:off x="4356100" y="2239963"/>
            <a:ext cx="4208463" cy="750887"/>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fr-FR"/>
          </a:p>
        </p:txBody>
      </p:sp>
      <p:sp>
        <p:nvSpPr>
          <p:cNvPr id="5" name="Rectangle à coins arrondis 4">
            <a:extLst>
              <a:ext uri="{FF2B5EF4-FFF2-40B4-BE49-F238E27FC236}">
                <a16:creationId xmlns="" xmlns:a16="http://schemas.microsoft.com/office/drawing/2014/main" id="{B642EA2A-38C7-4AE4-95EA-6E17C85839D3}"/>
              </a:ext>
            </a:extLst>
          </p:cNvPr>
          <p:cNvSpPr/>
          <p:nvPr/>
        </p:nvSpPr>
        <p:spPr>
          <a:xfrm>
            <a:off x="468313" y="1317625"/>
            <a:ext cx="2808287" cy="671513"/>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fr-FR"/>
          </a:p>
        </p:txBody>
      </p:sp>
      <p:sp>
        <p:nvSpPr>
          <p:cNvPr id="2" name="Rectangle 68">
            <a:extLst>
              <a:ext uri="{FF2B5EF4-FFF2-40B4-BE49-F238E27FC236}">
                <a16:creationId xmlns="" xmlns:a16="http://schemas.microsoft.com/office/drawing/2014/main" id="{FFFDC1F5-53E0-4700-ABCE-B4E6386BC69C}"/>
              </a:ext>
            </a:extLst>
          </p:cNvPr>
          <p:cNvSpPr>
            <a:spLocks noChangeArrowheads="1"/>
          </p:cNvSpPr>
          <p:nvPr/>
        </p:nvSpPr>
        <p:spPr bwMode="auto">
          <a:xfrm>
            <a:off x="3203575" y="549275"/>
            <a:ext cx="2460625" cy="385763"/>
          </a:xfrm>
          <a:prstGeom prst="rect">
            <a:avLst/>
          </a:prstGeom>
        </p:spPr>
        <p:txBody>
          <a:bodyPr lIns="0" tIns="0" rIns="0" bIns="0"/>
          <a:lstStyle/>
          <a:p>
            <a:pPr algn="ctr" defTabSz="912602" fontAlgn="auto">
              <a:lnSpc>
                <a:spcPct val="85000"/>
              </a:lnSpc>
              <a:spcAft>
                <a:spcPts val="0"/>
              </a:spcAft>
              <a:defRPr/>
            </a:pPr>
            <a:r>
              <a:rPr lang="fr-FR" altLang="fr-FR" sz="2200" cap="all" dirty="0">
                <a:solidFill>
                  <a:srgbClr val="0070C0"/>
                </a:solidFill>
                <a:latin typeface="+mj-lt"/>
                <a:ea typeface="+mj-ea"/>
                <a:cs typeface="+mj-cs"/>
              </a:rPr>
              <a:t>Un PAG POUR QUI ?</a:t>
            </a:r>
          </a:p>
        </p:txBody>
      </p:sp>
      <p:sp>
        <p:nvSpPr>
          <p:cNvPr id="18438" name="ZoneTexte 3">
            <a:extLst>
              <a:ext uri="{FF2B5EF4-FFF2-40B4-BE49-F238E27FC236}">
                <a16:creationId xmlns="" xmlns:a16="http://schemas.microsoft.com/office/drawing/2014/main" id="{840958C6-22C7-4BF4-A5E4-5DB519A24E65}"/>
              </a:ext>
            </a:extLst>
          </p:cNvPr>
          <p:cNvSpPr txBox="1">
            <a:spLocks noChangeArrowheads="1"/>
          </p:cNvSpPr>
          <p:nvPr/>
        </p:nvSpPr>
        <p:spPr bwMode="auto">
          <a:xfrm>
            <a:off x="795338" y="1330325"/>
            <a:ext cx="197643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eaLnBrk="1" hangingPunct="1">
              <a:spcBef>
                <a:spcPct val="0"/>
              </a:spcBef>
              <a:buFontTx/>
              <a:buNone/>
            </a:pPr>
            <a:r>
              <a:rPr lang="fr-FR" altLang="fr-FR">
                <a:solidFill>
                  <a:schemeClr val="bg1"/>
                </a:solidFill>
                <a:latin typeface="Calibri" panose="020F0502020204030204" pitchFamily="34" charset="0"/>
              </a:rPr>
              <a:t>A la demande </a:t>
            </a:r>
          </a:p>
          <a:p>
            <a:pPr algn="ctr" eaLnBrk="1" hangingPunct="1">
              <a:spcBef>
                <a:spcPct val="0"/>
              </a:spcBef>
              <a:buFontTx/>
              <a:buNone/>
            </a:pPr>
            <a:r>
              <a:rPr lang="fr-FR" altLang="fr-FR">
                <a:solidFill>
                  <a:schemeClr val="bg1"/>
                </a:solidFill>
                <a:latin typeface="Calibri" panose="020F0502020204030204" pitchFamily="34" charset="0"/>
              </a:rPr>
              <a:t>de l’usager</a:t>
            </a:r>
            <a:endParaRPr lang="fr-FR" altLang="fr-FR">
              <a:latin typeface="Calibri" panose="020F0502020204030204" pitchFamily="34" charset="0"/>
            </a:endParaRPr>
          </a:p>
        </p:txBody>
      </p:sp>
      <p:sp>
        <p:nvSpPr>
          <p:cNvPr id="6" name="Rectangle à coins arrondis 5">
            <a:extLst>
              <a:ext uri="{FF2B5EF4-FFF2-40B4-BE49-F238E27FC236}">
                <a16:creationId xmlns="" xmlns:a16="http://schemas.microsoft.com/office/drawing/2014/main" id="{90A40940-80AE-4EE6-A949-84428A91CD75}"/>
              </a:ext>
            </a:extLst>
          </p:cNvPr>
          <p:cNvSpPr/>
          <p:nvPr/>
        </p:nvSpPr>
        <p:spPr>
          <a:xfrm>
            <a:off x="468313" y="2241550"/>
            <a:ext cx="2808287" cy="830263"/>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fr-FR"/>
          </a:p>
        </p:txBody>
      </p:sp>
      <p:sp>
        <p:nvSpPr>
          <p:cNvPr id="18440" name="ZoneTexte 6">
            <a:extLst>
              <a:ext uri="{FF2B5EF4-FFF2-40B4-BE49-F238E27FC236}">
                <a16:creationId xmlns="" xmlns:a16="http://schemas.microsoft.com/office/drawing/2014/main" id="{ABFE90A3-7615-4CFD-870B-F61FC3D1E636}"/>
              </a:ext>
            </a:extLst>
          </p:cNvPr>
          <p:cNvSpPr txBox="1">
            <a:spLocks noChangeArrowheads="1"/>
          </p:cNvSpPr>
          <p:nvPr/>
        </p:nvSpPr>
        <p:spPr bwMode="auto">
          <a:xfrm>
            <a:off x="468313" y="2241550"/>
            <a:ext cx="2808287"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eaLnBrk="1" hangingPunct="1">
              <a:spcBef>
                <a:spcPct val="0"/>
              </a:spcBef>
              <a:buFontTx/>
              <a:buNone/>
            </a:pPr>
            <a:r>
              <a:rPr lang="fr-FR" altLang="fr-FR">
                <a:solidFill>
                  <a:schemeClr val="bg1"/>
                </a:solidFill>
                <a:latin typeface="Calibri" panose="020F0502020204030204" pitchFamily="34" charset="0"/>
              </a:rPr>
              <a:t>Complexité de réponses à apporter, rupture ou risque de rupture</a:t>
            </a:r>
          </a:p>
        </p:txBody>
      </p:sp>
      <p:sp>
        <p:nvSpPr>
          <p:cNvPr id="9" name="Rectangle à coins arrondis 8">
            <a:extLst>
              <a:ext uri="{FF2B5EF4-FFF2-40B4-BE49-F238E27FC236}">
                <a16:creationId xmlns="" xmlns:a16="http://schemas.microsoft.com/office/drawing/2014/main" id="{7B87B4D8-739B-4D2A-A891-CF1927BFD1A8}"/>
              </a:ext>
            </a:extLst>
          </p:cNvPr>
          <p:cNvSpPr/>
          <p:nvPr/>
        </p:nvSpPr>
        <p:spPr>
          <a:xfrm>
            <a:off x="468313" y="3211513"/>
            <a:ext cx="2808287" cy="796925"/>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fr-FR"/>
          </a:p>
        </p:txBody>
      </p:sp>
      <p:sp>
        <p:nvSpPr>
          <p:cNvPr id="18442" name="ZoneTexte 7">
            <a:extLst>
              <a:ext uri="{FF2B5EF4-FFF2-40B4-BE49-F238E27FC236}">
                <a16:creationId xmlns="" xmlns:a16="http://schemas.microsoft.com/office/drawing/2014/main" id="{E18ED267-51F1-44FB-9485-5D352AD9227D}"/>
              </a:ext>
            </a:extLst>
          </p:cNvPr>
          <p:cNvSpPr txBox="1">
            <a:spLocks noChangeArrowheads="1"/>
          </p:cNvSpPr>
          <p:nvPr/>
        </p:nvSpPr>
        <p:spPr bwMode="auto">
          <a:xfrm>
            <a:off x="468313" y="3178175"/>
            <a:ext cx="2735262"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eaLnBrk="1" hangingPunct="1">
              <a:spcBef>
                <a:spcPct val="0"/>
              </a:spcBef>
              <a:buFontTx/>
              <a:buNone/>
            </a:pPr>
            <a:r>
              <a:rPr lang="fr-FR" altLang="fr-FR">
                <a:solidFill>
                  <a:schemeClr val="bg1"/>
                </a:solidFill>
                <a:latin typeface="Calibri" panose="020F0502020204030204" pitchFamily="34" charset="0"/>
              </a:rPr>
              <a:t>Indisponibilité ou inadaptation des réponses connues</a:t>
            </a:r>
          </a:p>
        </p:txBody>
      </p:sp>
      <p:sp>
        <p:nvSpPr>
          <p:cNvPr id="10" name="Rectangle à coins arrondis 9">
            <a:extLst>
              <a:ext uri="{FF2B5EF4-FFF2-40B4-BE49-F238E27FC236}">
                <a16:creationId xmlns="" xmlns:a16="http://schemas.microsoft.com/office/drawing/2014/main" id="{1BB4DE3C-F57B-4349-ABA6-79A19CB455B0}"/>
              </a:ext>
            </a:extLst>
          </p:cNvPr>
          <p:cNvSpPr/>
          <p:nvPr/>
        </p:nvSpPr>
        <p:spPr>
          <a:xfrm>
            <a:off x="468313" y="4144963"/>
            <a:ext cx="2808287" cy="831850"/>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fr-FR"/>
          </a:p>
        </p:txBody>
      </p:sp>
      <p:sp>
        <p:nvSpPr>
          <p:cNvPr id="18444" name="ZoneTexte 10">
            <a:extLst>
              <a:ext uri="{FF2B5EF4-FFF2-40B4-BE49-F238E27FC236}">
                <a16:creationId xmlns="" xmlns:a16="http://schemas.microsoft.com/office/drawing/2014/main" id="{F34B5D49-F77A-4EE6-951E-A1098D94C514}"/>
              </a:ext>
            </a:extLst>
          </p:cNvPr>
          <p:cNvSpPr txBox="1">
            <a:spLocks noChangeArrowheads="1"/>
          </p:cNvSpPr>
          <p:nvPr/>
        </p:nvSpPr>
        <p:spPr bwMode="auto">
          <a:xfrm>
            <a:off x="468313" y="4125913"/>
            <a:ext cx="280828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eaLnBrk="1" hangingPunct="1">
              <a:spcBef>
                <a:spcPct val="0"/>
              </a:spcBef>
              <a:buFontTx/>
              <a:buNone/>
            </a:pPr>
            <a:r>
              <a:rPr lang="fr-FR" altLang="fr-FR">
                <a:solidFill>
                  <a:schemeClr val="bg1"/>
                </a:solidFill>
                <a:latin typeface="Calibri" panose="020F0502020204030204" pitchFamily="34" charset="0"/>
              </a:rPr>
              <a:t>Dans la perspective de l’amélioration de l’accompagnement</a:t>
            </a:r>
          </a:p>
        </p:txBody>
      </p:sp>
      <p:sp>
        <p:nvSpPr>
          <p:cNvPr id="12" name="Rectangle à coins arrondis 11">
            <a:extLst>
              <a:ext uri="{FF2B5EF4-FFF2-40B4-BE49-F238E27FC236}">
                <a16:creationId xmlns="" xmlns:a16="http://schemas.microsoft.com/office/drawing/2014/main" id="{B7594C34-1CB3-417C-9CCB-94F01ECA6FB0}"/>
              </a:ext>
            </a:extLst>
          </p:cNvPr>
          <p:cNvSpPr/>
          <p:nvPr/>
        </p:nvSpPr>
        <p:spPr>
          <a:xfrm>
            <a:off x="4356100" y="1317625"/>
            <a:ext cx="4176713" cy="671513"/>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fr-FR"/>
          </a:p>
        </p:txBody>
      </p:sp>
      <p:sp>
        <p:nvSpPr>
          <p:cNvPr id="18446" name="ZoneTexte 12">
            <a:extLst>
              <a:ext uri="{FF2B5EF4-FFF2-40B4-BE49-F238E27FC236}">
                <a16:creationId xmlns="" xmlns:a16="http://schemas.microsoft.com/office/drawing/2014/main" id="{9CD9F14F-7C7A-44BE-A0A2-8AB78EC55114}"/>
              </a:ext>
            </a:extLst>
          </p:cNvPr>
          <p:cNvSpPr txBox="1">
            <a:spLocks noChangeArrowheads="1"/>
          </p:cNvSpPr>
          <p:nvPr/>
        </p:nvSpPr>
        <p:spPr bwMode="auto">
          <a:xfrm>
            <a:off x="4356100" y="1392238"/>
            <a:ext cx="360045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eaLnBrk="1" hangingPunct="1">
              <a:spcBef>
                <a:spcPct val="0"/>
              </a:spcBef>
              <a:buFontTx/>
              <a:buNone/>
            </a:pPr>
            <a:r>
              <a:rPr lang="fr-FR" altLang="fr-FR">
                <a:solidFill>
                  <a:schemeClr val="bg1"/>
                </a:solidFill>
                <a:latin typeface="Calibri" panose="020F0502020204030204" pitchFamily="34" charset="0"/>
              </a:rPr>
              <a:t>Courrier demandant d’être aidé dans ses démarches, ses recherches</a:t>
            </a:r>
            <a:endParaRPr lang="fr-FR" altLang="fr-FR">
              <a:latin typeface="Calibri" panose="020F0502020204030204" pitchFamily="34" charset="0"/>
            </a:endParaRPr>
          </a:p>
        </p:txBody>
      </p:sp>
      <p:sp>
        <p:nvSpPr>
          <p:cNvPr id="18447" name="ZoneTexte 13">
            <a:extLst>
              <a:ext uri="{FF2B5EF4-FFF2-40B4-BE49-F238E27FC236}">
                <a16:creationId xmlns="" xmlns:a16="http://schemas.microsoft.com/office/drawing/2014/main" id="{AEAABE56-1786-417B-AB64-1A9692BC12A4}"/>
              </a:ext>
            </a:extLst>
          </p:cNvPr>
          <p:cNvSpPr txBox="1">
            <a:spLocks noChangeArrowheads="1"/>
          </p:cNvSpPr>
          <p:nvPr/>
        </p:nvSpPr>
        <p:spPr bwMode="auto">
          <a:xfrm>
            <a:off x="4594225" y="2159000"/>
            <a:ext cx="3629025"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eaLnBrk="1" hangingPunct="1">
              <a:spcBef>
                <a:spcPct val="0"/>
              </a:spcBef>
              <a:buFontTx/>
              <a:buNone/>
            </a:pPr>
            <a:r>
              <a:rPr lang="fr-FR" altLang="fr-FR">
                <a:solidFill>
                  <a:schemeClr val="bg1"/>
                </a:solidFill>
                <a:latin typeface="Calibri" panose="020F0502020204030204" pitchFamily="34" charset="0"/>
              </a:rPr>
              <a:t>Ex : Besoin d’un hébergement avec des activités de jour et du soin , parents vieillissants,  sortie d’ESMS</a:t>
            </a:r>
            <a:endParaRPr lang="fr-FR" altLang="fr-FR">
              <a:latin typeface="Calibri" panose="020F0502020204030204" pitchFamily="34" charset="0"/>
            </a:endParaRPr>
          </a:p>
        </p:txBody>
      </p:sp>
      <p:sp>
        <p:nvSpPr>
          <p:cNvPr id="18448" name="ZoneTexte 15">
            <a:extLst>
              <a:ext uri="{FF2B5EF4-FFF2-40B4-BE49-F238E27FC236}">
                <a16:creationId xmlns="" xmlns:a16="http://schemas.microsoft.com/office/drawing/2014/main" id="{92A10CA3-A0FF-466F-9456-429189445B34}"/>
              </a:ext>
            </a:extLst>
          </p:cNvPr>
          <p:cNvSpPr txBox="1">
            <a:spLocks noChangeArrowheads="1"/>
          </p:cNvSpPr>
          <p:nvPr/>
        </p:nvSpPr>
        <p:spPr bwMode="auto">
          <a:xfrm>
            <a:off x="4284663" y="3254375"/>
            <a:ext cx="384333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eaLnBrk="1" hangingPunct="1">
              <a:spcBef>
                <a:spcPct val="0"/>
              </a:spcBef>
              <a:buFontTx/>
              <a:buNone/>
            </a:pPr>
            <a:r>
              <a:rPr lang="fr-FR" altLang="fr-FR">
                <a:solidFill>
                  <a:schemeClr val="bg1"/>
                </a:solidFill>
                <a:latin typeface="Calibri" panose="020F0502020204030204" pitchFamily="34" charset="0"/>
              </a:rPr>
              <a:t>Ex : Orientations Belgique (procédure spécifique), maintien dans l’attente de </a:t>
            </a:r>
          </a:p>
        </p:txBody>
      </p:sp>
      <p:sp>
        <p:nvSpPr>
          <p:cNvPr id="18" name="Rectangle à coins arrondis 17">
            <a:extLst>
              <a:ext uri="{FF2B5EF4-FFF2-40B4-BE49-F238E27FC236}">
                <a16:creationId xmlns="" xmlns:a16="http://schemas.microsoft.com/office/drawing/2014/main" id="{0578F7E5-BAB2-4AA7-B1B0-A92EDEBD8694}"/>
              </a:ext>
            </a:extLst>
          </p:cNvPr>
          <p:cNvSpPr/>
          <p:nvPr/>
        </p:nvSpPr>
        <p:spPr>
          <a:xfrm>
            <a:off x="4311650" y="4183063"/>
            <a:ext cx="4252913" cy="67151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fr-FR"/>
          </a:p>
        </p:txBody>
      </p:sp>
      <p:sp>
        <p:nvSpPr>
          <p:cNvPr id="18450" name="ZoneTexte 18">
            <a:extLst>
              <a:ext uri="{FF2B5EF4-FFF2-40B4-BE49-F238E27FC236}">
                <a16:creationId xmlns="" xmlns:a16="http://schemas.microsoft.com/office/drawing/2014/main" id="{C948EAAF-11E3-44D5-A72E-6485A07A2D2F}"/>
              </a:ext>
            </a:extLst>
          </p:cNvPr>
          <p:cNvSpPr txBox="1">
            <a:spLocks noChangeArrowheads="1"/>
          </p:cNvSpPr>
          <p:nvPr/>
        </p:nvSpPr>
        <p:spPr bwMode="auto">
          <a:xfrm>
            <a:off x="4151313" y="4249738"/>
            <a:ext cx="4138612"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eaLnBrk="1" hangingPunct="1">
              <a:spcBef>
                <a:spcPct val="0"/>
              </a:spcBef>
              <a:buFontTx/>
              <a:buNone/>
            </a:pPr>
            <a:r>
              <a:rPr lang="fr-FR" altLang="fr-FR">
                <a:solidFill>
                  <a:schemeClr val="bg1"/>
                </a:solidFill>
                <a:latin typeface="Calibri" panose="020F0502020204030204" pitchFamily="34" charset="0"/>
              </a:rPr>
              <a:t>Ex : réponse partielle aux besoins, objectifs intermédiaires, …</a:t>
            </a:r>
          </a:p>
        </p:txBody>
      </p:sp>
      <p:sp>
        <p:nvSpPr>
          <p:cNvPr id="20" name="Flèche droite 19">
            <a:extLst>
              <a:ext uri="{FF2B5EF4-FFF2-40B4-BE49-F238E27FC236}">
                <a16:creationId xmlns="" xmlns:a16="http://schemas.microsoft.com/office/drawing/2014/main" id="{14D8179F-7734-4FCB-A796-1982710801CE}"/>
              </a:ext>
            </a:extLst>
          </p:cNvPr>
          <p:cNvSpPr/>
          <p:nvPr/>
        </p:nvSpPr>
        <p:spPr>
          <a:xfrm>
            <a:off x="3562350" y="1557338"/>
            <a:ext cx="504825" cy="2873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4" name="Flèche droite 23">
            <a:extLst>
              <a:ext uri="{FF2B5EF4-FFF2-40B4-BE49-F238E27FC236}">
                <a16:creationId xmlns="" xmlns:a16="http://schemas.microsoft.com/office/drawing/2014/main" id="{343F2A15-E466-4069-B04E-934712B48FFD}"/>
              </a:ext>
            </a:extLst>
          </p:cNvPr>
          <p:cNvSpPr/>
          <p:nvPr/>
        </p:nvSpPr>
        <p:spPr>
          <a:xfrm>
            <a:off x="3562350" y="2513013"/>
            <a:ext cx="504825" cy="2873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5" name="Flèche droite 24">
            <a:extLst>
              <a:ext uri="{FF2B5EF4-FFF2-40B4-BE49-F238E27FC236}">
                <a16:creationId xmlns="" xmlns:a16="http://schemas.microsoft.com/office/drawing/2014/main" id="{913C1AA2-9299-4EBC-8DF3-FB727A73AC76}"/>
              </a:ext>
            </a:extLst>
          </p:cNvPr>
          <p:cNvSpPr/>
          <p:nvPr/>
        </p:nvSpPr>
        <p:spPr>
          <a:xfrm>
            <a:off x="3562350" y="3403600"/>
            <a:ext cx="504825" cy="28733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6" name="Flèche droite 25">
            <a:extLst>
              <a:ext uri="{FF2B5EF4-FFF2-40B4-BE49-F238E27FC236}">
                <a16:creationId xmlns="" xmlns:a16="http://schemas.microsoft.com/office/drawing/2014/main" id="{A98B281E-FFE6-4106-BF26-2913E3513C79}"/>
              </a:ext>
            </a:extLst>
          </p:cNvPr>
          <p:cNvSpPr/>
          <p:nvPr/>
        </p:nvSpPr>
        <p:spPr>
          <a:xfrm>
            <a:off x="3562350" y="4367213"/>
            <a:ext cx="504825" cy="2873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Tree>
  </p:cSld>
  <p:clrMapOvr>
    <a:masterClrMapping/>
  </p:clrMapOvr>
  <p:transition spd="slow">
    <p:cove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12"/>
                                        </p:tgtEl>
                                        <p:attrNameLst>
                                          <p:attrName>style.visibility</p:attrName>
                                        </p:attrNameLst>
                                      </p:cBhvr>
                                      <p:to>
                                        <p:strVal val="visible"/>
                                      </p:to>
                                    </p:set>
                                    <p:anim calcmode="lin" valueType="num">
                                      <p:cBhvr>
                                        <p:cTn id="14" dur="500" fill="hold"/>
                                        <p:tgtEl>
                                          <p:spTgt spid="12"/>
                                        </p:tgtEl>
                                        <p:attrNameLst>
                                          <p:attrName>ppt_w</p:attrName>
                                        </p:attrNameLst>
                                      </p:cBhvr>
                                      <p:tavLst>
                                        <p:tav tm="0">
                                          <p:val>
                                            <p:fltVal val="0"/>
                                          </p:val>
                                        </p:tav>
                                        <p:tav tm="100000">
                                          <p:val>
                                            <p:strVal val="#ppt_w"/>
                                          </p:val>
                                        </p:tav>
                                      </p:tavLst>
                                    </p:anim>
                                    <p:anim calcmode="lin" valueType="num">
                                      <p:cBhvr>
                                        <p:cTn id="15" dur="500" fill="hold"/>
                                        <p:tgtEl>
                                          <p:spTgt spid="12"/>
                                        </p:tgtEl>
                                        <p:attrNameLst>
                                          <p:attrName>ppt_h</p:attrName>
                                        </p:attrNameLst>
                                      </p:cBhvr>
                                      <p:tavLst>
                                        <p:tav tm="0">
                                          <p:val>
                                            <p:fltVal val="0"/>
                                          </p:val>
                                        </p:tav>
                                        <p:tav tm="100000">
                                          <p:val>
                                            <p:strVal val="#ppt_h"/>
                                          </p:val>
                                        </p:tav>
                                      </p:tavLst>
                                    </p:anim>
                                    <p:animEffect transition="in" filter="fade">
                                      <p:cBhvr>
                                        <p:cTn id="16" dur="500"/>
                                        <p:tgtEl>
                                          <p:spTgt spid="12"/>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 calcmode="lin" valueType="num">
                                      <p:cBhvr>
                                        <p:cTn id="21" dur="500" fill="hold"/>
                                        <p:tgtEl>
                                          <p:spTgt spid="6"/>
                                        </p:tgtEl>
                                        <p:attrNameLst>
                                          <p:attrName>ppt_w</p:attrName>
                                        </p:attrNameLst>
                                      </p:cBhvr>
                                      <p:tavLst>
                                        <p:tav tm="0">
                                          <p:val>
                                            <p:fltVal val="0"/>
                                          </p:val>
                                        </p:tav>
                                        <p:tav tm="100000">
                                          <p:val>
                                            <p:strVal val="#ppt_w"/>
                                          </p:val>
                                        </p:tav>
                                      </p:tavLst>
                                    </p:anim>
                                    <p:anim calcmode="lin" valueType="num">
                                      <p:cBhvr>
                                        <p:cTn id="22" dur="500" fill="hold"/>
                                        <p:tgtEl>
                                          <p:spTgt spid="6"/>
                                        </p:tgtEl>
                                        <p:attrNameLst>
                                          <p:attrName>ppt_h</p:attrName>
                                        </p:attrNameLst>
                                      </p:cBhvr>
                                      <p:tavLst>
                                        <p:tav tm="0">
                                          <p:val>
                                            <p:fltVal val="0"/>
                                          </p:val>
                                        </p:tav>
                                        <p:tav tm="100000">
                                          <p:val>
                                            <p:strVal val="#ppt_h"/>
                                          </p:val>
                                        </p:tav>
                                      </p:tavLst>
                                    </p:anim>
                                    <p:animEffect transition="in" filter="fade">
                                      <p:cBhvr>
                                        <p:cTn id="23" dur="500"/>
                                        <p:tgtEl>
                                          <p:spTgt spid="6"/>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15"/>
                                        </p:tgtEl>
                                        <p:attrNameLst>
                                          <p:attrName>style.visibility</p:attrName>
                                        </p:attrNameLst>
                                      </p:cBhvr>
                                      <p:to>
                                        <p:strVal val="visible"/>
                                      </p:to>
                                    </p:set>
                                    <p:anim calcmode="lin" valueType="num">
                                      <p:cBhvr>
                                        <p:cTn id="28" dur="500" fill="hold"/>
                                        <p:tgtEl>
                                          <p:spTgt spid="15"/>
                                        </p:tgtEl>
                                        <p:attrNameLst>
                                          <p:attrName>ppt_w</p:attrName>
                                        </p:attrNameLst>
                                      </p:cBhvr>
                                      <p:tavLst>
                                        <p:tav tm="0">
                                          <p:val>
                                            <p:fltVal val="0"/>
                                          </p:val>
                                        </p:tav>
                                        <p:tav tm="100000">
                                          <p:val>
                                            <p:strVal val="#ppt_w"/>
                                          </p:val>
                                        </p:tav>
                                      </p:tavLst>
                                    </p:anim>
                                    <p:anim calcmode="lin" valueType="num">
                                      <p:cBhvr>
                                        <p:cTn id="29" dur="500" fill="hold"/>
                                        <p:tgtEl>
                                          <p:spTgt spid="15"/>
                                        </p:tgtEl>
                                        <p:attrNameLst>
                                          <p:attrName>ppt_h</p:attrName>
                                        </p:attrNameLst>
                                      </p:cBhvr>
                                      <p:tavLst>
                                        <p:tav tm="0">
                                          <p:val>
                                            <p:fltVal val="0"/>
                                          </p:val>
                                        </p:tav>
                                        <p:tav tm="100000">
                                          <p:val>
                                            <p:strVal val="#ppt_h"/>
                                          </p:val>
                                        </p:tav>
                                      </p:tavLst>
                                    </p:anim>
                                    <p:animEffect transition="in" filter="fade">
                                      <p:cBhvr>
                                        <p:cTn id="30" dur="500"/>
                                        <p:tgtEl>
                                          <p:spTgt spid="15"/>
                                        </p:tgtEl>
                                      </p:cBhvr>
                                    </p:animEffect>
                                  </p:childTnLst>
                                </p:cTn>
                              </p:par>
                            </p:childTnLst>
                          </p:cTn>
                        </p:par>
                      </p:childTnLst>
                    </p:cTn>
                  </p:par>
                  <p:par>
                    <p:cTn id="31" fill="hold" nodeType="clickPar">
                      <p:stCondLst>
                        <p:cond delay="indefinite"/>
                      </p:stCondLst>
                      <p:childTnLst>
                        <p:par>
                          <p:cTn id="32" fill="hold" nodeType="withGroup">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9"/>
                                        </p:tgtEl>
                                        <p:attrNameLst>
                                          <p:attrName>style.visibility</p:attrName>
                                        </p:attrNameLst>
                                      </p:cBhvr>
                                      <p:to>
                                        <p:strVal val="visible"/>
                                      </p:to>
                                    </p:set>
                                    <p:anim calcmode="lin" valueType="num">
                                      <p:cBhvr>
                                        <p:cTn id="35" dur="500" fill="hold"/>
                                        <p:tgtEl>
                                          <p:spTgt spid="9"/>
                                        </p:tgtEl>
                                        <p:attrNameLst>
                                          <p:attrName>ppt_w</p:attrName>
                                        </p:attrNameLst>
                                      </p:cBhvr>
                                      <p:tavLst>
                                        <p:tav tm="0">
                                          <p:val>
                                            <p:fltVal val="0"/>
                                          </p:val>
                                        </p:tav>
                                        <p:tav tm="100000">
                                          <p:val>
                                            <p:strVal val="#ppt_w"/>
                                          </p:val>
                                        </p:tav>
                                      </p:tavLst>
                                    </p:anim>
                                    <p:anim calcmode="lin" valueType="num">
                                      <p:cBhvr>
                                        <p:cTn id="36" dur="500" fill="hold"/>
                                        <p:tgtEl>
                                          <p:spTgt spid="9"/>
                                        </p:tgtEl>
                                        <p:attrNameLst>
                                          <p:attrName>ppt_h</p:attrName>
                                        </p:attrNameLst>
                                      </p:cBhvr>
                                      <p:tavLst>
                                        <p:tav tm="0">
                                          <p:val>
                                            <p:fltVal val="0"/>
                                          </p:val>
                                        </p:tav>
                                        <p:tav tm="100000">
                                          <p:val>
                                            <p:strVal val="#ppt_h"/>
                                          </p:val>
                                        </p:tav>
                                      </p:tavLst>
                                    </p:anim>
                                    <p:animEffect transition="in" filter="fade">
                                      <p:cBhvr>
                                        <p:cTn id="37" dur="500"/>
                                        <p:tgtEl>
                                          <p:spTgt spid="9"/>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53" presetClass="entr" presetSubtype="16" fill="hold" grpId="0" nodeType="clickEffect">
                                  <p:stCondLst>
                                    <p:cond delay="0"/>
                                  </p:stCondLst>
                                  <p:childTnLst>
                                    <p:set>
                                      <p:cBhvr>
                                        <p:cTn id="41" dur="1" fill="hold">
                                          <p:stCondLst>
                                            <p:cond delay="0"/>
                                          </p:stCondLst>
                                        </p:cTn>
                                        <p:tgtEl>
                                          <p:spTgt spid="17"/>
                                        </p:tgtEl>
                                        <p:attrNameLst>
                                          <p:attrName>style.visibility</p:attrName>
                                        </p:attrNameLst>
                                      </p:cBhvr>
                                      <p:to>
                                        <p:strVal val="visible"/>
                                      </p:to>
                                    </p:set>
                                    <p:anim calcmode="lin" valueType="num">
                                      <p:cBhvr>
                                        <p:cTn id="42" dur="500" fill="hold"/>
                                        <p:tgtEl>
                                          <p:spTgt spid="17"/>
                                        </p:tgtEl>
                                        <p:attrNameLst>
                                          <p:attrName>ppt_w</p:attrName>
                                        </p:attrNameLst>
                                      </p:cBhvr>
                                      <p:tavLst>
                                        <p:tav tm="0">
                                          <p:val>
                                            <p:fltVal val="0"/>
                                          </p:val>
                                        </p:tav>
                                        <p:tav tm="100000">
                                          <p:val>
                                            <p:strVal val="#ppt_w"/>
                                          </p:val>
                                        </p:tav>
                                      </p:tavLst>
                                    </p:anim>
                                    <p:anim calcmode="lin" valueType="num">
                                      <p:cBhvr>
                                        <p:cTn id="43" dur="500" fill="hold"/>
                                        <p:tgtEl>
                                          <p:spTgt spid="17"/>
                                        </p:tgtEl>
                                        <p:attrNameLst>
                                          <p:attrName>ppt_h</p:attrName>
                                        </p:attrNameLst>
                                      </p:cBhvr>
                                      <p:tavLst>
                                        <p:tav tm="0">
                                          <p:val>
                                            <p:fltVal val="0"/>
                                          </p:val>
                                        </p:tav>
                                        <p:tav tm="100000">
                                          <p:val>
                                            <p:strVal val="#ppt_h"/>
                                          </p:val>
                                        </p:tav>
                                      </p:tavLst>
                                    </p:anim>
                                    <p:animEffect transition="in" filter="fade">
                                      <p:cBhvr>
                                        <p:cTn id="44" dur="500"/>
                                        <p:tgtEl>
                                          <p:spTgt spid="17"/>
                                        </p:tgtEl>
                                      </p:cBhvr>
                                    </p:animEffect>
                                  </p:childTnLst>
                                </p:cTn>
                              </p:par>
                            </p:childTnLst>
                          </p:cTn>
                        </p:par>
                      </p:childTnLst>
                    </p:cTn>
                  </p:par>
                  <p:par>
                    <p:cTn id="45" fill="hold" nodeType="clickPar">
                      <p:stCondLst>
                        <p:cond delay="indefinite"/>
                      </p:stCondLst>
                      <p:childTnLst>
                        <p:par>
                          <p:cTn id="46" fill="hold" nodeType="withGroup">
                            <p:stCondLst>
                              <p:cond delay="0"/>
                            </p:stCondLst>
                            <p:childTnLst>
                              <p:par>
                                <p:cTn id="47" presetID="53" presetClass="entr" presetSubtype="16" fill="hold" grpId="0" nodeType="clickEffect">
                                  <p:stCondLst>
                                    <p:cond delay="0"/>
                                  </p:stCondLst>
                                  <p:childTnLst>
                                    <p:set>
                                      <p:cBhvr>
                                        <p:cTn id="48" dur="1" fill="hold">
                                          <p:stCondLst>
                                            <p:cond delay="0"/>
                                          </p:stCondLst>
                                        </p:cTn>
                                        <p:tgtEl>
                                          <p:spTgt spid="10"/>
                                        </p:tgtEl>
                                        <p:attrNameLst>
                                          <p:attrName>style.visibility</p:attrName>
                                        </p:attrNameLst>
                                      </p:cBhvr>
                                      <p:to>
                                        <p:strVal val="visible"/>
                                      </p:to>
                                    </p:set>
                                    <p:anim calcmode="lin" valueType="num">
                                      <p:cBhvr>
                                        <p:cTn id="49" dur="500" fill="hold"/>
                                        <p:tgtEl>
                                          <p:spTgt spid="10"/>
                                        </p:tgtEl>
                                        <p:attrNameLst>
                                          <p:attrName>ppt_w</p:attrName>
                                        </p:attrNameLst>
                                      </p:cBhvr>
                                      <p:tavLst>
                                        <p:tav tm="0">
                                          <p:val>
                                            <p:fltVal val="0"/>
                                          </p:val>
                                        </p:tav>
                                        <p:tav tm="100000">
                                          <p:val>
                                            <p:strVal val="#ppt_w"/>
                                          </p:val>
                                        </p:tav>
                                      </p:tavLst>
                                    </p:anim>
                                    <p:anim calcmode="lin" valueType="num">
                                      <p:cBhvr>
                                        <p:cTn id="50" dur="500" fill="hold"/>
                                        <p:tgtEl>
                                          <p:spTgt spid="10"/>
                                        </p:tgtEl>
                                        <p:attrNameLst>
                                          <p:attrName>ppt_h</p:attrName>
                                        </p:attrNameLst>
                                      </p:cBhvr>
                                      <p:tavLst>
                                        <p:tav tm="0">
                                          <p:val>
                                            <p:fltVal val="0"/>
                                          </p:val>
                                        </p:tav>
                                        <p:tav tm="100000">
                                          <p:val>
                                            <p:strVal val="#ppt_h"/>
                                          </p:val>
                                        </p:tav>
                                      </p:tavLst>
                                    </p:anim>
                                    <p:animEffect transition="in" filter="fade">
                                      <p:cBhvr>
                                        <p:cTn id="51" dur="500"/>
                                        <p:tgtEl>
                                          <p:spTgt spid="10"/>
                                        </p:tgtEl>
                                      </p:cBhvr>
                                    </p:animEffect>
                                  </p:childTnLst>
                                </p:cTn>
                              </p:par>
                            </p:childTnLst>
                          </p:cTn>
                        </p:par>
                      </p:childTnLst>
                    </p:cTn>
                  </p:par>
                  <p:par>
                    <p:cTn id="52" fill="hold" nodeType="clickPar">
                      <p:stCondLst>
                        <p:cond delay="indefinite"/>
                      </p:stCondLst>
                      <p:childTnLst>
                        <p:par>
                          <p:cTn id="53" fill="hold" nodeType="withGroup">
                            <p:stCondLst>
                              <p:cond delay="0"/>
                            </p:stCondLst>
                            <p:childTnLst>
                              <p:par>
                                <p:cTn id="54" presetID="53" presetClass="entr" presetSubtype="16" fill="hold" grpId="0" nodeType="clickEffect">
                                  <p:stCondLst>
                                    <p:cond delay="0"/>
                                  </p:stCondLst>
                                  <p:childTnLst>
                                    <p:set>
                                      <p:cBhvr>
                                        <p:cTn id="55" dur="1" fill="hold">
                                          <p:stCondLst>
                                            <p:cond delay="0"/>
                                          </p:stCondLst>
                                        </p:cTn>
                                        <p:tgtEl>
                                          <p:spTgt spid="18"/>
                                        </p:tgtEl>
                                        <p:attrNameLst>
                                          <p:attrName>style.visibility</p:attrName>
                                        </p:attrNameLst>
                                      </p:cBhvr>
                                      <p:to>
                                        <p:strVal val="visible"/>
                                      </p:to>
                                    </p:set>
                                    <p:anim calcmode="lin" valueType="num">
                                      <p:cBhvr>
                                        <p:cTn id="56" dur="500" fill="hold"/>
                                        <p:tgtEl>
                                          <p:spTgt spid="18"/>
                                        </p:tgtEl>
                                        <p:attrNameLst>
                                          <p:attrName>ppt_w</p:attrName>
                                        </p:attrNameLst>
                                      </p:cBhvr>
                                      <p:tavLst>
                                        <p:tav tm="0">
                                          <p:val>
                                            <p:fltVal val="0"/>
                                          </p:val>
                                        </p:tav>
                                        <p:tav tm="100000">
                                          <p:val>
                                            <p:strVal val="#ppt_w"/>
                                          </p:val>
                                        </p:tav>
                                      </p:tavLst>
                                    </p:anim>
                                    <p:anim calcmode="lin" valueType="num">
                                      <p:cBhvr>
                                        <p:cTn id="57" dur="500" fill="hold"/>
                                        <p:tgtEl>
                                          <p:spTgt spid="18"/>
                                        </p:tgtEl>
                                        <p:attrNameLst>
                                          <p:attrName>ppt_h</p:attrName>
                                        </p:attrNameLst>
                                      </p:cBhvr>
                                      <p:tavLst>
                                        <p:tav tm="0">
                                          <p:val>
                                            <p:fltVal val="0"/>
                                          </p:val>
                                        </p:tav>
                                        <p:tav tm="100000">
                                          <p:val>
                                            <p:strVal val="#ppt_h"/>
                                          </p:val>
                                        </p:tav>
                                      </p:tavLst>
                                    </p:anim>
                                    <p:animEffect transition="in" filter="fade">
                                      <p:cBhvr>
                                        <p:cTn id="58"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5" grpId="0" animBg="1"/>
      <p:bldP spid="5" grpId="0" animBg="1"/>
      <p:bldP spid="6" grpId="0" animBg="1"/>
      <p:bldP spid="9" grpId="0" animBg="1"/>
      <p:bldP spid="10" grpId="0" animBg="1"/>
      <p:bldP spid="12" grpId="0" animBg="1"/>
      <p:bldP spid="1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rganigramme : Document 1">
            <a:extLst>
              <a:ext uri="{FF2B5EF4-FFF2-40B4-BE49-F238E27FC236}">
                <a16:creationId xmlns="" xmlns:a16="http://schemas.microsoft.com/office/drawing/2014/main" id="{FF0ECA08-7E77-4BD1-A10D-0FD9577C1D24}"/>
              </a:ext>
            </a:extLst>
          </p:cNvPr>
          <p:cNvSpPr/>
          <p:nvPr/>
        </p:nvSpPr>
        <p:spPr>
          <a:xfrm>
            <a:off x="539750" y="698500"/>
            <a:ext cx="4168775" cy="4098925"/>
          </a:xfrm>
          <a:prstGeom prst="flowChartDocument">
            <a:avLst/>
          </a:prstGeom>
        </p:spPr>
        <p:style>
          <a:lnRef idx="2">
            <a:schemeClr val="accent2"/>
          </a:lnRef>
          <a:fillRef idx="1">
            <a:schemeClr val="lt1"/>
          </a:fillRef>
          <a:effectRef idx="0">
            <a:schemeClr val="accent2"/>
          </a:effectRef>
          <a:fontRef idx="minor">
            <a:schemeClr val="dk1"/>
          </a:fontRef>
        </p:style>
        <p:txBody>
          <a:bodyPr anchor="ctr"/>
          <a:lstStyle/>
          <a:p>
            <a:pPr algn="ctr">
              <a:defRPr/>
            </a:pPr>
            <a:endParaRPr lang="fr-FR"/>
          </a:p>
        </p:txBody>
      </p:sp>
      <p:sp>
        <p:nvSpPr>
          <p:cNvPr id="4" name="ZoneTexte 3">
            <a:extLst>
              <a:ext uri="{FF2B5EF4-FFF2-40B4-BE49-F238E27FC236}">
                <a16:creationId xmlns="" xmlns:a16="http://schemas.microsoft.com/office/drawing/2014/main" id="{50B85F48-2DE2-46BD-837F-8FB50FA43063}"/>
              </a:ext>
            </a:extLst>
          </p:cNvPr>
          <p:cNvSpPr txBox="1"/>
          <p:nvPr/>
        </p:nvSpPr>
        <p:spPr>
          <a:xfrm>
            <a:off x="658813" y="855663"/>
            <a:ext cx="4049712" cy="3416300"/>
          </a:xfrm>
          <a:prstGeom prst="rect">
            <a:avLst/>
          </a:prstGeom>
          <a:noFill/>
        </p:spPr>
        <p:txBody>
          <a:bodyPr lIns="91224" tIns="45622" rIns="91224" bIns="45622">
            <a:spAutoFit/>
          </a:bodyPr>
          <a:lstStyle/>
          <a:p>
            <a:pPr algn="ctr" defTabSz="912204" fontAlgn="auto">
              <a:spcBef>
                <a:spcPts val="0"/>
              </a:spcBef>
              <a:spcAft>
                <a:spcPts val="0"/>
              </a:spcAft>
              <a:buClr>
                <a:srgbClr val="FFC000"/>
              </a:buClr>
              <a:defRPr/>
            </a:pPr>
            <a:r>
              <a:rPr lang="fr-FR" sz="1200" b="1" u="sng" dirty="0">
                <a:solidFill>
                  <a:prstClr val="black"/>
                </a:solidFill>
                <a:latin typeface="+mn-lt"/>
                <a:cs typeface="+mn-cs"/>
              </a:rPr>
              <a:t>LE CONTENU DU PAG</a:t>
            </a:r>
          </a:p>
          <a:p>
            <a:pPr marL="285079" indent="-285079" algn="just" defTabSz="912204" fontAlgn="auto">
              <a:spcBef>
                <a:spcPts val="0"/>
              </a:spcBef>
              <a:spcAft>
                <a:spcPts val="0"/>
              </a:spcAft>
              <a:buClr>
                <a:srgbClr val="FFC000"/>
              </a:buClr>
              <a:buFont typeface="Wingdings" panose="05000000000000000000" pitchFamily="2" charset="2"/>
              <a:buChar char="q"/>
              <a:defRPr/>
            </a:pPr>
            <a:endParaRPr lang="fr-FR" sz="1200" b="1" u="sng" dirty="0">
              <a:solidFill>
                <a:prstClr val="black"/>
              </a:solidFill>
              <a:latin typeface="+mn-lt"/>
              <a:cs typeface="+mn-cs"/>
            </a:endParaRPr>
          </a:p>
          <a:p>
            <a:pPr marL="285079" indent="-285079" algn="just" defTabSz="912204" fontAlgn="auto">
              <a:spcBef>
                <a:spcPts val="0"/>
              </a:spcBef>
              <a:spcAft>
                <a:spcPts val="0"/>
              </a:spcAft>
              <a:buClr>
                <a:srgbClr val="FFC000"/>
              </a:buClr>
              <a:buFont typeface="Wingdings" panose="05000000000000000000" pitchFamily="2" charset="2"/>
              <a:buChar char="q"/>
              <a:defRPr/>
            </a:pPr>
            <a:r>
              <a:rPr lang="fr-FR" sz="1200" b="1" dirty="0">
                <a:solidFill>
                  <a:prstClr val="black"/>
                </a:solidFill>
                <a:latin typeface="+mn-lt"/>
                <a:cs typeface="+mn-cs"/>
              </a:rPr>
              <a:t>Besoins: </a:t>
            </a:r>
            <a:r>
              <a:rPr lang="fr-FR" sz="1200" dirty="0">
                <a:solidFill>
                  <a:prstClr val="black"/>
                </a:solidFill>
                <a:latin typeface="+mn-lt"/>
                <a:cs typeface="+mn-cs"/>
              </a:rPr>
              <a:t>définition synthétique des besoins identifiés</a:t>
            </a:r>
          </a:p>
          <a:p>
            <a:pPr marL="285079" indent="-285079" algn="just" defTabSz="912204" fontAlgn="auto">
              <a:spcBef>
                <a:spcPts val="0"/>
              </a:spcBef>
              <a:spcAft>
                <a:spcPts val="0"/>
              </a:spcAft>
              <a:buClr>
                <a:srgbClr val="FFC000"/>
              </a:buClr>
              <a:buFont typeface="Wingdings" panose="05000000000000000000" pitchFamily="2" charset="2"/>
              <a:buChar char="q"/>
              <a:defRPr/>
            </a:pPr>
            <a:r>
              <a:rPr lang="fr-FR" sz="1200" b="1" dirty="0">
                <a:solidFill>
                  <a:prstClr val="black"/>
                </a:solidFill>
                <a:latin typeface="+mn-lt"/>
                <a:cs typeface="+mn-cs"/>
              </a:rPr>
              <a:t>Orientation: </a:t>
            </a:r>
            <a:r>
              <a:rPr lang="fr-FR" sz="1200" dirty="0">
                <a:solidFill>
                  <a:prstClr val="black"/>
                </a:solidFill>
                <a:latin typeface="+mn-lt"/>
                <a:cs typeface="+mn-cs"/>
              </a:rPr>
              <a:t>identification des prestations devant être mobilisées pour répondre à ces besoins</a:t>
            </a:r>
          </a:p>
          <a:p>
            <a:pPr marL="285079" lvl="1" indent="-285079" algn="just" defTabSz="912204" fontAlgn="auto">
              <a:spcBef>
                <a:spcPts val="0"/>
              </a:spcBef>
              <a:spcAft>
                <a:spcPts val="0"/>
              </a:spcAft>
              <a:buClr>
                <a:srgbClr val="FFC000"/>
              </a:buClr>
              <a:buFont typeface="Wingdings" panose="05000000000000000000" pitchFamily="2" charset="2"/>
              <a:buChar char="q"/>
              <a:defRPr/>
            </a:pPr>
            <a:r>
              <a:rPr lang="fr-FR" altLang="fr-FR" sz="1200" b="1" dirty="0">
                <a:solidFill>
                  <a:prstClr val="black"/>
                </a:solidFill>
                <a:latin typeface="+mn-lt"/>
                <a:cs typeface="+mn-cs"/>
              </a:rPr>
              <a:t>PAG </a:t>
            </a:r>
            <a:r>
              <a:rPr lang="fr-FR" altLang="fr-FR" sz="1200" dirty="0">
                <a:solidFill>
                  <a:prstClr val="black"/>
                </a:solidFill>
                <a:latin typeface="+mn-lt"/>
                <a:cs typeface="+mn-cs"/>
              </a:rPr>
              <a:t>: solutions d</a:t>
            </a:r>
            <a:r>
              <a:rPr lang="fr-FR" altLang="en-US" sz="1200" dirty="0">
                <a:solidFill>
                  <a:prstClr val="black"/>
                </a:solidFill>
                <a:latin typeface="+mn-lt"/>
                <a:cs typeface="+mn-cs"/>
              </a:rPr>
              <a:t>’</a:t>
            </a:r>
            <a:r>
              <a:rPr lang="fr-FR" altLang="fr-FR" sz="1200" dirty="0">
                <a:solidFill>
                  <a:prstClr val="black"/>
                </a:solidFill>
                <a:latin typeface="+mn-lt"/>
                <a:cs typeface="+mn-cs"/>
              </a:rPr>
              <a:t>attentes proposées avec les éléments pratiques (qui, pour quoi, quand : nature des prestations, fréquence, …), </a:t>
            </a:r>
          </a:p>
          <a:p>
            <a:pPr marL="285079" lvl="1" indent="-285079" algn="just" defTabSz="912204" fontAlgn="auto">
              <a:spcBef>
                <a:spcPts val="0"/>
              </a:spcBef>
              <a:spcAft>
                <a:spcPts val="0"/>
              </a:spcAft>
              <a:buClr>
                <a:srgbClr val="FFC000"/>
              </a:buClr>
              <a:buFont typeface="Wingdings" panose="05000000000000000000" pitchFamily="2" charset="2"/>
              <a:buChar char="q"/>
              <a:defRPr/>
            </a:pPr>
            <a:r>
              <a:rPr lang="fr-FR" sz="1200" b="1" dirty="0">
                <a:solidFill>
                  <a:prstClr val="black"/>
                </a:solidFill>
                <a:latin typeface="+mn-lt"/>
                <a:cs typeface="+mn-cs"/>
              </a:rPr>
              <a:t>Engagement: </a:t>
            </a:r>
            <a:r>
              <a:rPr lang="fr-FR" sz="1200" dirty="0">
                <a:solidFill>
                  <a:prstClr val="black"/>
                </a:solidFill>
                <a:latin typeface="+mn-lt"/>
                <a:cs typeface="+mn-cs"/>
              </a:rPr>
              <a:t>les engagements </a:t>
            </a:r>
            <a:r>
              <a:rPr lang="fr-FR" altLang="fr-FR" sz="1200" dirty="0">
                <a:solidFill>
                  <a:prstClr val="black"/>
                </a:solidFill>
                <a:latin typeface="+mn-lt"/>
                <a:cs typeface="+mn-cs"/>
              </a:rPr>
              <a:t>des partenaires sur la mise en place des accompagnements:</a:t>
            </a:r>
            <a:endParaRPr lang="fr-FR" sz="1200" dirty="0">
              <a:solidFill>
                <a:prstClr val="black"/>
              </a:solidFill>
              <a:latin typeface="+mn-lt"/>
              <a:cs typeface="+mn-cs"/>
            </a:endParaRPr>
          </a:p>
          <a:p>
            <a:pPr marL="741176" lvl="1" indent="-285079" algn="just" defTabSz="912204" fontAlgn="auto">
              <a:spcBef>
                <a:spcPts val="0"/>
              </a:spcBef>
              <a:spcAft>
                <a:spcPts val="0"/>
              </a:spcAft>
              <a:buClr>
                <a:srgbClr val="FFC000"/>
              </a:buClr>
              <a:buFont typeface="Wingdings" panose="05000000000000000000" pitchFamily="2" charset="2"/>
              <a:buChar char="Ø"/>
              <a:defRPr/>
            </a:pPr>
            <a:r>
              <a:rPr lang="fr-FR" sz="1200" dirty="0">
                <a:solidFill>
                  <a:prstClr val="black"/>
                </a:solidFill>
                <a:latin typeface="+mn-lt"/>
                <a:cs typeface="+mn-cs"/>
              </a:rPr>
              <a:t>Identification des acteurs à mobiliser</a:t>
            </a:r>
          </a:p>
          <a:p>
            <a:pPr marL="741176" lvl="1" indent="-285079" algn="just" defTabSz="912204" fontAlgn="auto">
              <a:spcBef>
                <a:spcPts val="0"/>
              </a:spcBef>
              <a:spcAft>
                <a:spcPts val="0"/>
              </a:spcAft>
              <a:buClr>
                <a:srgbClr val="FFC000"/>
              </a:buClr>
              <a:buFont typeface="Wingdings" panose="05000000000000000000" pitchFamily="2" charset="2"/>
              <a:buChar char="Ø"/>
              <a:defRPr/>
            </a:pPr>
            <a:r>
              <a:rPr lang="fr-FR" sz="1200" dirty="0">
                <a:solidFill>
                  <a:prstClr val="black"/>
                </a:solidFill>
                <a:latin typeface="+mn-lt"/>
                <a:cs typeface="+mn-cs"/>
              </a:rPr>
              <a:t>Répartition des interventions de chacun par nature de prestations, définition des articulations, modalités de collaboration, …</a:t>
            </a:r>
          </a:p>
          <a:p>
            <a:pPr marL="285079" lvl="1" indent="-285079" algn="just" defTabSz="912204" fontAlgn="auto">
              <a:spcBef>
                <a:spcPts val="0"/>
              </a:spcBef>
              <a:spcAft>
                <a:spcPts val="0"/>
              </a:spcAft>
              <a:buClr>
                <a:srgbClr val="FFC000"/>
              </a:buClr>
              <a:buFont typeface="Wingdings" panose="05000000000000000000" pitchFamily="2" charset="2"/>
              <a:buChar char="q"/>
              <a:defRPr/>
            </a:pPr>
            <a:r>
              <a:rPr lang="fr-FR" altLang="fr-FR" sz="1200" b="1" dirty="0">
                <a:solidFill>
                  <a:prstClr val="black"/>
                </a:solidFill>
                <a:latin typeface="+mn-lt"/>
                <a:cs typeface="+mn-cs"/>
              </a:rPr>
              <a:t>Coordonnateur : </a:t>
            </a:r>
            <a:r>
              <a:rPr lang="fr-FR" altLang="fr-FR" sz="1200" dirty="0">
                <a:solidFill>
                  <a:prstClr val="black"/>
                </a:solidFill>
                <a:latin typeface="+mn-lt"/>
                <a:cs typeface="+mn-cs"/>
              </a:rPr>
              <a:t>personne identifiée ou désignée pour la mise en œuvre du PAG</a:t>
            </a:r>
          </a:p>
          <a:p>
            <a:pPr marL="285079" lvl="1" indent="-285079" algn="just" defTabSz="912204" fontAlgn="auto">
              <a:spcBef>
                <a:spcPts val="0"/>
              </a:spcBef>
              <a:spcAft>
                <a:spcPts val="0"/>
              </a:spcAft>
              <a:buClr>
                <a:srgbClr val="FFC000"/>
              </a:buClr>
              <a:buFont typeface="Wingdings" panose="05000000000000000000" pitchFamily="2" charset="2"/>
              <a:buChar char="q"/>
              <a:defRPr/>
            </a:pPr>
            <a:endParaRPr lang="fr-FR" sz="1200" dirty="0">
              <a:solidFill>
                <a:prstClr val="black"/>
              </a:solidFill>
              <a:latin typeface="+mn-lt"/>
              <a:cs typeface="+mn-cs"/>
            </a:endParaRPr>
          </a:p>
        </p:txBody>
      </p:sp>
      <p:sp>
        <p:nvSpPr>
          <p:cNvPr id="9" name="ZoneTexte 8">
            <a:extLst>
              <a:ext uri="{FF2B5EF4-FFF2-40B4-BE49-F238E27FC236}">
                <a16:creationId xmlns="" xmlns:a16="http://schemas.microsoft.com/office/drawing/2014/main" id="{72708ECD-1A37-41B3-81A5-80A5BAFE91FE}"/>
              </a:ext>
            </a:extLst>
          </p:cNvPr>
          <p:cNvSpPr txBox="1"/>
          <p:nvPr/>
        </p:nvSpPr>
        <p:spPr>
          <a:xfrm>
            <a:off x="309563" y="5013325"/>
            <a:ext cx="4748212" cy="1076325"/>
          </a:xfrm>
          <a:prstGeom prst="rect">
            <a:avLst/>
          </a:prstGeom>
          <a:ln/>
        </p:spPr>
        <p:style>
          <a:lnRef idx="2">
            <a:schemeClr val="accent6"/>
          </a:lnRef>
          <a:fillRef idx="1">
            <a:schemeClr val="lt1"/>
          </a:fillRef>
          <a:effectRef idx="0">
            <a:schemeClr val="accent6"/>
          </a:effectRef>
          <a:fontRef idx="minor">
            <a:schemeClr val="dk1"/>
          </a:fontRef>
        </p:style>
        <p:txBody>
          <a:bodyPr lIns="91224" tIns="45622" rIns="91224" bIns="45622">
            <a:spAutoFit/>
          </a:bodyPr>
          <a:lstStyle>
            <a:defPPr>
              <a:defRPr lang="fr-FR"/>
            </a:defPPr>
            <a:lvl1pPr marL="285656" indent="-285656" algn="just" defTabSz="914091">
              <a:buClr>
                <a:srgbClr val="FFC000"/>
              </a:buClr>
              <a:buFont typeface="Wingdings" panose="05000000000000000000" pitchFamily="2" charset="2"/>
              <a:buChar char="q"/>
              <a:defRPr sz="1200" b="1">
                <a:solidFill>
                  <a:prstClr val="black"/>
                </a:solidFill>
              </a:defRPr>
            </a:lvl1pPr>
            <a:lvl2pPr marL="742700" lvl="1" indent="-285656" algn="just" defTabSz="914091">
              <a:buClr>
                <a:srgbClr val="FFC000"/>
              </a:buClr>
              <a:buFont typeface="Wingdings" panose="05000000000000000000" pitchFamily="2" charset="2"/>
              <a:buChar char="Ø"/>
              <a:defRPr sz="1200">
                <a:solidFill>
                  <a:prstClr val="black"/>
                </a:solidFill>
              </a:defRPr>
            </a:lvl2pPr>
          </a:lstStyle>
          <a:p>
            <a:pPr fontAlgn="auto">
              <a:spcBef>
                <a:spcPts val="0"/>
              </a:spcBef>
              <a:spcAft>
                <a:spcPts val="0"/>
              </a:spcAft>
              <a:buFont typeface="Symbol"/>
              <a:buChar char="Þ"/>
              <a:defRPr/>
            </a:pPr>
            <a:r>
              <a:rPr lang="fr-FR" altLang="fr-FR" sz="1600" b="0" dirty="0"/>
              <a:t>Le PAG est une sous partie du PPC </a:t>
            </a:r>
          </a:p>
          <a:p>
            <a:pPr fontAlgn="auto">
              <a:spcBef>
                <a:spcPts val="0"/>
              </a:spcBef>
              <a:spcAft>
                <a:spcPts val="0"/>
              </a:spcAft>
              <a:buFont typeface="Symbol"/>
              <a:buChar char="Þ"/>
              <a:defRPr/>
            </a:pPr>
            <a:r>
              <a:rPr lang="fr-FR" altLang="fr-FR" sz="1600" b="0" dirty="0"/>
              <a:t>Le PAG permet de rendre le PPC plus opérationnel</a:t>
            </a:r>
          </a:p>
          <a:p>
            <a:pPr fontAlgn="auto">
              <a:spcBef>
                <a:spcPts val="0"/>
              </a:spcBef>
              <a:spcAft>
                <a:spcPts val="0"/>
              </a:spcAft>
              <a:buFont typeface="Symbol"/>
              <a:buChar char="Þ"/>
              <a:defRPr/>
            </a:pPr>
            <a:r>
              <a:rPr lang="fr-FR" altLang="fr-FR" sz="1600" b="0" dirty="0"/>
              <a:t>La notification fait référence au PAG</a:t>
            </a:r>
          </a:p>
        </p:txBody>
      </p:sp>
      <p:sp>
        <p:nvSpPr>
          <p:cNvPr id="10" name="Rectangle 68">
            <a:extLst>
              <a:ext uri="{FF2B5EF4-FFF2-40B4-BE49-F238E27FC236}">
                <a16:creationId xmlns="" xmlns:a16="http://schemas.microsoft.com/office/drawing/2014/main" id="{28D5A2AF-9DA6-4460-B10B-9A41C4500A4D}"/>
              </a:ext>
            </a:extLst>
          </p:cNvPr>
          <p:cNvSpPr>
            <a:spLocks noChangeArrowheads="1"/>
          </p:cNvSpPr>
          <p:nvPr/>
        </p:nvSpPr>
        <p:spPr bwMode="auto">
          <a:xfrm>
            <a:off x="625475" y="315913"/>
            <a:ext cx="7691438" cy="382587"/>
          </a:xfrm>
          <a:prstGeom prst="rect">
            <a:avLst/>
          </a:prstGeom>
        </p:spPr>
        <p:txBody>
          <a:bodyPr lIns="0" tIns="0" rIns="0" bIns="0"/>
          <a:lstStyle/>
          <a:p>
            <a:pPr algn="ctr" defTabSz="912602" fontAlgn="auto">
              <a:lnSpc>
                <a:spcPct val="85000"/>
              </a:lnSpc>
              <a:spcAft>
                <a:spcPts val="0"/>
              </a:spcAft>
              <a:defRPr/>
            </a:pPr>
            <a:r>
              <a:rPr lang="fr-FR" altLang="fr-FR" sz="2200" cap="all" dirty="0" smtClean="0">
                <a:solidFill>
                  <a:srgbClr val="0070C0"/>
                </a:solidFill>
                <a:latin typeface="+mj-lt"/>
                <a:ea typeface="+mj-ea"/>
                <a:cs typeface="+mj-cs"/>
              </a:rPr>
              <a:t>L’ECRITURE </a:t>
            </a:r>
            <a:r>
              <a:rPr lang="fr-FR" altLang="fr-FR" sz="2200" cap="all" dirty="0">
                <a:solidFill>
                  <a:srgbClr val="0070C0"/>
                </a:solidFill>
                <a:latin typeface="+mj-lt"/>
                <a:ea typeface="+mj-ea"/>
                <a:cs typeface="+mj-cs"/>
              </a:rPr>
              <a:t>du </a:t>
            </a:r>
            <a:r>
              <a:rPr lang="fr-FR" altLang="fr-FR" sz="2200" cap="all" dirty="0" err="1">
                <a:solidFill>
                  <a:srgbClr val="0070C0"/>
                </a:solidFill>
                <a:latin typeface="+mj-lt"/>
                <a:ea typeface="+mj-ea"/>
                <a:cs typeface="+mj-cs"/>
              </a:rPr>
              <a:t>pag</a:t>
            </a:r>
            <a:endParaRPr lang="fr-FR" altLang="fr-FR" sz="2200" cap="all" dirty="0">
              <a:solidFill>
                <a:srgbClr val="0070C0"/>
              </a:solidFill>
              <a:latin typeface="+mj-lt"/>
              <a:ea typeface="+mj-ea"/>
              <a:cs typeface="+mj-cs"/>
            </a:endParaRPr>
          </a:p>
          <a:p>
            <a:pPr defTabSz="912602" fontAlgn="auto">
              <a:lnSpc>
                <a:spcPct val="85000"/>
              </a:lnSpc>
              <a:spcAft>
                <a:spcPts val="0"/>
              </a:spcAft>
              <a:defRPr/>
            </a:pPr>
            <a:endParaRPr lang="fr-FR" altLang="fr-FR" sz="2400" b="1" dirty="0">
              <a:solidFill>
                <a:schemeClr val="bg1">
                  <a:lumMod val="50000"/>
                </a:schemeClr>
              </a:solidFill>
              <a:latin typeface="EYInterstate Light" panose="02000506000000020004" pitchFamily="2" charset="0"/>
              <a:ea typeface="+mj-ea"/>
            </a:endParaRPr>
          </a:p>
        </p:txBody>
      </p:sp>
      <p:sp>
        <p:nvSpPr>
          <p:cNvPr id="3" name="Rectangle à coins arrondis 2">
            <a:extLst>
              <a:ext uri="{FF2B5EF4-FFF2-40B4-BE49-F238E27FC236}">
                <a16:creationId xmlns="" xmlns:a16="http://schemas.microsoft.com/office/drawing/2014/main" id="{A597ECE3-C6B0-4488-B2B6-FD173F93674D}"/>
              </a:ext>
            </a:extLst>
          </p:cNvPr>
          <p:cNvSpPr/>
          <p:nvPr/>
        </p:nvSpPr>
        <p:spPr>
          <a:xfrm>
            <a:off x="5407025" y="855663"/>
            <a:ext cx="3400425" cy="97631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fr-FR"/>
          </a:p>
        </p:txBody>
      </p:sp>
      <p:sp>
        <p:nvSpPr>
          <p:cNvPr id="22535" name="ZoneTexte 4">
            <a:extLst>
              <a:ext uri="{FF2B5EF4-FFF2-40B4-BE49-F238E27FC236}">
                <a16:creationId xmlns="" xmlns:a16="http://schemas.microsoft.com/office/drawing/2014/main" id="{53E3A4EB-BAFC-422A-93FE-4A13257A3F85}"/>
              </a:ext>
            </a:extLst>
          </p:cNvPr>
          <p:cNvSpPr txBox="1">
            <a:spLocks noChangeArrowheads="1"/>
          </p:cNvSpPr>
          <p:nvPr/>
        </p:nvSpPr>
        <p:spPr bwMode="auto">
          <a:xfrm>
            <a:off x="5522913" y="882650"/>
            <a:ext cx="3168650"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eaLnBrk="1" hangingPunct="1">
              <a:spcBef>
                <a:spcPct val="0"/>
              </a:spcBef>
              <a:buFontTx/>
              <a:buNone/>
            </a:pPr>
            <a:r>
              <a:rPr lang="fr-FR" altLang="fr-FR" sz="1800" b="0">
                <a:solidFill>
                  <a:schemeClr val="bg1"/>
                </a:solidFill>
                <a:latin typeface="Calibri" panose="020F0502020204030204" pitchFamily="34" charset="0"/>
              </a:rPr>
              <a:t>Passage en CDAPH et réajustement de la notification de décision si nécessaire</a:t>
            </a:r>
          </a:p>
        </p:txBody>
      </p:sp>
      <p:sp>
        <p:nvSpPr>
          <p:cNvPr id="6" name="Flèche droite 5">
            <a:extLst>
              <a:ext uri="{FF2B5EF4-FFF2-40B4-BE49-F238E27FC236}">
                <a16:creationId xmlns="" xmlns:a16="http://schemas.microsoft.com/office/drawing/2014/main" id="{33EE23A8-9D15-4AF7-AC7A-1D775C86BA7F}"/>
              </a:ext>
            </a:extLst>
          </p:cNvPr>
          <p:cNvSpPr/>
          <p:nvPr/>
        </p:nvSpPr>
        <p:spPr>
          <a:xfrm>
            <a:off x="4787900" y="1268413"/>
            <a:ext cx="415925" cy="2159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7" name="Flèche vers le bas 6">
            <a:extLst>
              <a:ext uri="{FF2B5EF4-FFF2-40B4-BE49-F238E27FC236}">
                <a16:creationId xmlns="" xmlns:a16="http://schemas.microsoft.com/office/drawing/2014/main" id="{17B9A90E-1A01-4A9F-BF62-E71B8EE47CA2}"/>
              </a:ext>
            </a:extLst>
          </p:cNvPr>
          <p:cNvSpPr/>
          <p:nvPr/>
        </p:nvSpPr>
        <p:spPr>
          <a:xfrm>
            <a:off x="6991350" y="1916113"/>
            <a:ext cx="231775" cy="28892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2" name="Rectangle à coins arrondis 11">
            <a:extLst>
              <a:ext uri="{FF2B5EF4-FFF2-40B4-BE49-F238E27FC236}">
                <a16:creationId xmlns="" xmlns:a16="http://schemas.microsoft.com/office/drawing/2014/main" id="{4D653325-6E5F-4238-B8A0-18B9912E02E1}"/>
              </a:ext>
            </a:extLst>
          </p:cNvPr>
          <p:cNvSpPr/>
          <p:nvPr/>
        </p:nvSpPr>
        <p:spPr>
          <a:xfrm>
            <a:off x="5492750" y="2349500"/>
            <a:ext cx="3398838" cy="976313"/>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fr-FR"/>
          </a:p>
        </p:txBody>
      </p:sp>
      <p:sp>
        <p:nvSpPr>
          <p:cNvPr id="22539" name="ZoneTexte 12">
            <a:extLst>
              <a:ext uri="{FF2B5EF4-FFF2-40B4-BE49-F238E27FC236}">
                <a16:creationId xmlns="" xmlns:a16="http://schemas.microsoft.com/office/drawing/2014/main" id="{F85CBBA5-42FB-4747-82A2-5B2740B23C45}"/>
              </a:ext>
            </a:extLst>
          </p:cNvPr>
          <p:cNvSpPr txBox="1">
            <a:spLocks noChangeArrowheads="1"/>
          </p:cNvSpPr>
          <p:nvPr/>
        </p:nvSpPr>
        <p:spPr bwMode="auto">
          <a:xfrm>
            <a:off x="5608638" y="2401888"/>
            <a:ext cx="3167062"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eaLnBrk="1" hangingPunct="1">
              <a:spcBef>
                <a:spcPct val="0"/>
              </a:spcBef>
              <a:buFontTx/>
              <a:buNone/>
            </a:pPr>
            <a:r>
              <a:rPr lang="fr-FR" altLang="fr-FR" sz="1800" b="0">
                <a:solidFill>
                  <a:schemeClr val="bg1"/>
                </a:solidFill>
                <a:latin typeface="Calibri" panose="020F0502020204030204" pitchFamily="34" charset="0"/>
              </a:rPr>
              <a:t>Décision qui s’impose (en cas de rejet = rejet motivé, décision opposable au tribunal)</a:t>
            </a:r>
          </a:p>
        </p:txBody>
      </p:sp>
      <p:sp>
        <p:nvSpPr>
          <p:cNvPr id="14" name="Flèche vers le bas 13">
            <a:extLst>
              <a:ext uri="{FF2B5EF4-FFF2-40B4-BE49-F238E27FC236}">
                <a16:creationId xmlns="" xmlns:a16="http://schemas.microsoft.com/office/drawing/2014/main" id="{8BDA4D9E-F6C6-41D9-919E-81CB00F18522}"/>
              </a:ext>
            </a:extLst>
          </p:cNvPr>
          <p:cNvSpPr/>
          <p:nvPr/>
        </p:nvSpPr>
        <p:spPr>
          <a:xfrm>
            <a:off x="6961188" y="3429000"/>
            <a:ext cx="231775" cy="28733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5" name="Rectangle à coins arrondis 14">
            <a:extLst>
              <a:ext uri="{FF2B5EF4-FFF2-40B4-BE49-F238E27FC236}">
                <a16:creationId xmlns="" xmlns:a16="http://schemas.microsoft.com/office/drawing/2014/main" id="{BFA96292-D551-4B81-A1C7-069CD95B901C}"/>
              </a:ext>
            </a:extLst>
          </p:cNvPr>
          <p:cNvSpPr/>
          <p:nvPr/>
        </p:nvSpPr>
        <p:spPr>
          <a:xfrm>
            <a:off x="5522913" y="3821113"/>
            <a:ext cx="3400425" cy="1227137"/>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fr-FR"/>
          </a:p>
        </p:txBody>
      </p:sp>
      <p:sp>
        <p:nvSpPr>
          <p:cNvPr id="22542" name="ZoneTexte 15">
            <a:extLst>
              <a:ext uri="{FF2B5EF4-FFF2-40B4-BE49-F238E27FC236}">
                <a16:creationId xmlns="" xmlns:a16="http://schemas.microsoft.com/office/drawing/2014/main" id="{388CE9AE-DFBA-46DB-9531-56F8CF83DFF3}"/>
              </a:ext>
            </a:extLst>
          </p:cNvPr>
          <p:cNvSpPr txBox="1">
            <a:spLocks noChangeArrowheads="1"/>
          </p:cNvSpPr>
          <p:nvPr/>
        </p:nvSpPr>
        <p:spPr bwMode="auto">
          <a:xfrm>
            <a:off x="5638800" y="3846513"/>
            <a:ext cx="3168650" cy="120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algn="ctr" eaLnBrk="1" hangingPunct="1">
              <a:spcBef>
                <a:spcPct val="0"/>
              </a:spcBef>
              <a:buFontTx/>
              <a:buNone/>
            </a:pPr>
            <a:r>
              <a:rPr lang="fr-FR" altLang="fr-FR" sz="1800" b="0">
                <a:solidFill>
                  <a:schemeClr val="bg1"/>
                </a:solidFill>
                <a:latin typeface="Calibri" panose="020F0502020204030204" pitchFamily="34" charset="0"/>
              </a:rPr>
              <a:t>Révision au minimum annuelle mais ajustement chaque fois que nécessaire pour tendre vers la solution idéale</a:t>
            </a:r>
          </a:p>
        </p:txBody>
      </p:sp>
      <p:sp>
        <p:nvSpPr>
          <p:cNvPr id="8" name="Ellipse 7">
            <a:extLst>
              <a:ext uri="{FF2B5EF4-FFF2-40B4-BE49-F238E27FC236}">
                <a16:creationId xmlns="" xmlns:a16="http://schemas.microsoft.com/office/drawing/2014/main" id="{55D373F7-5D81-4156-B748-C607EC97E334}"/>
              </a:ext>
            </a:extLst>
          </p:cNvPr>
          <p:cNvSpPr/>
          <p:nvPr/>
        </p:nvSpPr>
        <p:spPr>
          <a:xfrm>
            <a:off x="5407025" y="5467350"/>
            <a:ext cx="1036638" cy="504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8" name="Ellipse 17">
            <a:extLst>
              <a:ext uri="{FF2B5EF4-FFF2-40B4-BE49-F238E27FC236}">
                <a16:creationId xmlns="" xmlns:a16="http://schemas.microsoft.com/office/drawing/2014/main" id="{60A2D404-EF95-4962-895C-972F3FFCAE93}"/>
              </a:ext>
            </a:extLst>
          </p:cNvPr>
          <p:cNvSpPr/>
          <p:nvPr/>
        </p:nvSpPr>
        <p:spPr>
          <a:xfrm>
            <a:off x="6673850" y="5216525"/>
            <a:ext cx="1036638" cy="5032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19" name="Ellipse 18">
            <a:extLst>
              <a:ext uri="{FF2B5EF4-FFF2-40B4-BE49-F238E27FC236}">
                <a16:creationId xmlns="" xmlns:a16="http://schemas.microsoft.com/office/drawing/2014/main" id="{755812B6-267F-4DA7-BA69-A0751A37D680}"/>
              </a:ext>
            </a:extLst>
          </p:cNvPr>
          <p:cNvSpPr/>
          <p:nvPr/>
        </p:nvSpPr>
        <p:spPr>
          <a:xfrm>
            <a:off x="7854950" y="5505450"/>
            <a:ext cx="1036638" cy="504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22546" name="ZoneTexte 10">
            <a:extLst>
              <a:ext uri="{FF2B5EF4-FFF2-40B4-BE49-F238E27FC236}">
                <a16:creationId xmlns="" xmlns:a16="http://schemas.microsoft.com/office/drawing/2014/main" id="{62DCDCF9-D458-4DC3-92BB-8FEFBE6C5DB1}"/>
              </a:ext>
            </a:extLst>
          </p:cNvPr>
          <p:cNvSpPr txBox="1">
            <a:spLocks noChangeArrowheads="1"/>
          </p:cNvSpPr>
          <p:nvPr/>
        </p:nvSpPr>
        <p:spPr bwMode="auto">
          <a:xfrm>
            <a:off x="5553075" y="5535613"/>
            <a:ext cx="8350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800">
                <a:solidFill>
                  <a:schemeClr val="bg1"/>
                </a:solidFill>
                <a:latin typeface="Calibri" panose="020F0502020204030204" pitchFamily="34" charset="0"/>
              </a:rPr>
              <a:t>PAG 3</a:t>
            </a:r>
          </a:p>
        </p:txBody>
      </p:sp>
      <p:sp>
        <p:nvSpPr>
          <p:cNvPr id="22547" name="ZoneTexte 20">
            <a:extLst>
              <a:ext uri="{FF2B5EF4-FFF2-40B4-BE49-F238E27FC236}">
                <a16:creationId xmlns="" xmlns:a16="http://schemas.microsoft.com/office/drawing/2014/main" id="{5AE4E6A3-1251-459F-A913-DCC22B0AE21B}"/>
              </a:ext>
            </a:extLst>
          </p:cNvPr>
          <p:cNvSpPr txBox="1">
            <a:spLocks noChangeArrowheads="1"/>
          </p:cNvSpPr>
          <p:nvPr/>
        </p:nvSpPr>
        <p:spPr bwMode="auto">
          <a:xfrm>
            <a:off x="6805613" y="5283200"/>
            <a:ext cx="8350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800">
                <a:solidFill>
                  <a:schemeClr val="bg1"/>
                </a:solidFill>
                <a:latin typeface="Calibri" panose="020F0502020204030204" pitchFamily="34" charset="0"/>
              </a:rPr>
              <a:t>PAG 2</a:t>
            </a:r>
          </a:p>
        </p:txBody>
      </p:sp>
      <p:sp>
        <p:nvSpPr>
          <p:cNvPr id="22548" name="ZoneTexte 21">
            <a:extLst>
              <a:ext uri="{FF2B5EF4-FFF2-40B4-BE49-F238E27FC236}">
                <a16:creationId xmlns="" xmlns:a16="http://schemas.microsoft.com/office/drawing/2014/main" id="{F8F4FF9C-1922-4846-8343-A633B0974E03}"/>
              </a:ext>
            </a:extLst>
          </p:cNvPr>
          <p:cNvSpPr txBox="1">
            <a:spLocks noChangeArrowheads="1"/>
          </p:cNvSpPr>
          <p:nvPr/>
        </p:nvSpPr>
        <p:spPr bwMode="auto">
          <a:xfrm>
            <a:off x="7956550" y="5564188"/>
            <a:ext cx="8350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800"/>
              </a:spcBef>
              <a:buFont typeface="Arial" panose="020B0604020202020204" pitchFamily="34" charset="0"/>
              <a:defRPr sz="1600" b="1">
                <a:solidFill>
                  <a:schemeClr val="tx1"/>
                </a:solidFill>
                <a:latin typeface="Franklin Gothic Book" panose="020B0503020102020204" pitchFamily="34" charset="0"/>
              </a:defRPr>
            </a:lvl1pPr>
            <a:lvl2pPr marL="742950" indent="-28575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2pPr>
            <a:lvl3pPr marL="11430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3pPr>
            <a:lvl4pPr marL="16002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4pPr>
            <a:lvl5pPr marL="2057400" indent="-228600" eaLnBrk="0" hangingPunct="0">
              <a:spcBef>
                <a:spcPts val="300"/>
              </a:spcBef>
              <a:buClr>
                <a:schemeClr val="accent2"/>
              </a:buClr>
              <a:buFont typeface="Wingdings" panose="05000000000000000000" pitchFamily="2" charset="2"/>
              <a:buChar char="§"/>
              <a:defRPr sz="1600">
                <a:solidFill>
                  <a:schemeClr val="tx1"/>
                </a:solidFill>
                <a:latin typeface="Franklin Gothic Book" panose="020B0503020102020204" pitchFamily="34" charset="0"/>
              </a:defRPr>
            </a:lvl5pPr>
            <a:lvl6pPr marL="25146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6pPr>
            <a:lvl7pPr marL="29718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7pPr>
            <a:lvl8pPr marL="34290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8pPr>
            <a:lvl9pPr marL="3886200" indent="-228600" eaLnBrk="0" fontAlgn="base" hangingPunct="0">
              <a:spcBef>
                <a:spcPts val="300"/>
              </a:spcBef>
              <a:spcAft>
                <a:spcPct val="0"/>
              </a:spcAft>
              <a:buClr>
                <a:schemeClr val="accent2"/>
              </a:buClr>
              <a:buFont typeface="Wingdings" panose="05000000000000000000" pitchFamily="2" charset="2"/>
              <a:buChar char="§"/>
              <a:defRPr sz="1600">
                <a:solidFill>
                  <a:schemeClr val="tx1"/>
                </a:solidFill>
                <a:latin typeface="Franklin Gothic Book" panose="020B0503020102020204" pitchFamily="34" charset="0"/>
              </a:defRPr>
            </a:lvl9pPr>
          </a:lstStyle>
          <a:p>
            <a:pPr eaLnBrk="1" hangingPunct="1">
              <a:spcBef>
                <a:spcPct val="0"/>
              </a:spcBef>
              <a:buFontTx/>
              <a:buNone/>
            </a:pPr>
            <a:r>
              <a:rPr lang="fr-FR" altLang="fr-FR" sz="1800">
                <a:solidFill>
                  <a:schemeClr val="bg1"/>
                </a:solidFill>
                <a:latin typeface="Calibri" panose="020F0502020204030204" pitchFamily="34" charset="0"/>
              </a:rPr>
              <a:t>PAG 4</a:t>
            </a:r>
          </a:p>
        </p:txBody>
      </p:sp>
    </p:spTree>
  </p:cSld>
  <p:clrMapOvr>
    <a:masterClrMapping/>
  </p:clrMapOvr>
  <p:transition spd="slow">
    <p:cove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fltVal val="0"/>
                                          </p:val>
                                        </p:tav>
                                        <p:tav tm="100000">
                                          <p:val>
                                            <p:strVal val="#ppt_w"/>
                                          </p:val>
                                        </p:tav>
                                      </p:tavLst>
                                    </p:anim>
                                    <p:anim calcmode="lin" valueType="num">
                                      <p:cBhvr>
                                        <p:cTn id="8" dur="1000" fill="hold"/>
                                        <p:tgtEl>
                                          <p:spTgt spid="3"/>
                                        </p:tgtEl>
                                        <p:attrNameLst>
                                          <p:attrName>ppt_h</p:attrName>
                                        </p:attrNameLst>
                                      </p:cBhvr>
                                      <p:tavLst>
                                        <p:tav tm="0">
                                          <p:val>
                                            <p:fltVal val="0"/>
                                          </p:val>
                                        </p:tav>
                                        <p:tav tm="100000">
                                          <p:val>
                                            <p:strVal val="#ppt_h"/>
                                          </p:val>
                                        </p:tav>
                                      </p:tavLst>
                                    </p:anim>
                                    <p:anim calcmode="lin" valueType="num">
                                      <p:cBhvr>
                                        <p:cTn id="9" dur="1000" fill="hold"/>
                                        <p:tgtEl>
                                          <p:spTgt spid="3"/>
                                        </p:tgtEl>
                                        <p:attrNameLst>
                                          <p:attrName>style.rotation</p:attrName>
                                        </p:attrNameLst>
                                      </p:cBhvr>
                                      <p:tavLst>
                                        <p:tav tm="0">
                                          <p:val>
                                            <p:fltVal val="90"/>
                                          </p:val>
                                        </p:tav>
                                        <p:tav tm="100000">
                                          <p:val>
                                            <p:fltVal val="0"/>
                                          </p:val>
                                        </p:tav>
                                      </p:tavLst>
                                    </p:anim>
                                    <p:animEffect transition="in" filter="fade">
                                      <p:cBhvr>
                                        <p:cTn id="10" dur="1000"/>
                                        <p:tgtEl>
                                          <p:spTgt spid="3"/>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p:cTn id="15" dur="1000" fill="hold"/>
                                        <p:tgtEl>
                                          <p:spTgt spid="12"/>
                                        </p:tgtEl>
                                        <p:attrNameLst>
                                          <p:attrName>ppt_w</p:attrName>
                                        </p:attrNameLst>
                                      </p:cBhvr>
                                      <p:tavLst>
                                        <p:tav tm="0">
                                          <p:val>
                                            <p:fltVal val="0"/>
                                          </p:val>
                                        </p:tav>
                                        <p:tav tm="100000">
                                          <p:val>
                                            <p:strVal val="#ppt_w"/>
                                          </p:val>
                                        </p:tav>
                                      </p:tavLst>
                                    </p:anim>
                                    <p:anim calcmode="lin" valueType="num">
                                      <p:cBhvr>
                                        <p:cTn id="16" dur="1000" fill="hold"/>
                                        <p:tgtEl>
                                          <p:spTgt spid="12"/>
                                        </p:tgtEl>
                                        <p:attrNameLst>
                                          <p:attrName>ppt_h</p:attrName>
                                        </p:attrNameLst>
                                      </p:cBhvr>
                                      <p:tavLst>
                                        <p:tav tm="0">
                                          <p:val>
                                            <p:fltVal val="0"/>
                                          </p:val>
                                        </p:tav>
                                        <p:tav tm="100000">
                                          <p:val>
                                            <p:strVal val="#ppt_h"/>
                                          </p:val>
                                        </p:tav>
                                      </p:tavLst>
                                    </p:anim>
                                    <p:anim calcmode="lin" valueType="num">
                                      <p:cBhvr>
                                        <p:cTn id="17" dur="1000" fill="hold"/>
                                        <p:tgtEl>
                                          <p:spTgt spid="12"/>
                                        </p:tgtEl>
                                        <p:attrNameLst>
                                          <p:attrName>style.rotation</p:attrName>
                                        </p:attrNameLst>
                                      </p:cBhvr>
                                      <p:tavLst>
                                        <p:tav tm="0">
                                          <p:val>
                                            <p:fltVal val="90"/>
                                          </p:val>
                                        </p:tav>
                                        <p:tav tm="100000">
                                          <p:val>
                                            <p:fltVal val="0"/>
                                          </p:val>
                                        </p:tav>
                                      </p:tavLst>
                                    </p:anim>
                                    <p:animEffect transition="in" filter="fade">
                                      <p:cBhvr>
                                        <p:cTn id="18" dur="1000"/>
                                        <p:tgtEl>
                                          <p:spTgt spid="12"/>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1000" fill="hold"/>
                                        <p:tgtEl>
                                          <p:spTgt spid="15"/>
                                        </p:tgtEl>
                                        <p:attrNameLst>
                                          <p:attrName>ppt_w</p:attrName>
                                        </p:attrNameLst>
                                      </p:cBhvr>
                                      <p:tavLst>
                                        <p:tav tm="0">
                                          <p:val>
                                            <p:fltVal val="0"/>
                                          </p:val>
                                        </p:tav>
                                        <p:tav tm="100000">
                                          <p:val>
                                            <p:strVal val="#ppt_w"/>
                                          </p:val>
                                        </p:tav>
                                      </p:tavLst>
                                    </p:anim>
                                    <p:anim calcmode="lin" valueType="num">
                                      <p:cBhvr>
                                        <p:cTn id="24" dur="1000" fill="hold"/>
                                        <p:tgtEl>
                                          <p:spTgt spid="15"/>
                                        </p:tgtEl>
                                        <p:attrNameLst>
                                          <p:attrName>ppt_h</p:attrName>
                                        </p:attrNameLst>
                                      </p:cBhvr>
                                      <p:tavLst>
                                        <p:tav tm="0">
                                          <p:val>
                                            <p:fltVal val="0"/>
                                          </p:val>
                                        </p:tav>
                                        <p:tav tm="100000">
                                          <p:val>
                                            <p:strVal val="#ppt_h"/>
                                          </p:val>
                                        </p:tav>
                                      </p:tavLst>
                                    </p:anim>
                                    <p:anim calcmode="lin" valueType="num">
                                      <p:cBhvr>
                                        <p:cTn id="25" dur="1000" fill="hold"/>
                                        <p:tgtEl>
                                          <p:spTgt spid="15"/>
                                        </p:tgtEl>
                                        <p:attrNameLst>
                                          <p:attrName>style.rotation</p:attrName>
                                        </p:attrNameLst>
                                      </p:cBhvr>
                                      <p:tavLst>
                                        <p:tav tm="0">
                                          <p:val>
                                            <p:fltVal val="90"/>
                                          </p:val>
                                        </p:tav>
                                        <p:tav tm="100000">
                                          <p:val>
                                            <p:fltVal val="0"/>
                                          </p:val>
                                        </p:tav>
                                      </p:tavLst>
                                    </p:anim>
                                    <p:animEffect transition="in" filter="fade">
                                      <p:cBhvr>
                                        <p:cTn id="26" dur="1000"/>
                                        <p:tgtEl>
                                          <p:spTgt spid="15"/>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26"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wipe(down)">
                                      <p:cBhvr>
                                        <p:cTn id="31" dur="580">
                                          <p:stCondLst>
                                            <p:cond delay="0"/>
                                          </p:stCondLst>
                                        </p:cTn>
                                        <p:tgtEl>
                                          <p:spTgt spid="18"/>
                                        </p:tgtEl>
                                      </p:cBhvr>
                                    </p:animEffect>
                                    <p:anim calcmode="lin" valueType="num">
                                      <p:cBhvr>
                                        <p:cTn id="32" dur="1822" tmFilter="0,0; 0.14,0.36; 0.43,0.73; 0.71,0.91; 1.0,1.0">
                                          <p:stCondLst>
                                            <p:cond delay="0"/>
                                          </p:stCondLst>
                                        </p:cTn>
                                        <p:tgtEl>
                                          <p:spTgt spid="18"/>
                                        </p:tgtEl>
                                        <p:attrNameLst>
                                          <p:attrName>ppt_x</p:attrName>
                                        </p:attrNameLst>
                                      </p:cBhvr>
                                      <p:tavLst>
                                        <p:tav tm="0">
                                          <p:val>
                                            <p:strVal val="#ppt_x-0.25"/>
                                          </p:val>
                                        </p:tav>
                                        <p:tav tm="100000">
                                          <p:val>
                                            <p:strVal val="#ppt_x"/>
                                          </p:val>
                                        </p:tav>
                                      </p:tavLst>
                                    </p:anim>
                                    <p:anim calcmode="lin" valueType="num">
                                      <p:cBhvr>
                                        <p:cTn id="33" dur="664" tmFilter="0.0,0.0; 0.25,0.07; 0.50,0.2; 0.75,0.467; 1.0,1.0">
                                          <p:stCondLst>
                                            <p:cond delay="0"/>
                                          </p:stCondLst>
                                        </p:cTn>
                                        <p:tgtEl>
                                          <p:spTgt spid="18"/>
                                        </p:tgtEl>
                                        <p:attrNameLst>
                                          <p:attrName>ppt_y</p:attrName>
                                        </p:attrNameLst>
                                      </p:cBhvr>
                                      <p:tavLst>
                                        <p:tav tm="0" fmla="#ppt_y-sin(pi*$)/3">
                                          <p:val>
                                            <p:fltVal val="0.5"/>
                                          </p:val>
                                        </p:tav>
                                        <p:tav tm="100000">
                                          <p:val>
                                            <p:fltVal val="1"/>
                                          </p:val>
                                        </p:tav>
                                      </p:tavLst>
                                    </p:anim>
                                    <p:anim calcmode="lin" valueType="num">
                                      <p:cBhvr>
                                        <p:cTn id="34" dur="664" tmFilter="0, 0; 0.125,0.2665; 0.25,0.4; 0.375,0.465; 0.5,0.5;  0.625,0.535; 0.75,0.6; 0.875,0.7335; 1,1">
                                          <p:stCondLst>
                                            <p:cond delay="664"/>
                                          </p:stCondLst>
                                        </p:cTn>
                                        <p:tgtEl>
                                          <p:spTgt spid="18"/>
                                        </p:tgtEl>
                                        <p:attrNameLst>
                                          <p:attrName>ppt_y</p:attrName>
                                        </p:attrNameLst>
                                      </p:cBhvr>
                                      <p:tavLst>
                                        <p:tav tm="0" fmla="#ppt_y-sin(pi*$)/9">
                                          <p:val>
                                            <p:fltVal val="0"/>
                                          </p:val>
                                        </p:tav>
                                        <p:tav tm="100000">
                                          <p:val>
                                            <p:fltVal val="1"/>
                                          </p:val>
                                        </p:tav>
                                      </p:tavLst>
                                    </p:anim>
                                    <p:anim calcmode="lin" valueType="num">
                                      <p:cBhvr>
                                        <p:cTn id="35" dur="332" tmFilter="0, 0; 0.125,0.2665; 0.25,0.4; 0.375,0.465; 0.5,0.5;  0.625,0.535; 0.75,0.6; 0.875,0.7335; 1,1">
                                          <p:stCondLst>
                                            <p:cond delay="1324"/>
                                          </p:stCondLst>
                                        </p:cTn>
                                        <p:tgtEl>
                                          <p:spTgt spid="18"/>
                                        </p:tgtEl>
                                        <p:attrNameLst>
                                          <p:attrName>ppt_y</p:attrName>
                                        </p:attrNameLst>
                                      </p:cBhvr>
                                      <p:tavLst>
                                        <p:tav tm="0" fmla="#ppt_y-sin(pi*$)/27">
                                          <p:val>
                                            <p:fltVal val="0"/>
                                          </p:val>
                                        </p:tav>
                                        <p:tav tm="100000">
                                          <p:val>
                                            <p:fltVal val="1"/>
                                          </p:val>
                                        </p:tav>
                                      </p:tavLst>
                                    </p:anim>
                                    <p:anim calcmode="lin" valueType="num">
                                      <p:cBhvr>
                                        <p:cTn id="36" dur="164" tmFilter="0, 0; 0.125,0.2665; 0.25,0.4; 0.375,0.465; 0.5,0.5;  0.625,0.535; 0.75,0.6; 0.875,0.7335; 1,1">
                                          <p:stCondLst>
                                            <p:cond delay="1656"/>
                                          </p:stCondLst>
                                        </p:cTn>
                                        <p:tgtEl>
                                          <p:spTgt spid="18"/>
                                        </p:tgtEl>
                                        <p:attrNameLst>
                                          <p:attrName>ppt_y</p:attrName>
                                        </p:attrNameLst>
                                      </p:cBhvr>
                                      <p:tavLst>
                                        <p:tav tm="0" fmla="#ppt_y-sin(pi*$)/81">
                                          <p:val>
                                            <p:fltVal val="0"/>
                                          </p:val>
                                        </p:tav>
                                        <p:tav tm="100000">
                                          <p:val>
                                            <p:fltVal val="1"/>
                                          </p:val>
                                        </p:tav>
                                      </p:tavLst>
                                    </p:anim>
                                    <p:animScale>
                                      <p:cBhvr>
                                        <p:cTn id="37" dur="26">
                                          <p:stCondLst>
                                            <p:cond delay="650"/>
                                          </p:stCondLst>
                                        </p:cTn>
                                        <p:tgtEl>
                                          <p:spTgt spid="18"/>
                                        </p:tgtEl>
                                      </p:cBhvr>
                                      <p:to x="100000" y="60000"/>
                                    </p:animScale>
                                    <p:animScale>
                                      <p:cBhvr>
                                        <p:cTn id="38" dur="166" decel="50000">
                                          <p:stCondLst>
                                            <p:cond delay="676"/>
                                          </p:stCondLst>
                                        </p:cTn>
                                        <p:tgtEl>
                                          <p:spTgt spid="18"/>
                                        </p:tgtEl>
                                      </p:cBhvr>
                                      <p:to x="100000" y="100000"/>
                                    </p:animScale>
                                    <p:animScale>
                                      <p:cBhvr>
                                        <p:cTn id="39" dur="26">
                                          <p:stCondLst>
                                            <p:cond delay="1312"/>
                                          </p:stCondLst>
                                        </p:cTn>
                                        <p:tgtEl>
                                          <p:spTgt spid="18"/>
                                        </p:tgtEl>
                                      </p:cBhvr>
                                      <p:to x="100000" y="80000"/>
                                    </p:animScale>
                                    <p:animScale>
                                      <p:cBhvr>
                                        <p:cTn id="40" dur="166" decel="50000">
                                          <p:stCondLst>
                                            <p:cond delay="1338"/>
                                          </p:stCondLst>
                                        </p:cTn>
                                        <p:tgtEl>
                                          <p:spTgt spid="18"/>
                                        </p:tgtEl>
                                      </p:cBhvr>
                                      <p:to x="100000" y="100000"/>
                                    </p:animScale>
                                    <p:animScale>
                                      <p:cBhvr>
                                        <p:cTn id="41" dur="26">
                                          <p:stCondLst>
                                            <p:cond delay="1642"/>
                                          </p:stCondLst>
                                        </p:cTn>
                                        <p:tgtEl>
                                          <p:spTgt spid="18"/>
                                        </p:tgtEl>
                                      </p:cBhvr>
                                      <p:to x="100000" y="90000"/>
                                    </p:animScale>
                                    <p:animScale>
                                      <p:cBhvr>
                                        <p:cTn id="42" dur="166" decel="50000">
                                          <p:stCondLst>
                                            <p:cond delay="1668"/>
                                          </p:stCondLst>
                                        </p:cTn>
                                        <p:tgtEl>
                                          <p:spTgt spid="18"/>
                                        </p:tgtEl>
                                      </p:cBhvr>
                                      <p:to x="100000" y="100000"/>
                                    </p:animScale>
                                    <p:animScale>
                                      <p:cBhvr>
                                        <p:cTn id="43" dur="26">
                                          <p:stCondLst>
                                            <p:cond delay="1808"/>
                                          </p:stCondLst>
                                        </p:cTn>
                                        <p:tgtEl>
                                          <p:spTgt spid="18"/>
                                        </p:tgtEl>
                                      </p:cBhvr>
                                      <p:to x="100000" y="95000"/>
                                    </p:animScale>
                                    <p:animScale>
                                      <p:cBhvr>
                                        <p:cTn id="44" dur="166" decel="50000">
                                          <p:stCondLst>
                                            <p:cond delay="1834"/>
                                          </p:stCondLst>
                                        </p:cTn>
                                        <p:tgtEl>
                                          <p:spTgt spid="18"/>
                                        </p:tgtEl>
                                      </p:cBhvr>
                                      <p:to x="100000" y="100000"/>
                                    </p:animScale>
                                  </p:childTnLst>
                                </p:cTn>
                              </p:par>
                            </p:childTnLst>
                          </p:cTn>
                        </p:par>
                      </p:childTnLst>
                    </p:cTn>
                  </p:par>
                  <p:par>
                    <p:cTn id="45" fill="hold" nodeType="clickPar">
                      <p:stCondLst>
                        <p:cond delay="indefinite"/>
                      </p:stCondLst>
                      <p:childTnLst>
                        <p:par>
                          <p:cTn id="46" fill="hold" nodeType="withGroup">
                            <p:stCondLst>
                              <p:cond delay="0"/>
                            </p:stCondLst>
                            <p:childTnLst>
                              <p:par>
                                <p:cTn id="47" presetID="26" presetClass="entr" presetSubtype="0" fill="hold" grpId="0" nodeType="clickEffect">
                                  <p:stCondLst>
                                    <p:cond delay="0"/>
                                  </p:stCondLst>
                                  <p:childTnLst>
                                    <p:set>
                                      <p:cBhvr>
                                        <p:cTn id="48" dur="1" fill="hold">
                                          <p:stCondLst>
                                            <p:cond delay="0"/>
                                          </p:stCondLst>
                                        </p:cTn>
                                        <p:tgtEl>
                                          <p:spTgt spid="8"/>
                                        </p:tgtEl>
                                        <p:attrNameLst>
                                          <p:attrName>style.visibility</p:attrName>
                                        </p:attrNameLst>
                                      </p:cBhvr>
                                      <p:to>
                                        <p:strVal val="visible"/>
                                      </p:to>
                                    </p:set>
                                    <p:animEffect transition="in" filter="wipe(down)">
                                      <p:cBhvr>
                                        <p:cTn id="49" dur="580">
                                          <p:stCondLst>
                                            <p:cond delay="0"/>
                                          </p:stCondLst>
                                        </p:cTn>
                                        <p:tgtEl>
                                          <p:spTgt spid="8"/>
                                        </p:tgtEl>
                                      </p:cBhvr>
                                    </p:animEffect>
                                    <p:anim calcmode="lin" valueType="num">
                                      <p:cBhvr>
                                        <p:cTn id="50" dur="1822" tmFilter="0,0; 0.14,0.36; 0.43,0.73; 0.71,0.91; 1.0,1.0">
                                          <p:stCondLst>
                                            <p:cond delay="0"/>
                                          </p:stCondLst>
                                        </p:cTn>
                                        <p:tgtEl>
                                          <p:spTgt spid="8"/>
                                        </p:tgtEl>
                                        <p:attrNameLst>
                                          <p:attrName>ppt_x</p:attrName>
                                        </p:attrNameLst>
                                      </p:cBhvr>
                                      <p:tavLst>
                                        <p:tav tm="0">
                                          <p:val>
                                            <p:strVal val="#ppt_x-0.25"/>
                                          </p:val>
                                        </p:tav>
                                        <p:tav tm="100000">
                                          <p:val>
                                            <p:strVal val="#ppt_x"/>
                                          </p:val>
                                        </p:tav>
                                      </p:tavLst>
                                    </p:anim>
                                    <p:anim calcmode="lin" valueType="num">
                                      <p:cBhvr>
                                        <p:cTn id="51" dur="664" tmFilter="0.0,0.0; 0.25,0.07; 0.50,0.2; 0.75,0.467; 1.0,1.0">
                                          <p:stCondLst>
                                            <p:cond delay="0"/>
                                          </p:stCondLst>
                                        </p:cTn>
                                        <p:tgtEl>
                                          <p:spTgt spid="8"/>
                                        </p:tgtEl>
                                        <p:attrNameLst>
                                          <p:attrName>ppt_y</p:attrName>
                                        </p:attrNameLst>
                                      </p:cBhvr>
                                      <p:tavLst>
                                        <p:tav tm="0" fmla="#ppt_y-sin(pi*$)/3">
                                          <p:val>
                                            <p:fltVal val="0.5"/>
                                          </p:val>
                                        </p:tav>
                                        <p:tav tm="100000">
                                          <p:val>
                                            <p:fltVal val="1"/>
                                          </p:val>
                                        </p:tav>
                                      </p:tavLst>
                                    </p:anim>
                                    <p:anim calcmode="lin" valueType="num">
                                      <p:cBhvr>
                                        <p:cTn id="52" dur="664" tmFilter="0, 0; 0.125,0.2665; 0.25,0.4; 0.375,0.465; 0.5,0.5;  0.625,0.535; 0.75,0.6; 0.875,0.7335; 1,1">
                                          <p:stCondLst>
                                            <p:cond delay="664"/>
                                          </p:stCondLst>
                                        </p:cTn>
                                        <p:tgtEl>
                                          <p:spTgt spid="8"/>
                                        </p:tgtEl>
                                        <p:attrNameLst>
                                          <p:attrName>ppt_y</p:attrName>
                                        </p:attrNameLst>
                                      </p:cBhvr>
                                      <p:tavLst>
                                        <p:tav tm="0" fmla="#ppt_y-sin(pi*$)/9">
                                          <p:val>
                                            <p:fltVal val="0"/>
                                          </p:val>
                                        </p:tav>
                                        <p:tav tm="100000">
                                          <p:val>
                                            <p:fltVal val="1"/>
                                          </p:val>
                                        </p:tav>
                                      </p:tavLst>
                                    </p:anim>
                                    <p:anim calcmode="lin" valueType="num">
                                      <p:cBhvr>
                                        <p:cTn id="53" dur="332" tmFilter="0, 0; 0.125,0.2665; 0.25,0.4; 0.375,0.465; 0.5,0.5;  0.625,0.535; 0.75,0.6; 0.875,0.7335; 1,1">
                                          <p:stCondLst>
                                            <p:cond delay="1324"/>
                                          </p:stCondLst>
                                        </p:cTn>
                                        <p:tgtEl>
                                          <p:spTgt spid="8"/>
                                        </p:tgtEl>
                                        <p:attrNameLst>
                                          <p:attrName>ppt_y</p:attrName>
                                        </p:attrNameLst>
                                      </p:cBhvr>
                                      <p:tavLst>
                                        <p:tav tm="0" fmla="#ppt_y-sin(pi*$)/27">
                                          <p:val>
                                            <p:fltVal val="0"/>
                                          </p:val>
                                        </p:tav>
                                        <p:tav tm="100000">
                                          <p:val>
                                            <p:fltVal val="1"/>
                                          </p:val>
                                        </p:tav>
                                      </p:tavLst>
                                    </p:anim>
                                    <p:anim calcmode="lin" valueType="num">
                                      <p:cBhvr>
                                        <p:cTn id="54" dur="164" tmFilter="0, 0; 0.125,0.2665; 0.25,0.4; 0.375,0.465; 0.5,0.5;  0.625,0.535; 0.75,0.6; 0.875,0.7335; 1,1">
                                          <p:stCondLst>
                                            <p:cond delay="1656"/>
                                          </p:stCondLst>
                                        </p:cTn>
                                        <p:tgtEl>
                                          <p:spTgt spid="8"/>
                                        </p:tgtEl>
                                        <p:attrNameLst>
                                          <p:attrName>ppt_y</p:attrName>
                                        </p:attrNameLst>
                                      </p:cBhvr>
                                      <p:tavLst>
                                        <p:tav tm="0" fmla="#ppt_y-sin(pi*$)/81">
                                          <p:val>
                                            <p:fltVal val="0"/>
                                          </p:val>
                                        </p:tav>
                                        <p:tav tm="100000">
                                          <p:val>
                                            <p:fltVal val="1"/>
                                          </p:val>
                                        </p:tav>
                                      </p:tavLst>
                                    </p:anim>
                                    <p:animScale>
                                      <p:cBhvr>
                                        <p:cTn id="55" dur="26">
                                          <p:stCondLst>
                                            <p:cond delay="650"/>
                                          </p:stCondLst>
                                        </p:cTn>
                                        <p:tgtEl>
                                          <p:spTgt spid="8"/>
                                        </p:tgtEl>
                                      </p:cBhvr>
                                      <p:to x="100000" y="60000"/>
                                    </p:animScale>
                                    <p:animScale>
                                      <p:cBhvr>
                                        <p:cTn id="56" dur="166" decel="50000">
                                          <p:stCondLst>
                                            <p:cond delay="676"/>
                                          </p:stCondLst>
                                        </p:cTn>
                                        <p:tgtEl>
                                          <p:spTgt spid="8"/>
                                        </p:tgtEl>
                                      </p:cBhvr>
                                      <p:to x="100000" y="100000"/>
                                    </p:animScale>
                                    <p:animScale>
                                      <p:cBhvr>
                                        <p:cTn id="57" dur="26">
                                          <p:stCondLst>
                                            <p:cond delay="1312"/>
                                          </p:stCondLst>
                                        </p:cTn>
                                        <p:tgtEl>
                                          <p:spTgt spid="8"/>
                                        </p:tgtEl>
                                      </p:cBhvr>
                                      <p:to x="100000" y="80000"/>
                                    </p:animScale>
                                    <p:animScale>
                                      <p:cBhvr>
                                        <p:cTn id="58" dur="166" decel="50000">
                                          <p:stCondLst>
                                            <p:cond delay="1338"/>
                                          </p:stCondLst>
                                        </p:cTn>
                                        <p:tgtEl>
                                          <p:spTgt spid="8"/>
                                        </p:tgtEl>
                                      </p:cBhvr>
                                      <p:to x="100000" y="100000"/>
                                    </p:animScale>
                                    <p:animScale>
                                      <p:cBhvr>
                                        <p:cTn id="59" dur="26">
                                          <p:stCondLst>
                                            <p:cond delay="1642"/>
                                          </p:stCondLst>
                                        </p:cTn>
                                        <p:tgtEl>
                                          <p:spTgt spid="8"/>
                                        </p:tgtEl>
                                      </p:cBhvr>
                                      <p:to x="100000" y="90000"/>
                                    </p:animScale>
                                    <p:animScale>
                                      <p:cBhvr>
                                        <p:cTn id="60" dur="166" decel="50000">
                                          <p:stCondLst>
                                            <p:cond delay="1668"/>
                                          </p:stCondLst>
                                        </p:cTn>
                                        <p:tgtEl>
                                          <p:spTgt spid="8"/>
                                        </p:tgtEl>
                                      </p:cBhvr>
                                      <p:to x="100000" y="100000"/>
                                    </p:animScale>
                                    <p:animScale>
                                      <p:cBhvr>
                                        <p:cTn id="61" dur="26">
                                          <p:stCondLst>
                                            <p:cond delay="1808"/>
                                          </p:stCondLst>
                                        </p:cTn>
                                        <p:tgtEl>
                                          <p:spTgt spid="8"/>
                                        </p:tgtEl>
                                      </p:cBhvr>
                                      <p:to x="100000" y="95000"/>
                                    </p:animScale>
                                    <p:animScale>
                                      <p:cBhvr>
                                        <p:cTn id="62" dur="166" decel="50000">
                                          <p:stCondLst>
                                            <p:cond delay="1834"/>
                                          </p:stCondLst>
                                        </p:cTn>
                                        <p:tgtEl>
                                          <p:spTgt spid="8"/>
                                        </p:tgtEl>
                                      </p:cBhvr>
                                      <p:to x="100000" y="100000"/>
                                    </p:animScale>
                                  </p:childTnLst>
                                </p:cTn>
                              </p:par>
                            </p:childTnLst>
                          </p:cTn>
                        </p:par>
                      </p:childTnLst>
                    </p:cTn>
                  </p:par>
                  <p:par>
                    <p:cTn id="63" fill="hold" nodeType="clickPar">
                      <p:stCondLst>
                        <p:cond delay="indefinite"/>
                      </p:stCondLst>
                      <p:childTnLst>
                        <p:par>
                          <p:cTn id="64" fill="hold" nodeType="withGroup">
                            <p:stCondLst>
                              <p:cond delay="0"/>
                            </p:stCondLst>
                            <p:childTnLst>
                              <p:par>
                                <p:cTn id="65" presetID="26" presetClass="entr" presetSubtype="0" fill="hold" grpId="0" nodeType="clickEffect">
                                  <p:stCondLst>
                                    <p:cond delay="0"/>
                                  </p:stCondLst>
                                  <p:childTnLst>
                                    <p:set>
                                      <p:cBhvr>
                                        <p:cTn id="66" dur="1" fill="hold">
                                          <p:stCondLst>
                                            <p:cond delay="0"/>
                                          </p:stCondLst>
                                        </p:cTn>
                                        <p:tgtEl>
                                          <p:spTgt spid="19"/>
                                        </p:tgtEl>
                                        <p:attrNameLst>
                                          <p:attrName>style.visibility</p:attrName>
                                        </p:attrNameLst>
                                      </p:cBhvr>
                                      <p:to>
                                        <p:strVal val="visible"/>
                                      </p:to>
                                    </p:set>
                                    <p:animEffect transition="in" filter="wipe(down)">
                                      <p:cBhvr>
                                        <p:cTn id="67" dur="580">
                                          <p:stCondLst>
                                            <p:cond delay="0"/>
                                          </p:stCondLst>
                                        </p:cTn>
                                        <p:tgtEl>
                                          <p:spTgt spid="19"/>
                                        </p:tgtEl>
                                      </p:cBhvr>
                                    </p:animEffect>
                                    <p:anim calcmode="lin" valueType="num">
                                      <p:cBhvr>
                                        <p:cTn id="68" dur="1822" tmFilter="0,0; 0.14,0.36; 0.43,0.73; 0.71,0.91; 1.0,1.0">
                                          <p:stCondLst>
                                            <p:cond delay="0"/>
                                          </p:stCondLst>
                                        </p:cTn>
                                        <p:tgtEl>
                                          <p:spTgt spid="19"/>
                                        </p:tgtEl>
                                        <p:attrNameLst>
                                          <p:attrName>ppt_x</p:attrName>
                                        </p:attrNameLst>
                                      </p:cBhvr>
                                      <p:tavLst>
                                        <p:tav tm="0">
                                          <p:val>
                                            <p:strVal val="#ppt_x-0.25"/>
                                          </p:val>
                                        </p:tav>
                                        <p:tav tm="100000">
                                          <p:val>
                                            <p:strVal val="#ppt_x"/>
                                          </p:val>
                                        </p:tav>
                                      </p:tavLst>
                                    </p:anim>
                                    <p:anim calcmode="lin" valueType="num">
                                      <p:cBhvr>
                                        <p:cTn id="69" dur="664" tmFilter="0.0,0.0; 0.25,0.07; 0.50,0.2; 0.75,0.467; 1.0,1.0">
                                          <p:stCondLst>
                                            <p:cond delay="0"/>
                                          </p:stCondLst>
                                        </p:cTn>
                                        <p:tgtEl>
                                          <p:spTgt spid="19"/>
                                        </p:tgtEl>
                                        <p:attrNameLst>
                                          <p:attrName>ppt_y</p:attrName>
                                        </p:attrNameLst>
                                      </p:cBhvr>
                                      <p:tavLst>
                                        <p:tav tm="0" fmla="#ppt_y-sin(pi*$)/3">
                                          <p:val>
                                            <p:fltVal val="0.5"/>
                                          </p:val>
                                        </p:tav>
                                        <p:tav tm="100000">
                                          <p:val>
                                            <p:fltVal val="1"/>
                                          </p:val>
                                        </p:tav>
                                      </p:tavLst>
                                    </p:anim>
                                    <p:anim calcmode="lin" valueType="num">
                                      <p:cBhvr>
                                        <p:cTn id="70" dur="664" tmFilter="0, 0; 0.125,0.2665; 0.25,0.4; 0.375,0.465; 0.5,0.5;  0.625,0.535; 0.75,0.6; 0.875,0.7335; 1,1">
                                          <p:stCondLst>
                                            <p:cond delay="664"/>
                                          </p:stCondLst>
                                        </p:cTn>
                                        <p:tgtEl>
                                          <p:spTgt spid="19"/>
                                        </p:tgtEl>
                                        <p:attrNameLst>
                                          <p:attrName>ppt_y</p:attrName>
                                        </p:attrNameLst>
                                      </p:cBhvr>
                                      <p:tavLst>
                                        <p:tav tm="0" fmla="#ppt_y-sin(pi*$)/9">
                                          <p:val>
                                            <p:fltVal val="0"/>
                                          </p:val>
                                        </p:tav>
                                        <p:tav tm="100000">
                                          <p:val>
                                            <p:fltVal val="1"/>
                                          </p:val>
                                        </p:tav>
                                      </p:tavLst>
                                    </p:anim>
                                    <p:anim calcmode="lin" valueType="num">
                                      <p:cBhvr>
                                        <p:cTn id="71" dur="332" tmFilter="0, 0; 0.125,0.2665; 0.25,0.4; 0.375,0.465; 0.5,0.5;  0.625,0.535; 0.75,0.6; 0.875,0.7335; 1,1">
                                          <p:stCondLst>
                                            <p:cond delay="1324"/>
                                          </p:stCondLst>
                                        </p:cTn>
                                        <p:tgtEl>
                                          <p:spTgt spid="19"/>
                                        </p:tgtEl>
                                        <p:attrNameLst>
                                          <p:attrName>ppt_y</p:attrName>
                                        </p:attrNameLst>
                                      </p:cBhvr>
                                      <p:tavLst>
                                        <p:tav tm="0" fmla="#ppt_y-sin(pi*$)/27">
                                          <p:val>
                                            <p:fltVal val="0"/>
                                          </p:val>
                                        </p:tav>
                                        <p:tav tm="100000">
                                          <p:val>
                                            <p:fltVal val="1"/>
                                          </p:val>
                                        </p:tav>
                                      </p:tavLst>
                                    </p:anim>
                                    <p:anim calcmode="lin" valueType="num">
                                      <p:cBhvr>
                                        <p:cTn id="72" dur="164" tmFilter="0, 0; 0.125,0.2665; 0.25,0.4; 0.375,0.465; 0.5,0.5;  0.625,0.535; 0.75,0.6; 0.875,0.7335; 1,1">
                                          <p:stCondLst>
                                            <p:cond delay="1656"/>
                                          </p:stCondLst>
                                        </p:cTn>
                                        <p:tgtEl>
                                          <p:spTgt spid="19"/>
                                        </p:tgtEl>
                                        <p:attrNameLst>
                                          <p:attrName>ppt_y</p:attrName>
                                        </p:attrNameLst>
                                      </p:cBhvr>
                                      <p:tavLst>
                                        <p:tav tm="0" fmla="#ppt_y-sin(pi*$)/81">
                                          <p:val>
                                            <p:fltVal val="0"/>
                                          </p:val>
                                        </p:tav>
                                        <p:tav tm="100000">
                                          <p:val>
                                            <p:fltVal val="1"/>
                                          </p:val>
                                        </p:tav>
                                      </p:tavLst>
                                    </p:anim>
                                    <p:animScale>
                                      <p:cBhvr>
                                        <p:cTn id="73" dur="26">
                                          <p:stCondLst>
                                            <p:cond delay="650"/>
                                          </p:stCondLst>
                                        </p:cTn>
                                        <p:tgtEl>
                                          <p:spTgt spid="19"/>
                                        </p:tgtEl>
                                      </p:cBhvr>
                                      <p:to x="100000" y="60000"/>
                                    </p:animScale>
                                    <p:animScale>
                                      <p:cBhvr>
                                        <p:cTn id="74" dur="166" decel="50000">
                                          <p:stCondLst>
                                            <p:cond delay="676"/>
                                          </p:stCondLst>
                                        </p:cTn>
                                        <p:tgtEl>
                                          <p:spTgt spid="19"/>
                                        </p:tgtEl>
                                      </p:cBhvr>
                                      <p:to x="100000" y="100000"/>
                                    </p:animScale>
                                    <p:animScale>
                                      <p:cBhvr>
                                        <p:cTn id="75" dur="26">
                                          <p:stCondLst>
                                            <p:cond delay="1312"/>
                                          </p:stCondLst>
                                        </p:cTn>
                                        <p:tgtEl>
                                          <p:spTgt spid="19"/>
                                        </p:tgtEl>
                                      </p:cBhvr>
                                      <p:to x="100000" y="80000"/>
                                    </p:animScale>
                                    <p:animScale>
                                      <p:cBhvr>
                                        <p:cTn id="76" dur="166" decel="50000">
                                          <p:stCondLst>
                                            <p:cond delay="1338"/>
                                          </p:stCondLst>
                                        </p:cTn>
                                        <p:tgtEl>
                                          <p:spTgt spid="19"/>
                                        </p:tgtEl>
                                      </p:cBhvr>
                                      <p:to x="100000" y="100000"/>
                                    </p:animScale>
                                    <p:animScale>
                                      <p:cBhvr>
                                        <p:cTn id="77" dur="26">
                                          <p:stCondLst>
                                            <p:cond delay="1642"/>
                                          </p:stCondLst>
                                        </p:cTn>
                                        <p:tgtEl>
                                          <p:spTgt spid="19"/>
                                        </p:tgtEl>
                                      </p:cBhvr>
                                      <p:to x="100000" y="90000"/>
                                    </p:animScale>
                                    <p:animScale>
                                      <p:cBhvr>
                                        <p:cTn id="78" dur="166" decel="50000">
                                          <p:stCondLst>
                                            <p:cond delay="1668"/>
                                          </p:stCondLst>
                                        </p:cTn>
                                        <p:tgtEl>
                                          <p:spTgt spid="19"/>
                                        </p:tgtEl>
                                      </p:cBhvr>
                                      <p:to x="100000" y="100000"/>
                                    </p:animScale>
                                    <p:animScale>
                                      <p:cBhvr>
                                        <p:cTn id="79" dur="26">
                                          <p:stCondLst>
                                            <p:cond delay="1808"/>
                                          </p:stCondLst>
                                        </p:cTn>
                                        <p:tgtEl>
                                          <p:spTgt spid="19"/>
                                        </p:tgtEl>
                                      </p:cBhvr>
                                      <p:to x="100000" y="95000"/>
                                    </p:animScale>
                                    <p:animScale>
                                      <p:cBhvr>
                                        <p:cTn id="80" dur="166" decel="50000">
                                          <p:stCondLst>
                                            <p:cond delay="1834"/>
                                          </p:stCondLst>
                                        </p:cTn>
                                        <p:tgtEl>
                                          <p:spTgt spid="19"/>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2" grpId="0" animBg="1"/>
      <p:bldP spid="15" grpId="0" animBg="1"/>
      <p:bldP spid="8" grpId="0" animBg="1"/>
      <p:bldP spid="18" grpId="0" animBg="1"/>
      <p:bldP spid="1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te">
  <a:themeElements>
    <a:clrScheme name="Facette">
      <a:dk1>
        <a:sysClr val="windowText" lastClr="000000"/>
      </a:dk1>
      <a:lt1>
        <a:sysClr val="window" lastClr="FFFFFF"/>
      </a:lt1>
      <a:dk2>
        <a:srgbClr val="2C3C43"/>
      </a:dk2>
      <a:lt2>
        <a:srgbClr val="EBEBEB"/>
      </a:lt2>
      <a:accent1>
        <a:srgbClr val="5FCBEF"/>
      </a:accent1>
      <a:accent2>
        <a:srgbClr val="2E83C3"/>
      </a:accent2>
      <a:accent3>
        <a:srgbClr val="42D0A2"/>
      </a:accent3>
      <a:accent4>
        <a:srgbClr val="2E946B"/>
      </a:accent4>
      <a:accent5>
        <a:srgbClr val="42B051"/>
      </a:accent5>
      <a:accent6>
        <a:srgbClr val="96D141"/>
      </a:accent6>
      <a:hlink>
        <a:srgbClr val="3FCDE7"/>
      </a:hlink>
      <a:folHlink>
        <a:srgbClr val="A9D3E1"/>
      </a:folHlink>
    </a:clrScheme>
    <a:fontScheme name="Facette">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te">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0B5AB586-D108-4FC1-8368-649FE654B894}"/>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acet</Template>
  <TotalTime>1679</TotalTime>
  <Words>1465</Words>
  <Application>Microsoft Office PowerPoint</Application>
  <PresentationFormat>Affichage à l'écran (4:3)</PresentationFormat>
  <Paragraphs>273</Paragraphs>
  <Slides>14</Slides>
  <Notes>14</Notes>
  <HiddenSlides>0</HiddenSlides>
  <MMClips>0</MMClips>
  <ScaleCrop>false</ScaleCrop>
  <HeadingPairs>
    <vt:vector size="8" baseType="variant">
      <vt:variant>
        <vt:lpstr>Polices utilisées</vt:lpstr>
      </vt:variant>
      <vt:variant>
        <vt:i4>10</vt:i4>
      </vt:variant>
      <vt:variant>
        <vt:lpstr>Thème</vt:lpstr>
      </vt:variant>
      <vt:variant>
        <vt:i4>1</vt:i4>
      </vt:variant>
      <vt:variant>
        <vt:lpstr>Serveurs OLE incorporés</vt:lpstr>
      </vt:variant>
      <vt:variant>
        <vt:i4>2</vt:i4>
      </vt:variant>
      <vt:variant>
        <vt:lpstr>Titres des diapositives</vt:lpstr>
      </vt:variant>
      <vt:variant>
        <vt:i4>14</vt:i4>
      </vt:variant>
    </vt:vector>
  </HeadingPairs>
  <TitlesOfParts>
    <vt:vector size="27" baseType="lpstr">
      <vt:lpstr>MS PGothic</vt:lpstr>
      <vt:lpstr>Arial</vt:lpstr>
      <vt:lpstr>Calibri</vt:lpstr>
      <vt:lpstr>Courier New</vt:lpstr>
      <vt:lpstr>EYInterstate</vt:lpstr>
      <vt:lpstr>EYInterstate Light</vt:lpstr>
      <vt:lpstr>Symbol</vt:lpstr>
      <vt:lpstr>Trebuchet MS</vt:lpstr>
      <vt:lpstr>Wingdings</vt:lpstr>
      <vt:lpstr>Wingdings 3</vt:lpstr>
      <vt:lpstr>Facette</vt:lpstr>
      <vt:lpstr>Document</vt:lpstr>
      <vt:lpstr>Diapositive think-cell</vt:lpstr>
      <vt:lpstr>réponse accompagnée pour tous</vt:lpstr>
      <vt:lpstr>« Une réponse accompagnée pour tous » :  l’aboutissement d’une longue réflexion</vt:lpstr>
      <vt:lpstr>23 départements pionniers repartis sur l’ensemble du territoire </vt:lpstr>
      <vt:lpstr>Présentation PowerPoint</vt:lpstr>
      <vt:lpstr>MISE EN PLACE du pôle réponse accompagnée En 2015</vt:lpstr>
      <vt:lpstr>Nouvel organigramme  au 01 Décembre 2018</vt:lpstr>
      <vt:lpstr>Présentation PowerPoint</vt:lpstr>
      <vt:lpstr>Présentation PowerPoint</vt:lpstr>
      <vt:lpstr>Présentation PowerPoint</vt:lpstr>
      <vt:lpstr>Le PAG est élaboré  par une équipe à géométrie variable</vt:lpstr>
      <vt:lpstr>Présentation PowerPoint</vt:lpstr>
      <vt:lpstr>Les facteurs de réussite</vt:lpstr>
      <vt:lpstr>conclusion</vt:lpstr>
      <vt:lpstr>Présentation PowerPoint</vt:lpstr>
    </vt:vector>
  </TitlesOfParts>
  <Company>CONSEIL GENERAL DE L'AISN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GENARD Patricia</dc:creator>
  <cp:lastModifiedBy>VAN HOUTTE Claire</cp:lastModifiedBy>
  <cp:revision>127</cp:revision>
  <cp:lastPrinted>2019-06-13T09:14:13Z</cp:lastPrinted>
  <dcterms:created xsi:type="dcterms:W3CDTF">2016-02-20T17:17:55Z</dcterms:created>
  <dcterms:modified xsi:type="dcterms:W3CDTF">2019-06-13T09:18:09Z</dcterms:modified>
</cp:coreProperties>
</file>